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101" r:id="rId4"/>
  </p:sldMasterIdLst>
  <p:notesMasterIdLst>
    <p:notesMasterId r:id="rId27"/>
  </p:notesMasterIdLst>
  <p:sldIdLst>
    <p:sldId id="1676" r:id="rId5"/>
    <p:sldId id="1675" r:id="rId6"/>
    <p:sldId id="1611" r:id="rId7"/>
    <p:sldId id="1693" r:id="rId8"/>
    <p:sldId id="1682" r:id="rId9"/>
    <p:sldId id="1688" r:id="rId10"/>
    <p:sldId id="1679" r:id="rId11"/>
    <p:sldId id="1687" r:id="rId12"/>
    <p:sldId id="1678" r:id="rId13"/>
    <p:sldId id="1686" r:id="rId14"/>
    <p:sldId id="1681" r:id="rId15"/>
    <p:sldId id="1689" r:id="rId16"/>
    <p:sldId id="1606" r:id="rId17"/>
    <p:sldId id="1683" r:id="rId18"/>
    <p:sldId id="1684" r:id="rId19"/>
    <p:sldId id="1685" r:id="rId20"/>
    <p:sldId id="1260" r:id="rId21"/>
    <p:sldId id="1699" r:id="rId22"/>
    <p:sldId id="1694" r:id="rId23"/>
    <p:sldId id="1695" r:id="rId24"/>
    <p:sldId id="1696" r:id="rId25"/>
    <p:sldId id="1690" r:id="rId2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4100"/>
    <a:srgbClr val="AA48F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25" autoAdjust="0"/>
    <p:restoredTop sz="94461"/>
  </p:normalViewPr>
  <p:slideViewPr>
    <p:cSldViewPr snapToGrid="0" snapToObjects="1">
      <p:cViewPr varScale="1">
        <p:scale>
          <a:sx n="119" d="100"/>
          <a:sy n="119" d="100"/>
        </p:scale>
        <p:origin x="102" y="3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97" d="100"/>
          <a:sy n="97" d="100"/>
        </p:scale>
        <p:origin x="3120" y="20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3D0645-6491-924B-B0B0-6CE4C12E675E}" type="datetimeFigureOut">
              <a:rPr lang="en-US" smtClean="0"/>
              <a:t>09-Oct-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0D2461-D05C-0845-8236-97E6F144EE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60976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E9D6F5-C3A7-42A2-86ED-A4BB6579E1A2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89420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E9D6F5-C3A7-42A2-86ED-A4BB6579E1A2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71401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E9D6F5-C3A7-42A2-86ED-A4BB6579E1A2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9127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E9D6F5-C3A7-42A2-86ED-A4BB6579E1A2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78978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E9D6F5-C3A7-42A2-86ED-A4BB6579E1A2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20569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1CC4AE-BBB5-4860-BDE3-1798D100F219}" type="slidenum">
              <a:rPr lang="fr-FR" smtClean="0">
                <a:solidFill>
                  <a:prstClr val="black"/>
                </a:solidFill>
              </a:rPr>
              <a:pPr/>
              <a:t>17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78466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sv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F04718D-CBDC-0E4E-87C5-43EB1B528B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6444" y="6356350"/>
            <a:ext cx="4114800" cy="365125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65CA54-EFB6-D842-82B4-9D44464FC0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5313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9069B8-C63E-9B44-925E-AA46166CB32D}"/>
              </a:ext>
            </a:extLst>
          </p:cNvPr>
          <p:cNvSpPr/>
          <p:nvPr userDrawn="1"/>
        </p:nvSpPr>
        <p:spPr>
          <a:xfrm>
            <a:off x="0" y="0"/>
            <a:ext cx="9985248" cy="8612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158" y="210953"/>
            <a:ext cx="9458018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09854" y="1143905"/>
            <a:ext cx="10305702" cy="5294928"/>
          </a:xfrm>
        </p:spPr>
        <p:txBody>
          <a:bodyPr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B4D74E7-CD3B-1149-8E19-92421714CF79}"/>
              </a:ext>
            </a:extLst>
          </p:cNvPr>
          <p:cNvGrpSpPr/>
          <p:nvPr userDrawn="1"/>
        </p:nvGrpSpPr>
        <p:grpSpPr>
          <a:xfrm>
            <a:off x="57203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E52FA851-3B2C-BE40-81F8-B02EC00721FC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F2498644-4A50-5E4B-A00F-C1017D3701E0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2298566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9069B8-C63E-9B44-925E-AA46166CB32D}"/>
              </a:ext>
            </a:extLst>
          </p:cNvPr>
          <p:cNvSpPr/>
          <p:nvPr userDrawn="1"/>
        </p:nvSpPr>
        <p:spPr>
          <a:xfrm>
            <a:off x="0" y="0"/>
            <a:ext cx="9985248" cy="861263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158" y="210953"/>
            <a:ext cx="9458018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09854" y="1143905"/>
            <a:ext cx="10305702" cy="5294928"/>
          </a:xfrm>
        </p:spPr>
        <p:txBody>
          <a:bodyPr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0E79B7E-A1E2-2F4C-B194-A8B98128C891}"/>
              </a:ext>
            </a:extLst>
          </p:cNvPr>
          <p:cNvGrpSpPr/>
          <p:nvPr userDrawn="1"/>
        </p:nvGrpSpPr>
        <p:grpSpPr>
          <a:xfrm>
            <a:off x="57203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D38915C2-F88F-E645-AF3C-29AF0281BF7F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58F40255-AC58-B146-BF16-F57B17C388DD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863518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41BF3C6-86FD-3A44-8CF8-0A7A26E5E228}"/>
              </a:ext>
            </a:extLst>
          </p:cNvPr>
          <p:cNvSpPr/>
          <p:nvPr userDrawn="1"/>
        </p:nvSpPr>
        <p:spPr>
          <a:xfrm>
            <a:off x="1441630" y="0"/>
            <a:ext cx="8653346" cy="8612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60576" y="210953"/>
            <a:ext cx="8388096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085502" y="1143905"/>
            <a:ext cx="9930054" cy="5294928"/>
          </a:xfrm>
        </p:spPr>
        <p:txBody>
          <a:bodyPr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5460E37-A00A-9C43-87A8-27A6CDEFC735}"/>
              </a:ext>
            </a:extLst>
          </p:cNvPr>
          <p:cNvGrpSpPr/>
          <p:nvPr userDrawn="1"/>
        </p:nvGrpSpPr>
        <p:grpSpPr>
          <a:xfrm>
            <a:off x="1349555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855AE025-2CF8-8547-BE34-8CC2E06DD203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8A19FF9B-004B-7E4C-95BD-71024E7601C9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FC340C4-67F0-F34A-8400-BDB748B8B1F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14616" y="1146267"/>
            <a:ext cx="1652651" cy="1652651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10445701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090E9F78-8F75-D24C-8B8C-D22607F61B20}"/>
              </a:ext>
            </a:extLst>
          </p:cNvPr>
          <p:cNvSpPr/>
          <p:nvPr userDrawn="1"/>
        </p:nvSpPr>
        <p:spPr>
          <a:xfrm>
            <a:off x="1441630" y="0"/>
            <a:ext cx="8653346" cy="8612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40E9AC6-F37F-3747-BABD-31506F773DE6}"/>
              </a:ext>
            </a:extLst>
          </p:cNvPr>
          <p:cNvGrpSpPr/>
          <p:nvPr userDrawn="1"/>
        </p:nvGrpSpPr>
        <p:grpSpPr>
          <a:xfrm>
            <a:off x="1349555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09277C98-6A1D-7645-AB65-0B7566641757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577EEE67-8967-2643-B6C2-391C0C58CBA3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09854" y="1143905"/>
            <a:ext cx="10305702" cy="5294928"/>
          </a:xfrm>
        </p:spPr>
        <p:txBody>
          <a:bodyPr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69011" y="210953"/>
            <a:ext cx="8180832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100326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D4AB7DD9-9A36-4B40-A48F-D70A8DDA965B}"/>
              </a:ext>
            </a:extLst>
          </p:cNvPr>
          <p:cNvSpPr/>
          <p:nvPr userDrawn="1"/>
        </p:nvSpPr>
        <p:spPr>
          <a:xfrm>
            <a:off x="1441630" y="0"/>
            <a:ext cx="8653346" cy="8612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C57DFB4-2DB0-9A45-8E0B-3C5B745DD405}"/>
              </a:ext>
            </a:extLst>
          </p:cNvPr>
          <p:cNvGrpSpPr/>
          <p:nvPr userDrawn="1"/>
        </p:nvGrpSpPr>
        <p:grpSpPr>
          <a:xfrm>
            <a:off x="1349555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8A1070B5-0756-3F45-AD43-0D4B5DE5D410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4B295DD8-2AD6-F747-8C86-305A7EA9B0F8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085502" y="1143905"/>
            <a:ext cx="9930054" cy="5294928"/>
          </a:xfrm>
        </p:spPr>
        <p:txBody>
          <a:bodyPr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68159" y="210953"/>
            <a:ext cx="8180832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9154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A49D7E85-CD40-1A45-9D09-3D68055541A0}"/>
              </a:ext>
            </a:extLst>
          </p:cNvPr>
          <p:cNvSpPr/>
          <p:nvPr userDrawn="1"/>
        </p:nvSpPr>
        <p:spPr>
          <a:xfrm>
            <a:off x="1441630" y="0"/>
            <a:ext cx="8653346" cy="861263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DB91EBD-EF03-F949-A5B2-04DCA8E05181}"/>
              </a:ext>
            </a:extLst>
          </p:cNvPr>
          <p:cNvGrpSpPr/>
          <p:nvPr userDrawn="1"/>
        </p:nvGrpSpPr>
        <p:grpSpPr>
          <a:xfrm>
            <a:off x="1349555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7425B2B9-B694-004D-AE19-7DEEEA93539D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EFF06893-5107-9D45-A19A-F0BB769E12BC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09854" y="1143905"/>
            <a:ext cx="10305702" cy="5294928"/>
          </a:xfrm>
        </p:spPr>
        <p:txBody>
          <a:bodyPr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72768" y="210953"/>
            <a:ext cx="8180832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48175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4632" y="1166588"/>
            <a:ext cx="3855720" cy="2157884"/>
          </a:xfrm>
        </p:spPr>
        <p:txBody>
          <a:bodyPr anchor="t">
            <a:normAutofit/>
          </a:bodyPr>
          <a:lstStyle>
            <a:lvl1pPr>
              <a:lnSpc>
                <a:spcPct val="84000"/>
              </a:lnSpc>
              <a:defRPr sz="480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730240" y="0"/>
            <a:ext cx="6614160" cy="6872296"/>
          </a:xfrm>
          <a:solidFill>
            <a:schemeClr val="accent1"/>
          </a:solidFill>
        </p:spPr>
        <p:txBody>
          <a:bodyPr anchor="t"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Rectangle 8" title="Divider Bar"/>
          <p:cNvSpPr/>
          <p:nvPr/>
        </p:nvSpPr>
        <p:spPr>
          <a:xfrm>
            <a:off x="5501640" y="-14296"/>
            <a:ext cx="228600" cy="6872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263807-9A2E-9E40-B1EF-82F486DE4D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55E06E-05A2-224F-B7CA-8483B049DE2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FD6B1E0-5D4D-BF47-A1EB-0AF85A46D5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3900" y="4915968"/>
            <a:ext cx="3905250" cy="768350"/>
          </a:xfr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67"/>
          <a:stretch/>
        </p:blipFill>
        <p:spPr>
          <a:xfrm>
            <a:off x="-13855" y="173454"/>
            <a:ext cx="4266938" cy="6511092"/>
          </a:xfrm>
          <a:prstGeom prst="rect">
            <a:avLst/>
          </a:prstGeom>
        </p:spPr>
      </p:pic>
      <p:sp>
        <p:nvSpPr>
          <p:cNvPr id="15" name="Freeform 14">
            <a:extLst>
              <a:ext uri="{FF2B5EF4-FFF2-40B4-BE49-F238E27FC236}">
                <a16:creationId xmlns:a16="http://schemas.microsoft.com/office/drawing/2014/main" id="{45FF6FBA-5AF6-EA44-970F-E5B386A2A102}"/>
              </a:ext>
            </a:extLst>
          </p:cNvPr>
          <p:cNvSpPr/>
          <p:nvPr userDrawn="1"/>
        </p:nvSpPr>
        <p:spPr>
          <a:xfrm>
            <a:off x="680733" y="1245879"/>
            <a:ext cx="1672482" cy="4339399"/>
          </a:xfrm>
          <a:custGeom>
            <a:avLst/>
            <a:gdLst>
              <a:gd name="connsiteX0" fmla="*/ 34627 w 133981"/>
              <a:gd name="connsiteY0" fmla="*/ 331081 h 347628"/>
              <a:gd name="connsiteX1" fmla="*/ 17314 w 133981"/>
              <a:gd name="connsiteY1" fmla="*/ 348395 h 347628"/>
              <a:gd name="connsiteX2" fmla="*/ 0 w 133981"/>
              <a:gd name="connsiteY2" fmla="*/ 331081 h 347628"/>
              <a:gd name="connsiteX3" fmla="*/ 0 w 133981"/>
              <a:gd name="connsiteY3" fmla="*/ 143513 h 347628"/>
              <a:gd name="connsiteX4" fmla="*/ 17314 w 133981"/>
              <a:gd name="connsiteY4" fmla="*/ 126199 h 347628"/>
              <a:gd name="connsiteX5" fmla="*/ 34627 w 133981"/>
              <a:gd name="connsiteY5" fmla="*/ 143513 h 347628"/>
              <a:gd name="connsiteX6" fmla="*/ 134434 w 133981"/>
              <a:gd name="connsiteY6" fmla="*/ 117150 h 347628"/>
              <a:gd name="connsiteX7" fmla="*/ 117150 w 133981"/>
              <a:gd name="connsiteY7" fmla="*/ 134434 h 347628"/>
              <a:gd name="connsiteX8" fmla="*/ 99865 w 133981"/>
              <a:gd name="connsiteY8" fmla="*/ 117150 h 347628"/>
              <a:gd name="connsiteX9" fmla="*/ 99865 w 133981"/>
              <a:gd name="connsiteY9" fmla="*/ 34569 h 347628"/>
              <a:gd name="connsiteX10" fmla="*/ 17285 w 133981"/>
              <a:gd name="connsiteY10" fmla="*/ 34569 h 347628"/>
              <a:gd name="connsiteX11" fmla="*/ 0 w 133981"/>
              <a:gd name="connsiteY11" fmla="*/ 17285 h 347628"/>
              <a:gd name="connsiteX12" fmla="*/ 17285 w 133981"/>
              <a:gd name="connsiteY12" fmla="*/ 0 h 347628"/>
              <a:gd name="connsiteX13" fmla="*/ 117150 w 133981"/>
              <a:gd name="connsiteY13" fmla="*/ 0 h 347628"/>
              <a:gd name="connsiteX14" fmla="*/ 134434 w 133981"/>
              <a:gd name="connsiteY14" fmla="*/ 17141 h 347628"/>
              <a:gd name="connsiteX15" fmla="*/ 134434 w 133981"/>
              <a:gd name="connsiteY15" fmla="*/ 17285 h 347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3981" h="347628">
                <a:moveTo>
                  <a:pt x="34627" y="331081"/>
                </a:moveTo>
                <a:cubicBezTo>
                  <a:pt x="34627" y="340643"/>
                  <a:pt x="26875" y="348395"/>
                  <a:pt x="17314" y="348395"/>
                </a:cubicBezTo>
                <a:cubicBezTo>
                  <a:pt x="7752" y="348395"/>
                  <a:pt x="0" y="340643"/>
                  <a:pt x="0" y="331081"/>
                </a:cubicBezTo>
                <a:lnTo>
                  <a:pt x="0" y="143513"/>
                </a:lnTo>
                <a:cubicBezTo>
                  <a:pt x="0" y="133951"/>
                  <a:pt x="7752" y="126199"/>
                  <a:pt x="17314" y="126199"/>
                </a:cubicBezTo>
                <a:cubicBezTo>
                  <a:pt x="26875" y="126199"/>
                  <a:pt x="34627" y="133951"/>
                  <a:pt x="34627" y="143513"/>
                </a:cubicBezTo>
                <a:close/>
                <a:moveTo>
                  <a:pt x="134434" y="117150"/>
                </a:moveTo>
                <a:cubicBezTo>
                  <a:pt x="134434" y="126696"/>
                  <a:pt x="126696" y="134434"/>
                  <a:pt x="117150" y="134434"/>
                </a:cubicBezTo>
                <a:cubicBezTo>
                  <a:pt x="107604" y="134434"/>
                  <a:pt x="99865" y="126696"/>
                  <a:pt x="99865" y="117150"/>
                </a:cubicBezTo>
                <a:lnTo>
                  <a:pt x="99865" y="34569"/>
                </a:lnTo>
                <a:lnTo>
                  <a:pt x="17285" y="34569"/>
                </a:lnTo>
                <a:cubicBezTo>
                  <a:pt x="7739" y="34569"/>
                  <a:pt x="0" y="26831"/>
                  <a:pt x="0" y="17285"/>
                </a:cubicBezTo>
                <a:cubicBezTo>
                  <a:pt x="0" y="7739"/>
                  <a:pt x="7739" y="0"/>
                  <a:pt x="17285" y="0"/>
                </a:cubicBezTo>
                <a:lnTo>
                  <a:pt x="117150" y="0"/>
                </a:lnTo>
                <a:cubicBezTo>
                  <a:pt x="126656" y="-39"/>
                  <a:pt x="134395" y="7635"/>
                  <a:pt x="134434" y="17141"/>
                </a:cubicBezTo>
                <a:cubicBezTo>
                  <a:pt x="134434" y="17189"/>
                  <a:pt x="134434" y="17237"/>
                  <a:pt x="134434" y="17285"/>
                </a:cubicBezTo>
                <a:close/>
              </a:path>
            </a:pathLst>
          </a:custGeom>
          <a:solidFill>
            <a:schemeClr val="tx1">
              <a:alpha val="6000"/>
            </a:schemeClr>
          </a:solidFill>
          <a:ln w="89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491687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-Q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1FF2BA3-44B5-9F41-B215-B2D638C5EE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2335" r="1778" b="14242"/>
          <a:stretch/>
        </p:blipFill>
        <p:spPr>
          <a:xfrm>
            <a:off x="3159756" y="1705433"/>
            <a:ext cx="9064419" cy="3743661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809129" y="3429000"/>
            <a:ext cx="6382871" cy="634355"/>
          </a:xfrm>
          <a:solidFill>
            <a:schemeClr val="bg1">
              <a:alpha val="29000"/>
            </a:schemeClr>
          </a:solidFill>
        </p:spPr>
        <p:txBody>
          <a:bodyPr anchor="ctr" anchorCtr="0">
            <a:normAutofit/>
          </a:bodyPr>
          <a:lstStyle>
            <a:lvl1pPr marL="0" indent="0" algn="l">
              <a:buNone/>
              <a:defRPr sz="3200" b="0">
                <a:ln>
                  <a:noFill/>
                </a:ln>
                <a:solidFill>
                  <a:sysClr val="windowText" lastClr="000000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ection Title can go here</a:t>
            </a:r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38FA51DE-4449-DD4E-BFF6-7E9BE0C6D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4101E4D-1F74-384A-B9E1-42176F5D990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435620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67"/>
          <a:stretch/>
        </p:blipFill>
        <p:spPr>
          <a:xfrm>
            <a:off x="-13855" y="173454"/>
            <a:ext cx="4266938" cy="651109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900" y="1942032"/>
            <a:ext cx="3855720" cy="1276424"/>
          </a:xfrm>
        </p:spPr>
        <p:txBody>
          <a:bodyPr anchor="t">
            <a:normAutofit/>
          </a:bodyPr>
          <a:lstStyle>
            <a:lvl1pPr>
              <a:lnSpc>
                <a:spcPct val="84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263807-9A2E-9E40-B1EF-82F486DE4D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55E06E-05A2-224F-B7CA-8483B049DE2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45FF6FBA-5AF6-EA44-970F-E5B386A2A102}"/>
              </a:ext>
            </a:extLst>
          </p:cNvPr>
          <p:cNvSpPr/>
          <p:nvPr userDrawn="1"/>
        </p:nvSpPr>
        <p:spPr>
          <a:xfrm>
            <a:off x="680733" y="1245879"/>
            <a:ext cx="1672482" cy="4339399"/>
          </a:xfrm>
          <a:custGeom>
            <a:avLst/>
            <a:gdLst>
              <a:gd name="connsiteX0" fmla="*/ 34627 w 133981"/>
              <a:gd name="connsiteY0" fmla="*/ 331081 h 347628"/>
              <a:gd name="connsiteX1" fmla="*/ 17314 w 133981"/>
              <a:gd name="connsiteY1" fmla="*/ 348395 h 347628"/>
              <a:gd name="connsiteX2" fmla="*/ 0 w 133981"/>
              <a:gd name="connsiteY2" fmla="*/ 331081 h 347628"/>
              <a:gd name="connsiteX3" fmla="*/ 0 w 133981"/>
              <a:gd name="connsiteY3" fmla="*/ 143513 h 347628"/>
              <a:gd name="connsiteX4" fmla="*/ 17314 w 133981"/>
              <a:gd name="connsiteY4" fmla="*/ 126199 h 347628"/>
              <a:gd name="connsiteX5" fmla="*/ 34627 w 133981"/>
              <a:gd name="connsiteY5" fmla="*/ 143513 h 347628"/>
              <a:gd name="connsiteX6" fmla="*/ 134434 w 133981"/>
              <a:gd name="connsiteY6" fmla="*/ 117150 h 347628"/>
              <a:gd name="connsiteX7" fmla="*/ 117150 w 133981"/>
              <a:gd name="connsiteY7" fmla="*/ 134434 h 347628"/>
              <a:gd name="connsiteX8" fmla="*/ 99865 w 133981"/>
              <a:gd name="connsiteY8" fmla="*/ 117150 h 347628"/>
              <a:gd name="connsiteX9" fmla="*/ 99865 w 133981"/>
              <a:gd name="connsiteY9" fmla="*/ 34569 h 347628"/>
              <a:gd name="connsiteX10" fmla="*/ 17285 w 133981"/>
              <a:gd name="connsiteY10" fmla="*/ 34569 h 347628"/>
              <a:gd name="connsiteX11" fmla="*/ 0 w 133981"/>
              <a:gd name="connsiteY11" fmla="*/ 17285 h 347628"/>
              <a:gd name="connsiteX12" fmla="*/ 17285 w 133981"/>
              <a:gd name="connsiteY12" fmla="*/ 0 h 347628"/>
              <a:gd name="connsiteX13" fmla="*/ 117150 w 133981"/>
              <a:gd name="connsiteY13" fmla="*/ 0 h 347628"/>
              <a:gd name="connsiteX14" fmla="*/ 134434 w 133981"/>
              <a:gd name="connsiteY14" fmla="*/ 17141 h 347628"/>
              <a:gd name="connsiteX15" fmla="*/ 134434 w 133981"/>
              <a:gd name="connsiteY15" fmla="*/ 17285 h 347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3981" h="347628">
                <a:moveTo>
                  <a:pt x="34627" y="331081"/>
                </a:moveTo>
                <a:cubicBezTo>
                  <a:pt x="34627" y="340643"/>
                  <a:pt x="26875" y="348395"/>
                  <a:pt x="17314" y="348395"/>
                </a:cubicBezTo>
                <a:cubicBezTo>
                  <a:pt x="7752" y="348395"/>
                  <a:pt x="0" y="340643"/>
                  <a:pt x="0" y="331081"/>
                </a:cubicBezTo>
                <a:lnTo>
                  <a:pt x="0" y="143513"/>
                </a:lnTo>
                <a:cubicBezTo>
                  <a:pt x="0" y="133951"/>
                  <a:pt x="7752" y="126199"/>
                  <a:pt x="17314" y="126199"/>
                </a:cubicBezTo>
                <a:cubicBezTo>
                  <a:pt x="26875" y="126199"/>
                  <a:pt x="34627" y="133951"/>
                  <a:pt x="34627" y="143513"/>
                </a:cubicBezTo>
                <a:close/>
                <a:moveTo>
                  <a:pt x="134434" y="117150"/>
                </a:moveTo>
                <a:cubicBezTo>
                  <a:pt x="134434" y="126696"/>
                  <a:pt x="126696" y="134434"/>
                  <a:pt x="117150" y="134434"/>
                </a:cubicBezTo>
                <a:cubicBezTo>
                  <a:pt x="107604" y="134434"/>
                  <a:pt x="99865" y="126696"/>
                  <a:pt x="99865" y="117150"/>
                </a:cubicBezTo>
                <a:lnTo>
                  <a:pt x="99865" y="34569"/>
                </a:lnTo>
                <a:lnTo>
                  <a:pt x="17285" y="34569"/>
                </a:lnTo>
                <a:cubicBezTo>
                  <a:pt x="7739" y="34569"/>
                  <a:pt x="0" y="26831"/>
                  <a:pt x="0" y="17285"/>
                </a:cubicBezTo>
                <a:cubicBezTo>
                  <a:pt x="0" y="7739"/>
                  <a:pt x="7739" y="0"/>
                  <a:pt x="17285" y="0"/>
                </a:cubicBezTo>
                <a:lnTo>
                  <a:pt x="117150" y="0"/>
                </a:lnTo>
                <a:cubicBezTo>
                  <a:pt x="126656" y="-39"/>
                  <a:pt x="134395" y="7635"/>
                  <a:pt x="134434" y="17141"/>
                </a:cubicBezTo>
                <a:cubicBezTo>
                  <a:pt x="134434" y="17189"/>
                  <a:pt x="134434" y="17237"/>
                  <a:pt x="134434" y="17285"/>
                </a:cubicBezTo>
                <a:close/>
              </a:path>
            </a:pathLst>
          </a:custGeom>
          <a:solidFill>
            <a:schemeClr val="tx1">
              <a:alpha val="6000"/>
            </a:schemeClr>
          </a:solidFill>
          <a:ln w="89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FD6B1E0-5D4D-BF47-A1EB-0AF85A46D5CE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723900" y="4915968"/>
            <a:ext cx="3905250" cy="768350"/>
          </a:xfr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349736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icture 8 Sl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" y="0"/>
            <a:ext cx="3063241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049021" y="0"/>
            <a:ext cx="3063241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098037" y="0"/>
            <a:ext cx="3063241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9147053" y="0"/>
            <a:ext cx="3063241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5" y="3419856"/>
            <a:ext cx="3063241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3049021" y="3419856"/>
            <a:ext cx="3063241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6098037" y="3419856"/>
            <a:ext cx="3063241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9147053" y="3419856"/>
            <a:ext cx="3063241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F6CAF25-B2AB-9543-822F-5F05F0D6B5C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5233EB4-CE78-C449-A4B8-7F7F0F82885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48610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1-Title-Slide-Dark-Image-Q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9D4A13A0-76EC-5C4B-B401-B23F4BAB0D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1778"/>
          <a:stretch/>
        </p:blipFill>
        <p:spPr>
          <a:xfrm>
            <a:off x="0" y="-4445"/>
            <a:ext cx="12192000" cy="6858000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11586" y="5570934"/>
            <a:ext cx="6441141" cy="467500"/>
          </a:xfrm>
          <a:ln w="6350">
            <a:noFill/>
          </a:ln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Franklin Gothic Book" panose="020B0503020102020204" pitchFamily="34" charset="0"/>
              <a:buNone/>
              <a:tabLst/>
              <a:defRPr sz="23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Your Name  I   Title Go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11588" y="2030506"/>
            <a:ext cx="6441140" cy="3540427"/>
          </a:xfrm>
          <a:noFill/>
        </p:spPr>
        <p:txBody>
          <a:bodyPr anchor="ctr" anchorCtr="0">
            <a:noAutofit/>
          </a:bodyPr>
          <a:lstStyle>
            <a:lvl1pPr algn="l">
              <a:defRPr sz="630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You Presentation Title Goes He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181D5CC-1654-0447-B7D5-1C841CD2D3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7407B95-5F23-474A-A825-4EC2464BAB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11775" y="6038850"/>
            <a:ext cx="6440488" cy="36983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bg2"/>
                </a:solidFill>
              </a:defRPr>
            </a:lvl1pPr>
          </a:lstStyle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ate  I   Place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6B2309B-0CBF-8045-B701-48458E8302D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7046" y="381000"/>
            <a:ext cx="2599722" cy="6499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03446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 descr="A sunset in the background&#10;&#10;Description automatically generated">
            <a:extLst>
              <a:ext uri="{FF2B5EF4-FFF2-40B4-BE49-F238E27FC236}">
                <a16:creationId xmlns:a16="http://schemas.microsoft.com/office/drawing/2014/main" id="{FF33B798-8613-8145-9556-7DA1D317BFE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478"/>
            <a:ext cx="12214117" cy="6853078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DBAF1DB3-ECAC-5C45-AE18-EBA28E539140}"/>
              </a:ext>
            </a:extLst>
          </p:cNvPr>
          <p:cNvSpPr/>
          <p:nvPr userDrawn="1"/>
        </p:nvSpPr>
        <p:spPr>
          <a:xfrm>
            <a:off x="0" y="1172584"/>
            <a:ext cx="12902005" cy="5315845"/>
          </a:xfrm>
          <a:prstGeom prst="rect">
            <a:avLst/>
          </a:prstGeom>
          <a:solidFill>
            <a:schemeClr val="tx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1020011" y="1986216"/>
            <a:ext cx="2560320" cy="1810513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3747463" y="1986216"/>
            <a:ext cx="2560320" cy="1810513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9"/>
          </p:nvPr>
        </p:nvSpPr>
        <p:spPr>
          <a:xfrm>
            <a:off x="6490537" y="1986216"/>
            <a:ext cx="2560320" cy="1810513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20"/>
          </p:nvPr>
        </p:nvSpPr>
        <p:spPr>
          <a:xfrm>
            <a:off x="9233863" y="1986216"/>
            <a:ext cx="2560320" cy="1810513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21" hasCustomPrompt="1"/>
          </p:nvPr>
        </p:nvSpPr>
        <p:spPr>
          <a:xfrm>
            <a:off x="1021090" y="3816720"/>
            <a:ext cx="2533775" cy="296307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None/>
              <a:defRPr sz="1600" b="0" i="0">
                <a:solidFill>
                  <a:schemeClr val="bg2"/>
                </a:solidFill>
                <a:latin typeface="+mn-lt"/>
                <a:ea typeface="Calibri Regular" charset="0"/>
                <a:cs typeface="Calibri Regular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75" indent="-171458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Subtitle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40" hasCustomPrompt="1"/>
          </p:nvPr>
        </p:nvSpPr>
        <p:spPr>
          <a:xfrm>
            <a:off x="1020015" y="4177788"/>
            <a:ext cx="2560321" cy="2141853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1200" b="0" i="0">
                <a:solidFill>
                  <a:schemeClr val="bg2"/>
                </a:solidFill>
                <a:latin typeface="+mj-lt"/>
                <a:ea typeface="Calibri Regular" charset="0"/>
                <a:cs typeface="Calibri Regular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75" indent="-171458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Profile Detail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41" hasCustomPrompt="1"/>
          </p:nvPr>
        </p:nvSpPr>
        <p:spPr>
          <a:xfrm>
            <a:off x="3748545" y="3816720"/>
            <a:ext cx="2533775" cy="296307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None/>
              <a:defRPr sz="1600" b="0" i="0">
                <a:solidFill>
                  <a:schemeClr val="bg2"/>
                </a:solidFill>
                <a:latin typeface="+mn-lt"/>
                <a:ea typeface="Calibri Regular" charset="0"/>
                <a:cs typeface="Calibri Regular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75" indent="-171458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Subtitl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43" hasCustomPrompt="1"/>
          </p:nvPr>
        </p:nvSpPr>
        <p:spPr>
          <a:xfrm>
            <a:off x="3747469" y="4177788"/>
            <a:ext cx="2560321" cy="2141853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1200" b="0" i="0">
                <a:solidFill>
                  <a:schemeClr val="bg2"/>
                </a:solidFill>
                <a:latin typeface="+mj-lt"/>
                <a:ea typeface="Calibri Regular" charset="0"/>
                <a:cs typeface="Calibri Regular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75" indent="-171458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Profile Detail</a:t>
            </a:r>
          </a:p>
        </p:txBody>
      </p:sp>
      <p:sp>
        <p:nvSpPr>
          <p:cNvPr id="15" name="Content Placeholder 13"/>
          <p:cNvSpPr>
            <a:spLocks noGrp="1"/>
          </p:cNvSpPr>
          <p:nvPr>
            <p:ph sz="quarter" idx="44" hasCustomPrompt="1"/>
          </p:nvPr>
        </p:nvSpPr>
        <p:spPr>
          <a:xfrm>
            <a:off x="6488443" y="3816720"/>
            <a:ext cx="2533775" cy="296307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None/>
              <a:defRPr sz="1600" b="0" i="0">
                <a:solidFill>
                  <a:schemeClr val="bg2"/>
                </a:solidFill>
                <a:latin typeface="+mn-lt"/>
                <a:ea typeface="Calibri Regular" charset="0"/>
                <a:cs typeface="Calibri Regular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75" indent="-171458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Subtitle</a:t>
            </a:r>
          </a:p>
        </p:txBody>
      </p:sp>
      <p:sp>
        <p:nvSpPr>
          <p:cNvPr id="16" name="Content Placeholder 13"/>
          <p:cNvSpPr>
            <a:spLocks noGrp="1"/>
          </p:cNvSpPr>
          <p:nvPr>
            <p:ph sz="quarter" idx="46" hasCustomPrompt="1"/>
          </p:nvPr>
        </p:nvSpPr>
        <p:spPr>
          <a:xfrm>
            <a:off x="6487367" y="4177788"/>
            <a:ext cx="2560321" cy="2141853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1200" b="0" i="0">
                <a:solidFill>
                  <a:schemeClr val="bg2"/>
                </a:solidFill>
                <a:latin typeface="+mj-lt"/>
                <a:ea typeface="Calibri Regular" charset="0"/>
                <a:cs typeface="Calibri Regular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75" indent="-171458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Profile Detail</a:t>
            </a:r>
          </a:p>
        </p:txBody>
      </p:sp>
      <p:sp>
        <p:nvSpPr>
          <p:cNvPr id="17" name="Content Placeholder 13"/>
          <p:cNvSpPr>
            <a:spLocks noGrp="1"/>
          </p:cNvSpPr>
          <p:nvPr>
            <p:ph sz="quarter" idx="47" hasCustomPrompt="1"/>
          </p:nvPr>
        </p:nvSpPr>
        <p:spPr>
          <a:xfrm>
            <a:off x="9242788" y="3816720"/>
            <a:ext cx="2533775" cy="296307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None/>
              <a:defRPr sz="1600" b="0" i="0">
                <a:solidFill>
                  <a:schemeClr val="bg2"/>
                </a:solidFill>
                <a:latin typeface="+mn-lt"/>
                <a:ea typeface="Calibri Regular" charset="0"/>
                <a:cs typeface="Calibri Regular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75" indent="-171458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Subtitle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49" hasCustomPrompt="1"/>
          </p:nvPr>
        </p:nvSpPr>
        <p:spPr>
          <a:xfrm>
            <a:off x="9214820" y="4177788"/>
            <a:ext cx="2560321" cy="2141853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1200" b="0" i="0">
                <a:solidFill>
                  <a:schemeClr val="bg2"/>
                </a:solidFill>
                <a:latin typeface="+mj-lt"/>
                <a:ea typeface="Calibri Regular" charset="0"/>
                <a:cs typeface="Calibri Regular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75" indent="-171458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Profile Detai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4B0123B-2E8C-4A4E-984D-DF0D179F20FF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2FF636-7DFB-874D-9CDE-B92224B122C5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756339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71C43564-6A2B-8240-A332-FF6C4397E7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7350" b="39402"/>
          <a:stretch/>
        </p:blipFill>
        <p:spPr>
          <a:xfrm>
            <a:off x="0" y="4851699"/>
            <a:ext cx="12192000" cy="1996136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7937" y="2200233"/>
            <a:ext cx="4538397" cy="3581401"/>
          </a:xfrm>
          <a:solidFill>
            <a:schemeClr val="bg2"/>
          </a:solidFill>
          <a:ln w="28575">
            <a:solidFill>
              <a:schemeClr val="accent3"/>
            </a:solidFill>
          </a:ln>
        </p:spPr>
        <p:txBody>
          <a:bodyPr lIns="180000" anchor="t" anchorCtr="0"/>
          <a:lstStyle>
            <a:lvl1pPr>
              <a:defRPr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96216" y="2200233"/>
            <a:ext cx="4534930" cy="3581401"/>
          </a:xfrm>
          <a:solidFill>
            <a:schemeClr val="bg2"/>
          </a:solidFill>
          <a:ln w="28575">
            <a:solidFill>
              <a:schemeClr val="accent3"/>
            </a:solidFill>
          </a:ln>
        </p:spPr>
        <p:txBody>
          <a:bodyPr lIns="180000" anchor="t" anchorCtr="0"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object 9"/>
          <p:cNvSpPr/>
          <p:nvPr userDrawn="1"/>
        </p:nvSpPr>
        <p:spPr>
          <a:xfrm rot="2700000">
            <a:off x="5524759" y="3523367"/>
            <a:ext cx="954583" cy="1022878"/>
          </a:xfrm>
          <a:custGeom>
            <a:avLst/>
            <a:gdLst/>
            <a:ahLst/>
            <a:cxnLst/>
            <a:rect l="l" t="t" r="r" b="b"/>
            <a:pathLst>
              <a:path w="1180465" h="1264920">
                <a:moveTo>
                  <a:pt x="1092200" y="0"/>
                </a:moveTo>
                <a:lnTo>
                  <a:pt x="88061" y="0"/>
                </a:lnTo>
                <a:lnTo>
                  <a:pt x="53765" y="6913"/>
                </a:lnTo>
                <a:lnTo>
                  <a:pt x="25776" y="25774"/>
                </a:lnTo>
                <a:lnTo>
                  <a:pt x="6914" y="53760"/>
                </a:lnTo>
                <a:lnTo>
                  <a:pt x="0" y="88049"/>
                </a:lnTo>
                <a:lnTo>
                  <a:pt x="6914" y="122345"/>
                </a:lnTo>
                <a:lnTo>
                  <a:pt x="25776" y="150334"/>
                </a:lnTo>
                <a:lnTo>
                  <a:pt x="53765" y="169196"/>
                </a:lnTo>
                <a:lnTo>
                  <a:pt x="88061" y="176110"/>
                </a:lnTo>
                <a:lnTo>
                  <a:pt x="1004138" y="176110"/>
                </a:lnTo>
                <a:lnTo>
                  <a:pt x="1004138" y="1176464"/>
                </a:lnTo>
                <a:lnTo>
                  <a:pt x="1011054" y="1210760"/>
                </a:lnTo>
                <a:lnTo>
                  <a:pt x="1029919" y="1238750"/>
                </a:lnTo>
                <a:lnTo>
                  <a:pt x="1057909" y="1257612"/>
                </a:lnTo>
                <a:lnTo>
                  <a:pt x="1092200" y="1264526"/>
                </a:lnTo>
                <a:lnTo>
                  <a:pt x="1126490" y="1257612"/>
                </a:lnTo>
                <a:lnTo>
                  <a:pt x="1154480" y="1238750"/>
                </a:lnTo>
                <a:lnTo>
                  <a:pt x="1173345" y="1210760"/>
                </a:lnTo>
                <a:lnTo>
                  <a:pt x="1180261" y="1176464"/>
                </a:lnTo>
                <a:lnTo>
                  <a:pt x="1180261" y="88049"/>
                </a:lnTo>
                <a:lnTo>
                  <a:pt x="1173345" y="53760"/>
                </a:lnTo>
                <a:lnTo>
                  <a:pt x="1154480" y="25774"/>
                </a:lnTo>
                <a:lnTo>
                  <a:pt x="1126490" y="6913"/>
                </a:lnTo>
                <a:lnTo>
                  <a:pt x="109220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9"/>
          <p:cNvSpPr/>
          <p:nvPr userDrawn="1"/>
        </p:nvSpPr>
        <p:spPr>
          <a:xfrm rot="2700000">
            <a:off x="5092273" y="3523367"/>
            <a:ext cx="954583" cy="1022878"/>
          </a:xfrm>
          <a:custGeom>
            <a:avLst/>
            <a:gdLst/>
            <a:ahLst/>
            <a:cxnLst/>
            <a:rect l="l" t="t" r="r" b="b"/>
            <a:pathLst>
              <a:path w="1180465" h="1264920">
                <a:moveTo>
                  <a:pt x="1092200" y="0"/>
                </a:moveTo>
                <a:lnTo>
                  <a:pt x="88061" y="0"/>
                </a:lnTo>
                <a:lnTo>
                  <a:pt x="53765" y="6913"/>
                </a:lnTo>
                <a:lnTo>
                  <a:pt x="25776" y="25774"/>
                </a:lnTo>
                <a:lnTo>
                  <a:pt x="6914" y="53760"/>
                </a:lnTo>
                <a:lnTo>
                  <a:pt x="0" y="88049"/>
                </a:lnTo>
                <a:lnTo>
                  <a:pt x="6914" y="122345"/>
                </a:lnTo>
                <a:lnTo>
                  <a:pt x="25776" y="150334"/>
                </a:lnTo>
                <a:lnTo>
                  <a:pt x="53765" y="169196"/>
                </a:lnTo>
                <a:lnTo>
                  <a:pt x="88061" y="176110"/>
                </a:lnTo>
                <a:lnTo>
                  <a:pt x="1004138" y="176110"/>
                </a:lnTo>
                <a:lnTo>
                  <a:pt x="1004138" y="1176464"/>
                </a:lnTo>
                <a:lnTo>
                  <a:pt x="1011054" y="1210760"/>
                </a:lnTo>
                <a:lnTo>
                  <a:pt x="1029919" y="1238750"/>
                </a:lnTo>
                <a:lnTo>
                  <a:pt x="1057909" y="1257612"/>
                </a:lnTo>
                <a:lnTo>
                  <a:pt x="1092200" y="1264526"/>
                </a:lnTo>
                <a:lnTo>
                  <a:pt x="1126490" y="1257612"/>
                </a:lnTo>
                <a:lnTo>
                  <a:pt x="1154480" y="1238750"/>
                </a:lnTo>
                <a:lnTo>
                  <a:pt x="1173345" y="1210760"/>
                </a:lnTo>
                <a:lnTo>
                  <a:pt x="1180261" y="1176464"/>
                </a:lnTo>
                <a:lnTo>
                  <a:pt x="1180261" y="88049"/>
                </a:lnTo>
                <a:lnTo>
                  <a:pt x="1173345" y="53760"/>
                </a:lnTo>
                <a:lnTo>
                  <a:pt x="1154480" y="25774"/>
                </a:lnTo>
                <a:lnTo>
                  <a:pt x="1126490" y="6913"/>
                </a:lnTo>
                <a:lnTo>
                  <a:pt x="109220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Title 3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DCEED90-A497-1641-9E59-A29C6AF4EC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F4EACA-55D0-C448-A833-1510F291249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339553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A2F6E4FC-6256-314C-909E-60B8F18578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438041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50705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355600" y="3886200"/>
            <a:ext cx="11480800" cy="2971800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601" y="142510"/>
            <a:ext cx="9789885" cy="486887"/>
          </a:xfrm>
        </p:spPr>
        <p:txBody>
          <a:bodyPr>
            <a:noAutofit/>
          </a:bodyPr>
          <a:lstStyle>
            <a:lvl1pPr>
              <a:defRPr sz="2133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561653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2F6A333-4961-5346-AB8D-E59E6F482F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008142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878351" y="1116282"/>
            <a:ext cx="4429699" cy="4432605"/>
          </a:xfrm>
          <a:prstGeom prst="ellipse">
            <a:avLst/>
          </a:prstGeom>
          <a:noFill/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56920B0-BE8A-324F-93D7-41470825B6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57058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017649" y="1918919"/>
            <a:ext cx="4558807" cy="368794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813737" y="1455870"/>
            <a:ext cx="4558807" cy="3687948"/>
          </a:xfrm>
          <a:solidFill>
            <a:schemeClr val="bg1">
              <a:lumMod val="8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576288C-F08E-FB4A-AAC2-552678CA44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183694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7B4EE4-21B0-9241-8DC6-763DDC939F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Espace réservé du texte 3">
            <a:extLst>
              <a:ext uri="{FF2B5EF4-FFF2-40B4-BE49-F238E27FC236}">
                <a16:creationId xmlns:a16="http://schemas.microsoft.com/office/drawing/2014/main" id="{566CB9F5-C5B7-DD4E-BF1E-679CCF4AF03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910024" y="1403349"/>
            <a:ext cx="8988059" cy="5034027"/>
          </a:xfrm>
        </p:spPr>
        <p:txBody>
          <a:bodyPr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Espace réservé du texte 2">
            <a:extLst>
              <a:ext uri="{FF2B5EF4-FFF2-40B4-BE49-F238E27FC236}">
                <a16:creationId xmlns:a16="http://schemas.microsoft.com/office/drawing/2014/main" id="{C1E27FC6-54AC-3244-A5DB-5834141302F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6720" y="701675"/>
            <a:ext cx="11471363" cy="45085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600" spc="0" baseline="0">
                <a:latin typeface="+mj-lt"/>
                <a:ea typeface="Roboto Light" panose="02000000000000000000" pitchFamily="2" charset="0"/>
              </a:defRPr>
            </a:lvl1pPr>
          </a:lstStyle>
          <a:p>
            <a:pPr lvl="0"/>
            <a:r>
              <a:rPr lang="fr-FR" dirty="0"/>
              <a:t>Sous-titre</a:t>
            </a:r>
            <a:endParaRPr lang="en-US" dirty="0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560F90B3-C6CB-0D40-AA88-5FFD28C6FA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5813" y="6290968"/>
            <a:ext cx="1476188" cy="486833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lvl1pPr algn="r">
              <a:defRPr sz="1333">
                <a:solidFill>
                  <a:schemeClr val="tx1"/>
                </a:solidFill>
                <a:latin typeface="+mj-lt"/>
              </a:defRPr>
            </a:lvl1pPr>
          </a:lstStyle>
          <a:p>
            <a:pPr>
              <a:defRPr/>
            </a:pPr>
            <a:fld id="{C3F5280C-0EB1-42F5-A1B1-5524A582E687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147793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" y="0"/>
            <a:ext cx="6743315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743314" y="0"/>
            <a:ext cx="5448687" cy="6858000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6D583A46-A8AE-5F4E-99B0-7229176A0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1677" y="0"/>
            <a:ext cx="6010655" cy="58521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09660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2001" cy="3541487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883457" y="2031545"/>
            <a:ext cx="2409375" cy="1944915"/>
          </a:xfrm>
          <a:solidFill>
            <a:schemeClr val="bg1">
              <a:lumMod val="8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3568599" y="2031545"/>
            <a:ext cx="2409375" cy="1944915"/>
          </a:xfrm>
          <a:solidFill>
            <a:schemeClr val="bg1">
              <a:lumMod val="8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6214030" y="2031545"/>
            <a:ext cx="2409375" cy="1944915"/>
          </a:xfrm>
          <a:solidFill>
            <a:schemeClr val="bg1">
              <a:lumMod val="8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8899171" y="2031545"/>
            <a:ext cx="2409375" cy="1944915"/>
          </a:xfrm>
          <a:solidFill>
            <a:schemeClr val="bg1">
              <a:lumMod val="8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4DE36CF-0D1B-E54E-B08E-BDFE48FBEA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8420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1-Title-Slide-Dark-Image-Q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4859338-2EBA-CB4A-8B4D-655AB389FF81}"/>
              </a:ext>
            </a:extLst>
          </p:cNvPr>
          <p:cNvSpPr/>
          <p:nvPr userDrawn="1"/>
        </p:nvSpPr>
        <p:spPr>
          <a:xfrm>
            <a:off x="0" y="1072896"/>
            <a:ext cx="12192000" cy="5785104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8480" y="5570934"/>
            <a:ext cx="11214247" cy="467500"/>
          </a:xfrm>
          <a:ln w="6350">
            <a:noFill/>
          </a:ln>
        </p:spPr>
        <p:txBody>
          <a:bodyPr wrap="square"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Franklin Gothic Book" panose="020B0503020102020204" pitchFamily="34" charset="0"/>
              <a:buNone/>
              <a:tabLst/>
              <a:defRPr sz="23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Your Name  I   Title Go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8480" y="4500880"/>
            <a:ext cx="11213783" cy="1070053"/>
          </a:xfrm>
          <a:noFill/>
        </p:spPr>
        <p:txBody>
          <a:bodyPr anchor="ctr" anchorCtr="0">
            <a:noAutofit/>
          </a:bodyPr>
          <a:lstStyle>
            <a:lvl1pPr algn="ctr">
              <a:defRPr sz="630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You Presentation Title Goes He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181D5CC-1654-0447-B7D5-1C841CD2D3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7407B95-5F23-474A-A825-4EC2464BAB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9153" y="6038850"/>
            <a:ext cx="11213110" cy="369835"/>
          </a:xfr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bg2"/>
                </a:solidFill>
              </a:defRPr>
            </a:lvl1pPr>
          </a:lstStyle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ate  I   Place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AC4C97C-7DE5-3A48-A08C-F6B636EDFF1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217006"/>
            <a:ext cx="12192000" cy="298720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grpSp>
        <p:nvGrpSpPr>
          <p:cNvPr id="14" name="Graphic 16">
            <a:extLst>
              <a:ext uri="{FF2B5EF4-FFF2-40B4-BE49-F238E27FC236}">
                <a16:creationId xmlns:a16="http://schemas.microsoft.com/office/drawing/2014/main" id="{D82F451F-E2C2-6F45-B9F9-D37B23A2DCA2}"/>
              </a:ext>
            </a:extLst>
          </p:cNvPr>
          <p:cNvGrpSpPr/>
          <p:nvPr/>
        </p:nvGrpSpPr>
        <p:grpSpPr>
          <a:xfrm>
            <a:off x="538480" y="-12608"/>
            <a:ext cx="695256" cy="927008"/>
            <a:chOff x="538480" y="-12608"/>
            <a:chExt cx="695256" cy="927008"/>
          </a:xfrm>
        </p:grpSpPr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5EA1735D-3FCD-B343-A4F0-6F8A42FAA54C}"/>
                </a:ext>
              </a:extLst>
            </p:cNvPr>
            <p:cNvSpPr/>
            <p:nvPr/>
          </p:nvSpPr>
          <p:spPr>
            <a:xfrm>
              <a:off x="538480" y="-12608"/>
              <a:ext cx="695256" cy="927008"/>
            </a:xfrm>
            <a:custGeom>
              <a:avLst/>
              <a:gdLst>
                <a:gd name="connsiteX0" fmla="*/ 0 w 695256"/>
                <a:gd name="connsiteY0" fmla="*/ 0 h 927008"/>
                <a:gd name="connsiteX1" fmla="*/ 695256 w 695256"/>
                <a:gd name="connsiteY1" fmla="*/ 0 h 927008"/>
                <a:gd name="connsiteX2" fmla="*/ 695256 w 695256"/>
                <a:gd name="connsiteY2" fmla="*/ 927008 h 927008"/>
                <a:gd name="connsiteX3" fmla="*/ 0 w 695256"/>
                <a:gd name="connsiteY3" fmla="*/ 927008 h 927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5256" h="927008">
                  <a:moveTo>
                    <a:pt x="0" y="0"/>
                  </a:moveTo>
                  <a:lnTo>
                    <a:pt x="695256" y="0"/>
                  </a:lnTo>
                  <a:lnTo>
                    <a:pt x="695256" y="927008"/>
                  </a:lnTo>
                  <a:lnTo>
                    <a:pt x="0" y="927008"/>
                  </a:lnTo>
                  <a:close/>
                </a:path>
              </a:pathLst>
            </a:custGeom>
            <a:solidFill>
              <a:srgbClr val="FF4200"/>
            </a:solidFill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F4D92768-C7BA-4541-911D-9DC78E43BFE4}"/>
                </a:ext>
              </a:extLst>
            </p:cNvPr>
            <p:cNvSpPr/>
            <p:nvPr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solidFill>
              <a:srgbClr val="FFFFFF"/>
            </a:solidFill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E615D089-97A7-524D-8B3C-90C7E5AE0EA3}"/>
                </a:ext>
              </a:extLst>
            </p:cNvPr>
            <p:cNvSpPr/>
            <p:nvPr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solidFill>
              <a:srgbClr val="FFFFFF"/>
            </a:solidFill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2" name="Graphic 21">
            <a:extLst>
              <a:ext uri="{FF2B5EF4-FFF2-40B4-BE49-F238E27FC236}">
                <a16:creationId xmlns:a16="http://schemas.microsoft.com/office/drawing/2014/main" id="{0E917E31-6CAD-9345-A2C8-3E69C75099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754594" y="153645"/>
            <a:ext cx="2983445" cy="7458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20589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857583" y="1309689"/>
            <a:ext cx="1320496" cy="1321364"/>
          </a:xfrm>
          <a:prstGeom prst="ellipse">
            <a:avLst/>
          </a:prstGeo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6613691" y="1309689"/>
            <a:ext cx="1320496" cy="1321364"/>
          </a:xfrm>
          <a:prstGeom prst="ellipse">
            <a:avLst/>
          </a:prstGeo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Shape 30289"/>
          <p:cNvSpPr/>
          <p:nvPr userDrawn="1"/>
        </p:nvSpPr>
        <p:spPr>
          <a:xfrm>
            <a:off x="2322676" y="1418936"/>
            <a:ext cx="2935125" cy="20806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61" y="0"/>
                </a:moveTo>
                <a:cubicBezTo>
                  <a:pt x="1348" y="0"/>
                  <a:pt x="1257" y="124"/>
                  <a:pt x="1257" y="277"/>
                </a:cubicBezTo>
                <a:lnTo>
                  <a:pt x="1257" y="3580"/>
                </a:lnTo>
                <a:lnTo>
                  <a:pt x="0" y="4321"/>
                </a:lnTo>
                <a:lnTo>
                  <a:pt x="1257" y="5060"/>
                </a:lnTo>
                <a:lnTo>
                  <a:pt x="1257" y="21323"/>
                </a:lnTo>
                <a:cubicBezTo>
                  <a:pt x="1257" y="21476"/>
                  <a:pt x="1348" y="21600"/>
                  <a:pt x="1461" y="21600"/>
                </a:cubicBezTo>
                <a:lnTo>
                  <a:pt x="21396" y="21600"/>
                </a:lnTo>
                <a:cubicBezTo>
                  <a:pt x="21509" y="21600"/>
                  <a:pt x="21600" y="21476"/>
                  <a:pt x="21600" y="21323"/>
                </a:cubicBezTo>
                <a:lnTo>
                  <a:pt x="21600" y="277"/>
                </a:lnTo>
                <a:cubicBezTo>
                  <a:pt x="21600" y="124"/>
                  <a:pt x="21509" y="0"/>
                  <a:pt x="21396" y="0"/>
                </a:cubicBezTo>
                <a:lnTo>
                  <a:pt x="1461" y="0"/>
                </a:lnTo>
                <a:close/>
              </a:path>
            </a:pathLst>
          </a:custGeom>
          <a:solidFill>
            <a:schemeClr val="bg1"/>
          </a:solidFill>
          <a:ln w="38100" cap="flat">
            <a:solidFill>
              <a:schemeClr val="tx2"/>
            </a:solidFill>
            <a:round/>
          </a:ln>
          <a:effectLst/>
        </p:spPr>
        <p:txBody>
          <a:bodyPr wrap="square" lIns="50800" tIns="50800" rIns="50800" bIns="50800" numCol="1" anchor="ctr">
            <a:noAutofit/>
          </a:bodyPr>
          <a:lstStyle/>
          <a:p>
            <a:pPr>
              <a:defRPr sz="3200">
                <a:solidFill>
                  <a:srgbClr val="FFFFFF"/>
                </a:solidFill>
              </a:defRPr>
            </a:pPr>
            <a:endParaRPr sz="3200" dirty="0"/>
          </a:p>
        </p:txBody>
      </p:sp>
      <p:sp>
        <p:nvSpPr>
          <p:cNvPr id="9" name="Shape 30289"/>
          <p:cNvSpPr/>
          <p:nvPr userDrawn="1"/>
        </p:nvSpPr>
        <p:spPr>
          <a:xfrm>
            <a:off x="8091298" y="1418936"/>
            <a:ext cx="2935125" cy="20806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61" y="0"/>
                </a:moveTo>
                <a:cubicBezTo>
                  <a:pt x="1348" y="0"/>
                  <a:pt x="1257" y="124"/>
                  <a:pt x="1257" y="277"/>
                </a:cubicBezTo>
                <a:lnTo>
                  <a:pt x="1257" y="3580"/>
                </a:lnTo>
                <a:lnTo>
                  <a:pt x="0" y="4321"/>
                </a:lnTo>
                <a:lnTo>
                  <a:pt x="1257" y="5060"/>
                </a:lnTo>
                <a:lnTo>
                  <a:pt x="1257" y="21323"/>
                </a:lnTo>
                <a:cubicBezTo>
                  <a:pt x="1257" y="21476"/>
                  <a:pt x="1348" y="21600"/>
                  <a:pt x="1461" y="21600"/>
                </a:cubicBezTo>
                <a:lnTo>
                  <a:pt x="21396" y="21600"/>
                </a:lnTo>
                <a:cubicBezTo>
                  <a:pt x="21509" y="21600"/>
                  <a:pt x="21600" y="21476"/>
                  <a:pt x="21600" y="21323"/>
                </a:cubicBezTo>
                <a:lnTo>
                  <a:pt x="21600" y="277"/>
                </a:lnTo>
                <a:cubicBezTo>
                  <a:pt x="21600" y="124"/>
                  <a:pt x="21509" y="0"/>
                  <a:pt x="21396" y="0"/>
                </a:cubicBezTo>
                <a:lnTo>
                  <a:pt x="1461" y="0"/>
                </a:lnTo>
                <a:close/>
              </a:path>
            </a:pathLst>
          </a:custGeom>
          <a:solidFill>
            <a:schemeClr val="bg1"/>
          </a:solidFill>
          <a:ln w="38100" cap="flat">
            <a:solidFill>
              <a:schemeClr val="tx2"/>
            </a:solidFill>
            <a:round/>
          </a:ln>
          <a:effectLst/>
        </p:spPr>
        <p:txBody>
          <a:bodyPr wrap="square" lIns="50800" tIns="50800" rIns="50800" bIns="50800" numCol="1" anchor="ctr">
            <a:noAutofit/>
          </a:bodyPr>
          <a:lstStyle/>
          <a:p>
            <a:pPr>
              <a:defRPr sz="3200">
                <a:solidFill>
                  <a:srgbClr val="FFFFFF"/>
                </a:solidFill>
              </a:defRPr>
            </a:pPr>
            <a:endParaRPr sz="3200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1F8589C4-045D-4D4E-932D-38EB3D5EB6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697121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079502" y="1273998"/>
            <a:ext cx="2387599" cy="1384023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4739922" y="1273998"/>
            <a:ext cx="2387599" cy="1384023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8448323" y="1273998"/>
            <a:ext cx="2387599" cy="1384023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1079502" y="2658021"/>
            <a:ext cx="1219199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4739923" y="2658021"/>
            <a:ext cx="1219199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8448323" y="2658021"/>
            <a:ext cx="1219199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674B266E-77F2-4D44-8D76-2FF27113C0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017537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327151" y="1673201"/>
            <a:ext cx="1524000" cy="1525003"/>
          </a:xfrm>
          <a:prstGeom prst="ellipse">
            <a:avLst/>
          </a:prstGeo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3998383" y="1673201"/>
            <a:ext cx="1524000" cy="1525003"/>
          </a:xfrm>
          <a:prstGeom prst="ellipse">
            <a:avLst/>
          </a:prstGeo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659547" y="1673201"/>
            <a:ext cx="1524000" cy="1525003"/>
          </a:xfrm>
          <a:prstGeom prst="ellipse">
            <a:avLst/>
          </a:prstGeo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9358523" y="1673201"/>
            <a:ext cx="1524000" cy="1525003"/>
          </a:xfrm>
          <a:prstGeom prst="ellipse">
            <a:avLst/>
          </a:prstGeo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Donut 6"/>
          <p:cNvSpPr>
            <a:spLocks noChangeAspect="1"/>
          </p:cNvSpPr>
          <p:nvPr userDrawn="1"/>
        </p:nvSpPr>
        <p:spPr>
          <a:xfrm>
            <a:off x="1125981" y="1472536"/>
            <a:ext cx="1926340" cy="1926337"/>
          </a:xfrm>
          <a:prstGeom prst="donut">
            <a:avLst>
              <a:gd name="adj" fmla="val 6518"/>
            </a:avLst>
          </a:prstGeom>
          <a:solidFill>
            <a:schemeClr val="accent1"/>
          </a:solidFill>
          <a:ln w="127000" cap="sq" cmpd="sng">
            <a:noFill/>
            <a:bevel/>
            <a:headEnd type="none"/>
            <a:tailEnd type="none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200" dirty="0"/>
          </a:p>
        </p:txBody>
      </p:sp>
      <p:sp>
        <p:nvSpPr>
          <p:cNvPr id="9" name="Donut 8"/>
          <p:cNvSpPr>
            <a:spLocks noChangeAspect="1"/>
          </p:cNvSpPr>
          <p:nvPr userDrawn="1"/>
        </p:nvSpPr>
        <p:spPr>
          <a:xfrm>
            <a:off x="3797214" y="1472536"/>
            <a:ext cx="1926340" cy="1926337"/>
          </a:xfrm>
          <a:prstGeom prst="donut">
            <a:avLst>
              <a:gd name="adj" fmla="val 6518"/>
            </a:avLst>
          </a:prstGeom>
          <a:solidFill>
            <a:schemeClr val="accent1"/>
          </a:solidFill>
          <a:ln w="127000" cap="sq" cmpd="sng">
            <a:noFill/>
            <a:bevel/>
            <a:headEnd type="none"/>
            <a:tailEnd type="none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200" dirty="0"/>
          </a:p>
        </p:txBody>
      </p:sp>
      <p:sp>
        <p:nvSpPr>
          <p:cNvPr id="12" name="Donut 11"/>
          <p:cNvSpPr>
            <a:spLocks noChangeAspect="1"/>
          </p:cNvSpPr>
          <p:nvPr userDrawn="1"/>
        </p:nvSpPr>
        <p:spPr>
          <a:xfrm>
            <a:off x="6468446" y="1472536"/>
            <a:ext cx="1926340" cy="1926337"/>
          </a:xfrm>
          <a:prstGeom prst="donut">
            <a:avLst>
              <a:gd name="adj" fmla="val 6518"/>
            </a:avLst>
          </a:prstGeom>
          <a:solidFill>
            <a:schemeClr val="accent1"/>
          </a:solidFill>
          <a:ln w="127000" cap="sq" cmpd="sng">
            <a:noFill/>
            <a:bevel/>
            <a:headEnd type="none"/>
            <a:tailEnd type="none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200" dirty="0"/>
          </a:p>
        </p:txBody>
      </p:sp>
      <p:sp>
        <p:nvSpPr>
          <p:cNvPr id="14" name="Donut 13"/>
          <p:cNvSpPr>
            <a:spLocks noChangeAspect="1"/>
          </p:cNvSpPr>
          <p:nvPr userDrawn="1"/>
        </p:nvSpPr>
        <p:spPr>
          <a:xfrm>
            <a:off x="9139681" y="1472536"/>
            <a:ext cx="1926340" cy="1926337"/>
          </a:xfrm>
          <a:prstGeom prst="donut">
            <a:avLst>
              <a:gd name="adj" fmla="val 6518"/>
            </a:avLst>
          </a:prstGeom>
          <a:solidFill>
            <a:schemeClr val="accent1"/>
          </a:solidFill>
          <a:ln w="127000" cap="sq" cmpd="sng">
            <a:noFill/>
            <a:bevel/>
            <a:headEnd type="none"/>
            <a:tailEnd type="none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200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F01FF687-E4EB-BD44-B436-A450F90B67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194292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568105" y="1291783"/>
            <a:ext cx="3505201" cy="1988448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6974061" y="3668784"/>
            <a:ext cx="3505201" cy="1988448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5320540-0640-9249-B46A-5468A21D2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783234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514150" y="2918788"/>
            <a:ext cx="11163703" cy="2943571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48B7D29-0F44-A845-AE8E-E567C615F9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747874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3323771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C0F791D-FA80-064F-9EBB-BFCCF3FA30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100903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541836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4838701"/>
            <a:ext cx="12192000" cy="2019300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1DBC453-6372-8A45-B6D6-4D95E05CA8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106110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64370" y="1771790"/>
            <a:ext cx="11067609" cy="4417095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9F7D651-2335-7C49-ACE0-7686726544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832851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64370" y="1393372"/>
            <a:ext cx="2572317" cy="4876800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7445830" y="1393372"/>
            <a:ext cx="4286149" cy="2361059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7445830" y="3909113"/>
            <a:ext cx="4286149" cy="2361059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6E48AA9-6923-E344-8B18-6F227837CC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49359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-Q-dar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56112" y="1778884"/>
            <a:ext cx="5009661" cy="4072977"/>
          </a:xfrm>
        </p:spPr>
        <p:txBody>
          <a:bodyPr/>
          <a:lstStyle>
            <a:lvl1pPr marL="342900" marR="0" indent="-342900" algn="l" defTabSz="914400" rtl="0" eaLnBrk="1" fontAlgn="auto" latinLnBrk="0" hangingPunct="1">
              <a:lnSpc>
                <a:spcPct val="94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AC9405E-0C15-6849-83EF-1585DCFF757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9D47FFF-2E4B-D84B-AEFB-7CC7B5ED336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F0AE794-C4E5-B44E-9B79-0FDCFEDDAE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444" y="136525"/>
            <a:ext cx="10125795" cy="85783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78169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3561347" y="2"/>
            <a:ext cx="2627704" cy="2264228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286909" y="1"/>
            <a:ext cx="3179525" cy="2264228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9564292" y="1"/>
            <a:ext cx="2627709" cy="2264228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9564292" y="4593773"/>
            <a:ext cx="2627709" cy="2264228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3561347" y="4593773"/>
            <a:ext cx="2627704" cy="2264228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286909" y="4593773"/>
            <a:ext cx="3179525" cy="2264228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652787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630987" y="2133599"/>
            <a:ext cx="1807415" cy="2264231"/>
          </a:xfrm>
          <a:solidFill>
            <a:schemeClr val="bg1"/>
          </a:solidFill>
          <a:ln>
            <a:noFill/>
          </a:ln>
          <a:effectLst>
            <a:outerShdw blurRad="165100" sx="102000" sy="102000" algn="ctr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10145487" y="2133599"/>
            <a:ext cx="1586492" cy="2264231"/>
          </a:xfrm>
          <a:solidFill>
            <a:schemeClr val="bg1"/>
          </a:solidFill>
          <a:ln>
            <a:noFill/>
          </a:ln>
          <a:effectLst>
            <a:outerShdw blurRad="165100" sx="102000" sy="102000" algn="ctr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1968073" y="1712688"/>
            <a:ext cx="2436947" cy="2685141"/>
          </a:xfrm>
          <a:solidFill>
            <a:schemeClr val="bg1"/>
          </a:solidFill>
          <a:ln>
            <a:noFill/>
          </a:ln>
          <a:effectLst>
            <a:outerShdw blurRad="165100" sx="102000" sy="102000" algn="ctr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8128002" y="1712688"/>
            <a:ext cx="2266892" cy="2685141"/>
          </a:xfrm>
          <a:solidFill>
            <a:schemeClr val="bg1"/>
          </a:solidFill>
          <a:ln>
            <a:noFill/>
          </a:ln>
          <a:effectLst>
            <a:outerShdw blurRad="165100" sx="102000" sy="102000" algn="ctr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3934691" y="1349829"/>
            <a:ext cx="4493583" cy="3048001"/>
          </a:xfrm>
          <a:solidFill>
            <a:schemeClr val="bg1"/>
          </a:solidFill>
          <a:ln>
            <a:noFill/>
          </a:ln>
          <a:effectLst>
            <a:outerShdw blurRad="165100" sx="102000" sy="102000" algn="ctr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 dirty="0"/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84658E6-0108-EC4D-B35B-34D3E3AB39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603006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" y="932543"/>
            <a:ext cx="4858695" cy="5051876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4861255" y="932543"/>
            <a:ext cx="2450795" cy="2505724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7284591" y="932543"/>
            <a:ext cx="2450795" cy="2505724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9741205" y="932543"/>
            <a:ext cx="2450795" cy="2505724"/>
          </a:xfrm>
          <a:solidFill>
            <a:schemeClr val="bg1">
              <a:lumMod val="65000"/>
            </a:schemeClr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4849245" y="3438267"/>
            <a:ext cx="4891961" cy="2546152"/>
          </a:xfrm>
          <a:solidFill>
            <a:schemeClr val="bg1">
              <a:lumMod val="65000"/>
            </a:schemeClr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9737945" y="3438267"/>
            <a:ext cx="2459667" cy="254615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3246D3F-0E53-0749-88DF-F1A56C2687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252341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7802852" y="1764378"/>
            <a:ext cx="4033549" cy="3831771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0A44772-4C4E-814F-9A02-DBA3C58D54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118805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2293762" y="1621760"/>
            <a:ext cx="9898239" cy="4155047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9D096E94-AC74-614C-BCA7-E84027886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474640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2" y="-1"/>
            <a:ext cx="12191999" cy="4580133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402267CD-FD4F-6142-8C07-BB91FD691B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443211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" y="1985607"/>
            <a:ext cx="4190459" cy="3425691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A8DBFF28-2BA5-344B-A38A-9CB3CA4D25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953464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4970196" cy="6858000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69164C90-B40C-C54B-911D-10F1C28027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43693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4127501"/>
            <a:ext cx="12192000" cy="2730500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7" name="04_Tablet_Black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043339" y="691127"/>
            <a:ext cx="4105325" cy="5475167"/>
          </a:xfrm>
          <a:prstGeom prst="rect">
            <a:avLst/>
          </a:prstGeom>
        </p:spPr>
      </p:pic>
      <p:sp>
        <p:nvSpPr>
          <p:cNvPr id="11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4462231" y="1178837"/>
            <a:ext cx="3258893" cy="4329785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D70A6FA1-EC0A-CE44-B420-9EF82BACE4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137470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2171699" y="256896"/>
            <a:ext cx="8452440" cy="5962411"/>
          </a:xfrm>
          <a:prstGeom prst="rect">
            <a:avLst/>
          </a:prstGeom>
        </p:spPr>
      </p:pic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5078738" y="910125"/>
            <a:ext cx="4751681" cy="4296876"/>
          </a:xfrm>
          <a:custGeom>
            <a:avLst/>
            <a:gdLst>
              <a:gd name="connsiteX0" fmla="*/ 0 w 4708501"/>
              <a:gd name="connsiteY0" fmla="*/ 0 h 3560276"/>
              <a:gd name="connsiteX1" fmla="*/ 4708501 w 4708501"/>
              <a:gd name="connsiteY1" fmla="*/ 0 h 3560276"/>
              <a:gd name="connsiteX2" fmla="*/ 4708501 w 4708501"/>
              <a:gd name="connsiteY2" fmla="*/ 3560276 h 3560276"/>
              <a:gd name="connsiteX3" fmla="*/ 0 w 4708501"/>
              <a:gd name="connsiteY3" fmla="*/ 3560276 h 3560276"/>
              <a:gd name="connsiteX4" fmla="*/ 0 w 4708501"/>
              <a:gd name="connsiteY4" fmla="*/ 0 h 3560276"/>
              <a:gd name="connsiteX0" fmla="*/ 0 w 4708501"/>
              <a:gd name="connsiteY0" fmla="*/ 0 h 4296876"/>
              <a:gd name="connsiteX1" fmla="*/ 4708501 w 4708501"/>
              <a:gd name="connsiteY1" fmla="*/ 0 h 4296876"/>
              <a:gd name="connsiteX2" fmla="*/ 1558901 w 4708501"/>
              <a:gd name="connsiteY2" fmla="*/ 4296876 h 4296876"/>
              <a:gd name="connsiteX3" fmla="*/ 0 w 4708501"/>
              <a:gd name="connsiteY3" fmla="*/ 3560276 h 4296876"/>
              <a:gd name="connsiteX4" fmla="*/ 0 w 4708501"/>
              <a:gd name="connsiteY4" fmla="*/ 0 h 4296876"/>
              <a:gd name="connsiteX0" fmla="*/ 12700 w 4721201"/>
              <a:gd name="connsiteY0" fmla="*/ 0 h 4296876"/>
              <a:gd name="connsiteX1" fmla="*/ 4721201 w 4721201"/>
              <a:gd name="connsiteY1" fmla="*/ 0 h 4296876"/>
              <a:gd name="connsiteX2" fmla="*/ 1571601 w 4721201"/>
              <a:gd name="connsiteY2" fmla="*/ 4296876 h 4296876"/>
              <a:gd name="connsiteX3" fmla="*/ 0 w 4721201"/>
              <a:gd name="connsiteY3" fmla="*/ 3611076 h 4296876"/>
              <a:gd name="connsiteX4" fmla="*/ 12700 w 4721201"/>
              <a:gd name="connsiteY4" fmla="*/ 0 h 4296876"/>
              <a:gd name="connsiteX0" fmla="*/ 2603500 w 4721201"/>
              <a:gd name="connsiteY0" fmla="*/ 88900 h 4296876"/>
              <a:gd name="connsiteX1" fmla="*/ 4721201 w 4721201"/>
              <a:gd name="connsiteY1" fmla="*/ 0 h 4296876"/>
              <a:gd name="connsiteX2" fmla="*/ 1571601 w 4721201"/>
              <a:gd name="connsiteY2" fmla="*/ 4296876 h 4296876"/>
              <a:gd name="connsiteX3" fmla="*/ 0 w 4721201"/>
              <a:gd name="connsiteY3" fmla="*/ 3611076 h 4296876"/>
              <a:gd name="connsiteX4" fmla="*/ 2603500 w 4721201"/>
              <a:gd name="connsiteY4" fmla="*/ 88900 h 4296876"/>
              <a:gd name="connsiteX0" fmla="*/ 2603500 w 4721201"/>
              <a:gd name="connsiteY0" fmla="*/ 88900 h 4296876"/>
              <a:gd name="connsiteX1" fmla="*/ 4721201 w 4721201"/>
              <a:gd name="connsiteY1" fmla="*/ 0 h 4296876"/>
              <a:gd name="connsiteX2" fmla="*/ 1571601 w 4721201"/>
              <a:gd name="connsiteY2" fmla="*/ 4296876 h 4296876"/>
              <a:gd name="connsiteX3" fmla="*/ 0 w 4721201"/>
              <a:gd name="connsiteY3" fmla="*/ 3611076 h 4296876"/>
              <a:gd name="connsiteX4" fmla="*/ 2603500 w 4721201"/>
              <a:gd name="connsiteY4" fmla="*/ 88900 h 4296876"/>
              <a:gd name="connsiteX0" fmla="*/ 2603500 w 4721201"/>
              <a:gd name="connsiteY0" fmla="*/ 88900 h 4296876"/>
              <a:gd name="connsiteX1" fmla="*/ 4721201 w 4721201"/>
              <a:gd name="connsiteY1" fmla="*/ 0 h 4296876"/>
              <a:gd name="connsiteX2" fmla="*/ 1571601 w 4721201"/>
              <a:gd name="connsiteY2" fmla="*/ 4296876 h 4296876"/>
              <a:gd name="connsiteX3" fmla="*/ 0 w 4721201"/>
              <a:gd name="connsiteY3" fmla="*/ 3611076 h 4296876"/>
              <a:gd name="connsiteX4" fmla="*/ 2603500 w 4721201"/>
              <a:gd name="connsiteY4" fmla="*/ 88900 h 4296876"/>
              <a:gd name="connsiteX0" fmla="*/ 2603500 w 4721201"/>
              <a:gd name="connsiteY0" fmla="*/ 88900 h 4296876"/>
              <a:gd name="connsiteX1" fmla="*/ 4721201 w 4721201"/>
              <a:gd name="connsiteY1" fmla="*/ 0 h 4296876"/>
              <a:gd name="connsiteX2" fmla="*/ 1571601 w 4721201"/>
              <a:gd name="connsiteY2" fmla="*/ 4296876 h 4296876"/>
              <a:gd name="connsiteX3" fmla="*/ 0 w 4721201"/>
              <a:gd name="connsiteY3" fmla="*/ 3611076 h 4296876"/>
              <a:gd name="connsiteX4" fmla="*/ 2603500 w 4721201"/>
              <a:gd name="connsiteY4" fmla="*/ 88900 h 4296876"/>
              <a:gd name="connsiteX0" fmla="*/ 2633980 w 4751681"/>
              <a:gd name="connsiteY0" fmla="*/ 88900 h 4296876"/>
              <a:gd name="connsiteX1" fmla="*/ 4751681 w 4751681"/>
              <a:gd name="connsiteY1" fmla="*/ 0 h 4296876"/>
              <a:gd name="connsiteX2" fmla="*/ 1602081 w 4751681"/>
              <a:gd name="connsiteY2" fmla="*/ 4296876 h 4296876"/>
              <a:gd name="connsiteX3" fmla="*/ 0 w 4751681"/>
              <a:gd name="connsiteY3" fmla="*/ 3611076 h 4296876"/>
              <a:gd name="connsiteX4" fmla="*/ 2633980 w 4751681"/>
              <a:gd name="connsiteY4" fmla="*/ 88900 h 4296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51681" h="4296876">
                <a:moveTo>
                  <a:pt x="2633980" y="88900"/>
                </a:moveTo>
                <a:cubicBezTo>
                  <a:pt x="2692180" y="97367"/>
                  <a:pt x="4045781" y="29633"/>
                  <a:pt x="4751681" y="0"/>
                </a:cubicBezTo>
                <a:lnTo>
                  <a:pt x="1602081" y="4296876"/>
                </a:lnTo>
                <a:lnTo>
                  <a:pt x="0" y="3611076"/>
                </a:lnTo>
                <a:cubicBezTo>
                  <a:pt x="11853" y="3588484"/>
                  <a:pt x="2642447" y="98792"/>
                  <a:pt x="2633980" y="8890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4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3EA1D41-8AE6-9D46-8A52-C4997D17FE10}"/>
              </a:ext>
            </a:extLst>
          </p:cNvPr>
          <p:cNvSpPr txBox="1">
            <a:spLocks/>
          </p:cNvSpPr>
          <p:nvPr userDrawn="1"/>
        </p:nvSpPr>
        <p:spPr>
          <a:xfrm>
            <a:off x="426721" y="1767840"/>
            <a:ext cx="9643872" cy="701675"/>
          </a:xfrm>
          <a:prstGeom prst="rect">
            <a:avLst/>
          </a:prstGeom>
        </p:spPr>
        <p:txBody>
          <a:bodyPr vert="horz" lIns="121893" tIns="60947" rIns="121893" bIns="60947" rtlCol="0" anchor="ctr">
            <a:normAutofit/>
          </a:bodyPr>
          <a:lstStyle>
            <a:lvl1pPr algn="l" defTabSz="68561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133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888964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9422B5D-3BAF-6544-8738-AA535FF9071D}"/>
              </a:ext>
            </a:extLst>
          </p:cNvPr>
          <p:cNvSpPr/>
          <p:nvPr userDrawn="1"/>
        </p:nvSpPr>
        <p:spPr>
          <a:xfrm>
            <a:off x="-18628" y="-8890"/>
            <a:ext cx="712694" cy="68624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04205" y="18256"/>
            <a:ext cx="8961458" cy="9083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1304205" y="1147744"/>
            <a:ext cx="10887795" cy="523624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Espace réservé du numéro de diapositive 5">
            <a:extLst>
              <a:ext uri="{FF2B5EF4-FFF2-40B4-BE49-F238E27FC236}">
                <a16:creationId xmlns:a16="http://schemas.microsoft.com/office/drawing/2014/main" id="{743ACF9D-BF13-8544-8750-7C155177DD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728B9AE-A9F7-BE47-9AC4-A882E7B842D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1287610" y="6488430"/>
            <a:ext cx="4114800" cy="365125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594A9A9-20B8-424D-BDD7-4B684606C5BF}"/>
              </a:ext>
            </a:extLst>
          </p:cNvPr>
          <p:cNvGrpSpPr/>
          <p:nvPr userDrawn="1"/>
        </p:nvGrpSpPr>
        <p:grpSpPr>
          <a:xfrm>
            <a:off x="-365041" y="2426208"/>
            <a:ext cx="1281303" cy="1281303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EAF00F97-D237-3A4C-9F2D-2540E8F5DDA1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3BA5132C-6CD2-8E48-8F22-83E9133B62B1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6132312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03_Tablet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4662" y="1636066"/>
            <a:ext cx="5489231" cy="4031765"/>
          </a:xfrm>
          <a:prstGeom prst="rect">
            <a:avLst/>
          </a:prstGeom>
        </p:spPr>
      </p:pic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5962334" y="1821055"/>
            <a:ext cx="4637929" cy="3615996"/>
          </a:xfrm>
          <a:custGeom>
            <a:avLst/>
            <a:gdLst>
              <a:gd name="connsiteX0" fmla="*/ 0 w 4263279"/>
              <a:gd name="connsiteY0" fmla="*/ 0 h 2396796"/>
              <a:gd name="connsiteX1" fmla="*/ 4263279 w 4263279"/>
              <a:gd name="connsiteY1" fmla="*/ 0 h 2396796"/>
              <a:gd name="connsiteX2" fmla="*/ 4263279 w 4263279"/>
              <a:gd name="connsiteY2" fmla="*/ 2396796 h 2396796"/>
              <a:gd name="connsiteX3" fmla="*/ 0 w 4263279"/>
              <a:gd name="connsiteY3" fmla="*/ 2396796 h 2396796"/>
              <a:gd name="connsiteX4" fmla="*/ 0 w 4263279"/>
              <a:gd name="connsiteY4" fmla="*/ 0 h 2396796"/>
              <a:gd name="connsiteX0" fmla="*/ 0 w 4466479"/>
              <a:gd name="connsiteY0" fmla="*/ 319314 h 2396796"/>
              <a:gd name="connsiteX1" fmla="*/ 4466479 w 4466479"/>
              <a:gd name="connsiteY1" fmla="*/ 0 h 2396796"/>
              <a:gd name="connsiteX2" fmla="*/ 4466479 w 4466479"/>
              <a:gd name="connsiteY2" fmla="*/ 2396796 h 2396796"/>
              <a:gd name="connsiteX3" fmla="*/ 203200 w 4466479"/>
              <a:gd name="connsiteY3" fmla="*/ 2396796 h 2396796"/>
              <a:gd name="connsiteX4" fmla="*/ 0 w 4466479"/>
              <a:gd name="connsiteY4" fmla="*/ 319314 h 2396796"/>
              <a:gd name="connsiteX0" fmla="*/ 0 w 4466479"/>
              <a:gd name="connsiteY0" fmla="*/ 328839 h 2406321"/>
              <a:gd name="connsiteX1" fmla="*/ 4418854 w 4466479"/>
              <a:gd name="connsiteY1" fmla="*/ 0 h 2406321"/>
              <a:gd name="connsiteX2" fmla="*/ 4466479 w 4466479"/>
              <a:gd name="connsiteY2" fmla="*/ 2406321 h 2406321"/>
              <a:gd name="connsiteX3" fmla="*/ 203200 w 4466479"/>
              <a:gd name="connsiteY3" fmla="*/ 2406321 h 2406321"/>
              <a:gd name="connsiteX4" fmla="*/ 0 w 4466479"/>
              <a:gd name="connsiteY4" fmla="*/ 328839 h 2406321"/>
              <a:gd name="connsiteX0" fmla="*/ 0 w 4647454"/>
              <a:gd name="connsiteY0" fmla="*/ 328839 h 3320721"/>
              <a:gd name="connsiteX1" fmla="*/ 4418854 w 4647454"/>
              <a:gd name="connsiteY1" fmla="*/ 0 h 3320721"/>
              <a:gd name="connsiteX2" fmla="*/ 4647454 w 4647454"/>
              <a:gd name="connsiteY2" fmla="*/ 3320721 h 3320721"/>
              <a:gd name="connsiteX3" fmla="*/ 203200 w 4647454"/>
              <a:gd name="connsiteY3" fmla="*/ 2406321 h 3320721"/>
              <a:gd name="connsiteX4" fmla="*/ 0 w 4647454"/>
              <a:gd name="connsiteY4" fmla="*/ 328839 h 3320721"/>
              <a:gd name="connsiteX0" fmla="*/ 0 w 4647454"/>
              <a:gd name="connsiteY0" fmla="*/ 328839 h 3654096"/>
              <a:gd name="connsiteX1" fmla="*/ 4418854 w 4647454"/>
              <a:gd name="connsiteY1" fmla="*/ 0 h 3654096"/>
              <a:gd name="connsiteX2" fmla="*/ 4647454 w 4647454"/>
              <a:gd name="connsiteY2" fmla="*/ 3320721 h 3654096"/>
              <a:gd name="connsiteX3" fmla="*/ 269875 w 4647454"/>
              <a:gd name="connsiteY3" fmla="*/ 3654096 h 3654096"/>
              <a:gd name="connsiteX4" fmla="*/ 0 w 4647454"/>
              <a:gd name="connsiteY4" fmla="*/ 328839 h 3654096"/>
              <a:gd name="connsiteX0" fmla="*/ 0 w 4647454"/>
              <a:gd name="connsiteY0" fmla="*/ 328839 h 3615996"/>
              <a:gd name="connsiteX1" fmla="*/ 4418854 w 4647454"/>
              <a:gd name="connsiteY1" fmla="*/ 0 h 3615996"/>
              <a:gd name="connsiteX2" fmla="*/ 4647454 w 4647454"/>
              <a:gd name="connsiteY2" fmla="*/ 3320721 h 3615996"/>
              <a:gd name="connsiteX3" fmla="*/ 250825 w 4647454"/>
              <a:gd name="connsiteY3" fmla="*/ 3615996 h 3615996"/>
              <a:gd name="connsiteX4" fmla="*/ 0 w 4647454"/>
              <a:gd name="connsiteY4" fmla="*/ 328839 h 3615996"/>
              <a:gd name="connsiteX0" fmla="*/ 0 w 4637929"/>
              <a:gd name="connsiteY0" fmla="*/ 338364 h 3615996"/>
              <a:gd name="connsiteX1" fmla="*/ 4409329 w 4637929"/>
              <a:gd name="connsiteY1" fmla="*/ 0 h 3615996"/>
              <a:gd name="connsiteX2" fmla="*/ 4637929 w 4637929"/>
              <a:gd name="connsiteY2" fmla="*/ 3320721 h 3615996"/>
              <a:gd name="connsiteX3" fmla="*/ 241300 w 4637929"/>
              <a:gd name="connsiteY3" fmla="*/ 3615996 h 3615996"/>
              <a:gd name="connsiteX4" fmla="*/ 0 w 4637929"/>
              <a:gd name="connsiteY4" fmla="*/ 338364 h 3615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37929" h="3615996">
                <a:moveTo>
                  <a:pt x="0" y="338364"/>
                </a:moveTo>
                <a:lnTo>
                  <a:pt x="4409329" y="0"/>
                </a:lnTo>
                <a:lnTo>
                  <a:pt x="4637929" y="3320721"/>
                </a:lnTo>
                <a:lnTo>
                  <a:pt x="241300" y="3615996"/>
                </a:lnTo>
                <a:lnTo>
                  <a:pt x="0" y="338364"/>
                </a:lnTo>
                <a:close/>
              </a:path>
            </a:pathLst>
          </a:custGeo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8F71922-C96D-2C4A-99A1-616174DF6F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483950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5254179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5254178"/>
            <a:ext cx="12192000" cy="4530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041" y="1728440"/>
            <a:ext cx="3333944" cy="1859795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404550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ou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laser&#10;&#10;Description automatically generated">
            <a:extLst>
              <a:ext uri="{FF2B5EF4-FFF2-40B4-BE49-F238E27FC236}">
                <a16:creationId xmlns:a16="http://schemas.microsoft.com/office/drawing/2014/main" id="{225328BF-ED85-1E4B-991F-0F7B6C7A430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344400" cy="6858000"/>
          </a:xfrm>
          <a:prstGeom prst="rect">
            <a:avLst/>
          </a:prstGeom>
        </p:spPr>
      </p:pic>
      <p:sp>
        <p:nvSpPr>
          <p:cNvPr id="37" name="Title 1"/>
          <p:cNvSpPr>
            <a:spLocks noGrp="1"/>
          </p:cNvSpPr>
          <p:nvPr>
            <p:ph type="title" hasCustomPrompt="1"/>
          </p:nvPr>
        </p:nvSpPr>
        <p:spPr>
          <a:xfrm>
            <a:off x="348073" y="478265"/>
            <a:ext cx="11495854" cy="4921909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lnSpc>
                <a:spcPct val="100000"/>
              </a:lnSpc>
              <a:defRPr sz="4267" b="0" i="0">
                <a:solidFill>
                  <a:srgbClr val="FFFFFF"/>
                </a:solidFill>
                <a:effectLst>
                  <a:outerShdw sx="1000" sy="1000" algn="ctr" rotWithShape="0">
                    <a:srgbClr val="0066CC"/>
                  </a:outerShdw>
                </a:effectLst>
                <a:latin typeface="+mj-lt"/>
                <a:cs typeface="Calibri Regular" charset="0"/>
              </a:defRPr>
            </a:lvl1pPr>
          </a:lstStyle>
          <a:p>
            <a:r>
              <a:rPr lang="fr-CH" dirty="0"/>
              <a:t>Some qoute goes here.</a:t>
            </a:r>
            <a:endParaRPr lang="fr-FR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3CA929-6A75-9E48-9B24-21E70BDF746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BFAD68-4E98-6C4B-80C2-8EC1413881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FF471C-3952-2743-B6ED-21C4B3A363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35738" y="5553075"/>
            <a:ext cx="5248275" cy="403225"/>
          </a:xfrm>
        </p:spPr>
        <p:txBody>
          <a:bodyPr>
            <a:noAutofit/>
          </a:bodyPr>
          <a:lstStyle>
            <a:lvl1pPr marL="0" indent="0" algn="r">
              <a:buNone/>
              <a:defRPr sz="2400">
                <a:solidFill>
                  <a:schemeClr val="bg1"/>
                </a:solidFill>
              </a:defRPr>
            </a:lvl1pPr>
            <a:lvl2pPr algn="r">
              <a:defRPr sz="2400"/>
            </a:lvl2pPr>
            <a:lvl3pPr algn="r">
              <a:defRPr sz="2400"/>
            </a:lvl3pPr>
            <a:lvl4pPr algn="r">
              <a:defRPr sz="2400"/>
            </a:lvl4pPr>
            <a:lvl5pPr algn="r">
              <a:defRPr sz="2400"/>
            </a:lvl5pPr>
          </a:lstStyle>
          <a:p>
            <a:pPr lvl="0"/>
            <a:r>
              <a:rPr lang="en-US" dirty="0"/>
              <a:t>Name, dat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D359472-CCC8-604A-BF82-65AD5F78DD5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35738" y="6010275"/>
            <a:ext cx="5248275" cy="403225"/>
          </a:xfrm>
        </p:spPr>
        <p:txBody>
          <a:bodyPr>
            <a:noAutofit/>
          </a:bodyPr>
          <a:lstStyle>
            <a:lvl1pPr marL="0" indent="0" algn="r">
              <a:buNone/>
              <a:defRPr sz="1800" i="1">
                <a:solidFill>
                  <a:schemeClr val="bg1"/>
                </a:solidFill>
              </a:defRPr>
            </a:lvl1pPr>
            <a:lvl2pPr algn="r">
              <a:defRPr sz="2400"/>
            </a:lvl2pPr>
            <a:lvl3pPr algn="r">
              <a:defRPr sz="2400"/>
            </a:lvl3pPr>
            <a:lvl4pPr algn="r">
              <a:defRPr sz="2400"/>
            </a:lvl4pPr>
            <a:lvl5pPr algn="r">
              <a:defRPr sz="2400"/>
            </a:lvl5pPr>
          </a:lstStyle>
          <a:p>
            <a:pPr lvl="0"/>
            <a:r>
              <a:rPr lang="en-US" dirty="0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19587863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uestion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EA0F3434-7BF0-BA43-A4E7-19CA0429C5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1778"/>
          <a:stretch/>
        </p:blipFill>
        <p:spPr>
          <a:xfrm>
            <a:off x="0" y="-4445"/>
            <a:ext cx="12192000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185F05C-A148-634D-B42E-05E7B081B1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50000"/>
          </a:blip>
          <a:srcRect b="49109"/>
          <a:stretch/>
        </p:blipFill>
        <p:spPr>
          <a:xfrm>
            <a:off x="100990" y="2692728"/>
            <a:ext cx="5202530" cy="264758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-2" y="1440140"/>
            <a:ext cx="5303521" cy="1283369"/>
          </a:xfrm>
          <a:ln w="6350">
            <a:noFill/>
          </a:ln>
        </p:spPr>
        <p:txBody>
          <a:bodyPr anchor="b">
            <a:noAutofit/>
          </a:bodyPr>
          <a:lstStyle>
            <a:lvl1pPr algn="ctr">
              <a:lnSpc>
                <a:spcPct val="84000"/>
              </a:lnSpc>
              <a:defRPr sz="4800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Question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FE0A2B3-DE03-1843-923F-1520B36F1C8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8559B65-AFEC-7F4C-BAF6-DDD87E760F4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743674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1-Thank-you-Q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sunset in the background&#10;&#10;Description automatically generated">
            <a:extLst>
              <a:ext uri="{FF2B5EF4-FFF2-40B4-BE49-F238E27FC236}">
                <a16:creationId xmlns:a16="http://schemas.microsoft.com/office/drawing/2014/main" id="{01838BE1-6D8E-D743-B5A2-5BD9E5CC4C8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"/>
            <a:ext cx="12187666" cy="6853556"/>
          </a:xfrm>
          <a:prstGeom prst="rect">
            <a:avLst/>
          </a:prstGeom>
        </p:spPr>
      </p:pic>
      <p:sp>
        <p:nvSpPr>
          <p:cNvPr id="37" name="Title 1"/>
          <p:cNvSpPr>
            <a:spLocks noGrp="1"/>
          </p:cNvSpPr>
          <p:nvPr>
            <p:ph type="title" hasCustomPrompt="1"/>
          </p:nvPr>
        </p:nvSpPr>
        <p:spPr>
          <a:xfrm>
            <a:off x="488241" y="1709495"/>
            <a:ext cx="3164360" cy="791023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lnSpc>
                <a:spcPct val="100000"/>
              </a:lnSpc>
              <a:defRPr sz="4267" b="1" i="0">
                <a:solidFill>
                  <a:schemeClr val="bg1"/>
                </a:solidFill>
                <a:effectLst>
                  <a:outerShdw sx="1000" sy="1000" algn="ctr" rotWithShape="0">
                    <a:srgbClr val="0066CC"/>
                  </a:outerShdw>
                </a:effectLst>
                <a:latin typeface="+mj-lt"/>
                <a:cs typeface="Calibri Regular" charset="0"/>
              </a:defRPr>
            </a:lvl1pPr>
          </a:lstStyle>
          <a:p>
            <a:r>
              <a:rPr lang="fr-CH" dirty="0"/>
              <a:t>Thank You!</a:t>
            </a:r>
            <a:endParaRPr lang="fr-FR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84182" y="2940198"/>
            <a:ext cx="5805145" cy="2566521"/>
          </a:xfrm>
          <a:prstGeom prst="rect">
            <a:avLst/>
          </a:prstGeom>
        </p:spPr>
        <p:txBody>
          <a:bodyPr lIns="0" tIns="0" rIns="0" bIns="0" numCol="1"/>
          <a:lstStyle>
            <a:lvl1pPr marL="0" indent="0">
              <a:buFont typeface="Wingdings" charset="2"/>
              <a:buNone/>
              <a:tabLst>
                <a:tab pos="2747365" algn="l"/>
              </a:tabLst>
              <a:defRPr sz="1867" b="0" i="0" baseline="0">
                <a:solidFill>
                  <a:schemeClr val="tx1"/>
                </a:solidFill>
                <a:latin typeface="+mj-lt"/>
                <a:cs typeface="Calibri Regular" charset="0"/>
              </a:defRPr>
            </a:lvl1pPr>
            <a:lvl2pPr marL="482588" indent="0">
              <a:buClr>
                <a:schemeClr val="tx1"/>
              </a:buClr>
              <a:buNone/>
              <a:defRPr sz="1867" b="0" i="0">
                <a:solidFill>
                  <a:schemeClr val="bg2"/>
                </a:solidFill>
                <a:latin typeface="+mj-lt"/>
                <a:cs typeface="Frutiger LT 45 Light"/>
              </a:defRPr>
            </a:lvl2pPr>
            <a:lvl3pPr marL="960943" indent="-361942">
              <a:buFont typeface="Arial" pitchFamily="34" charset="0"/>
              <a:buChar char="•"/>
              <a:defRPr sz="2133">
                <a:solidFill>
                  <a:schemeClr val="tx1">
                    <a:lumMod val="50000"/>
                  </a:schemeClr>
                </a:solidFill>
                <a:latin typeface="Calibri" pitchFamily="34" charset="0"/>
              </a:defRPr>
            </a:lvl3pPr>
            <a:lvl4pPr marL="1312301" indent="-353475">
              <a:buFont typeface="Arial" pitchFamily="34" charset="0"/>
              <a:buChar char="•"/>
              <a:tabLst/>
              <a:defRPr sz="1867">
                <a:solidFill>
                  <a:schemeClr val="tx1">
                    <a:lumMod val="50000"/>
                  </a:schemeClr>
                </a:solidFill>
                <a:latin typeface="Calibri" pitchFamily="34" charset="0"/>
              </a:defRPr>
            </a:lvl4pPr>
          </a:lstStyle>
          <a:p>
            <a:pPr lvl="0"/>
            <a:r>
              <a:rPr lang="fr-CH" dirty="0"/>
              <a:t>Put contact information here: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2466BFD-0F21-6848-95ED-5688B35CD1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88241" y="2940198"/>
            <a:ext cx="2546691" cy="2566521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2E914B2-0716-0640-9454-DA3CA45A8B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CC8E6A-7031-B143-AB79-1F1DE78D91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282B3E8E-ECAC-DE44-83A2-569EA1B0A15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8241" y="503103"/>
            <a:ext cx="1976427" cy="494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430935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198" y="18256"/>
            <a:ext cx="9067802" cy="9083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839555" y="1168400"/>
            <a:ext cx="11176001" cy="50085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637A52F6-0937-6045-A6C1-D0F77FC607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FEA91CF-AB95-D14A-A543-233C3F953C1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849658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0200" y="18256"/>
            <a:ext cx="9067802" cy="9083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637A52F6-0937-6045-A6C1-D0F77FC607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FEA91CF-AB95-D14A-A543-233C3F953C1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6" name="Groupe 94">
            <a:extLst>
              <a:ext uri="{FF2B5EF4-FFF2-40B4-BE49-F238E27FC236}">
                <a16:creationId xmlns:a16="http://schemas.microsoft.com/office/drawing/2014/main" id="{5CB17DFD-8D8B-9141-AF4E-88E5168B7D2F}"/>
              </a:ext>
            </a:extLst>
          </p:cNvPr>
          <p:cNvGrpSpPr/>
          <p:nvPr userDrawn="1"/>
        </p:nvGrpSpPr>
        <p:grpSpPr>
          <a:xfrm>
            <a:off x="304802" y="868991"/>
            <a:ext cx="6654709" cy="1970765"/>
            <a:chOff x="4226660" y="-936830"/>
            <a:chExt cx="4824536" cy="1486062"/>
          </a:xfrm>
        </p:grpSpPr>
        <p:sp>
          <p:nvSpPr>
            <p:cNvPr id="8" name="ZoneTexte 17">
              <a:extLst>
                <a:ext uri="{FF2B5EF4-FFF2-40B4-BE49-F238E27FC236}">
                  <a16:creationId xmlns:a16="http://schemas.microsoft.com/office/drawing/2014/main" id="{6E4DC36E-701D-9147-A68E-72FF547AF1E2}"/>
                </a:ext>
              </a:extLst>
            </p:cNvPr>
            <p:cNvSpPr txBox="1"/>
            <p:nvPr/>
          </p:nvSpPr>
          <p:spPr>
            <a:xfrm>
              <a:off x="4226660" y="-936830"/>
              <a:ext cx="4824536" cy="217167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0033CC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 defTabSz="1219140">
                <a:defRPr/>
              </a:pPr>
              <a:r>
                <a:rPr lang="en-US" sz="1500" b="1" kern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Last month achievements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0032859-3AF9-854F-B19F-85D96D0AD30C}"/>
                </a:ext>
              </a:extLst>
            </p:cNvPr>
            <p:cNvSpPr/>
            <p:nvPr/>
          </p:nvSpPr>
          <p:spPr bwMode="auto">
            <a:xfrm>
              <a:off x="4226660" y="-720340"/>
              <a:ext cx="4824536" cy="126957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spcAft>
                  <a:spcPts val="267"/>
                </a:spcAft>
                <a:buClr>
                  <a:srgbClr val="C00000"/>
                </a:buClr>
                <a:buSzPct val="110000"/>
                <a:buFont typeface="Arial" pitchFamily="34" charset="0"/>
                <a:buChar char="•"/>
                <a:tabLst>
                  <a:tab pos="474109" algn="l"/>
                  <a:tab pos="1653035" algn="l"/>
                </a:tabLst>
                <a:defRPr/>
              </a:pPr>
              <a:endParaRPr lang="en-AU" sz="1300">
                <a:solidFill>
                  <a:prstClr val="black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10" name="Groupe 95">
            <a:extLst>
              <a:ext uri="{FF2B5EF4-FFF2-40B4-BE49-F238E27FC236}">
                <a16:creationId xmlns:a16="http://schemas.microsoft.com/office/drawing/2014/main" id="{B8627CBF-3443-2B49-BA31-196A0F9EC799}"/>
              </a:ext>
            </a:extLst>
          </p:cNvPr>
          <p:cNvGrpSpPr/>
          <p:nvPr userDrawn="1"/>
        </p:nvGrpSpPr>
        <p:grpSpPr>
          <a:xfrm>
            <a:off x="304802" y="2915784"/>
            <a:ext cx="6654708" cy="1726199"/>
            <a:chOff x="4224368" y="-887413"/>
            <a:chExt cx="4794192" cy="1076338"/>
          </a:xfrm>
        </p:grpSpPr>
        <p:sp>
          <p:nvSpPr>
            <p:cNvPr id="11" name="ZoneTexte 20">
              <a:extLst>
                <a:ext uri="{FF2B5EF4-FFF2-40B4-BE49-F238E27FC236}">
                  <a16:creationId xmlns:a16="http://schemas.microsoft.com/office/drawing/2014/main" id="{358C8087-B7F4-F143-BD5F-7AC35E7A036C}"/>
                </a:ext>
              </a:extLst>
            </p:cNvPr>
            <p:cNvSpPr txBox="1"/>
            <p:nvPr/>
          </p:nvSpPr>
          <p:spPr>
            <a:xfrm>
              <a:off x="4226660" y="-887413"/>
              <a:ext cx="3237212" cy="179577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0033CC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Key next steps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44470AC4-C26D-944E-A438-652B32438404}"/>
                </a:ext>
              </a:extLst>
            </p:cNvPr>
            <p:cNvSpPr/>
            <p:nvPr/>
          </p:nvSpPr>
          <p:spPr bwMode="auto">
            <a:xfrm>
              <a:off x="4224368" y="-709482"/>
              <a:ext cx="3234921" cy="897884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Char char="•"/>
                <a:tabLst>
                  <a:tab pos="474109" algn="l"/>
                  <a:tab pos="1653035" algn="l"/>
                </a:tabLst>
                <a:defRPr/>
              </a:pPr>
              <a:endParaRPr lang="nl-NL" sz="1300">
                <a:solidFill>
                  <a:srgbClr val="3E282B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" name="ZoneTexte 22">
              <a:extLst>
                <a:ext uri="{FF2B5EF4-FFF2-40B4-BE49-F238E27FC236}">
                  <a16:creationId xmlns:a16="http://schemas.microsoft.com/office/drawing/2014/main" id="{9E7E3E2C-D632-6141-A941-D6A33A6DAFF4}"/>
                </a:ext>
              </a:extLst>
            </p:cNvPr>
            <p:cNvSpPr txBox="1"/>
            <p:nvPr/>
          </p:nvSpPr>
          <p:spPr>
            <a:xfrm>
              <a:off x="7459290" y="-887413"/>
              <a:ext cx="1559270" cy="179577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FF6500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arget Date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ADEDC94C-29B8-5546-B157-E89A1ACD7FCA}"/>
                </a:ext>
              </a:extLst>
            </p:cNvPr>
            <p:cNvSpPr/>
            <p:nvPr/>
          </p:nvSpPr>
          <p:spPr bwMode="auto">
            <a:xfrm>
              <a:off x="7458828" y="-708958"/>
              <a:ext cx="1559270" cy="8978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Char char="•"/>
                <a:tabLst>
                  <a:tab pos="474109" algn="l"/>
                  <a:tab pos="1653035" algn="l"/>
                </a:tabLst>
                <a:defRPr/>
              </a:pPr>
              <a:endParaRPr lang="nl-NL" sz="1300">
                <a:solidFill>
                  <a:srgbClr val="3E282B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FBF1559B-C240-6343-881D-718E502020E4}"/>
              </a:ext>
            </a:extLst>
          </p:cNvPr>
          <p:cNvSpPr/>
          <p:nvPr/>
        </p:nvSpPr>
        <p:spPr bwMode="auto">
          <a:xfrm>
            <a:off x="7152120" y="2755200"/>
            <a:ext cx="2400000" cy="1440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18000" bIns="18000" numCol="1" spcCol="108000" rtlCol="0" anchor="ctr" anchorCtr="0" compatLnSpc="1">
            <a:prstTxWarp prst="textNoShape">
              <a:avLst/>
            </a:prstTxWarp>
            <a:noAutofit/>
          </a:bodyPr>
          <a:lstStyle/>
          <a:p>
            <a:pPr marL="237055" indent="-237055">
              <a:lnSpc>
                <a:spcPct val="110000"/>
              </a:lnSpc>
              <a:spcBef>
                <a:spcPts val="400"/>
              </a:spcBef>
              <a:buClr>
                <a:srgbClr val="C00000"/>
              </a:buClr>
              <a:buSzPct val="110000"/>
              <a:buFont typeface="Arial" pitchFamily="34" charset="0"/>
              <a:buChar char="•"/>
              <a:tabLst>
                <a:tab pos="474109" algn="l"/>
                <a:tab pos="1653035" algn="l"/>
              </a:tabLst>
              <a:defRPr/>
            </a:pPr>
            <a:endParaRPr lang="nl-NL" sz="1300">
              <a:solidFill>
                <a:srgbClr val="3E282B"/>
              </a:solidFill>
              <a:latin typeface="Calibri" panose="020F0502020204030204" pitchFamily="34" charset="0"/>
              <a:cs typeface="Calibri" panose="020F0502020204030204" pitchFamily="34" charset="0"/>
              <a:sym typeface="Wingdings" pitchFamily="2" charset="2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A3C1A21-7075-7545-99F8-5A90AB4D181E}"/>
              </a:ext>
            </a:extLst>
          </p:cNvPr>
          <p:cNvSpPr/>
          <p:nvPr/>
        </p:nvSpPr>
        <p:spPr bwMode="auto">
          <a:xfrm>
            <a:off x="9554907" y="2757309"/>
            <a:ext cx="2400000" cy="189089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18000" bIns="18000" numCol="1" spcCol="108000" rtlCol="0" anchor="ctr" anchorCtr="0" compatLnSpc="1">
            <a:prstTxWarp prst="textNoShape">
              <a:avLst/>
            </a:prstTxWarp>
            <a:noAutofit/>
          </a:bodyPr>
          <a:lstStyle/>
          <a:p>
            <a:pPr marL="237055" indent="-237055">
              <a:lnSpc>
                <a:spcPct val="110000"/>
              </a:lnSpc>
              <a:spcBef>
                <a:spcPts val="400"/>
              </a:spcBef>
              <a:buClr>
                <a:srgbClr val="C00000"/>
              </a:buClr>
              <a:buSzPct val="110000"/>
              <a:buFont typeface="Arial" pitchFamily="34" charset="0"/>
              <a:buChar char="•"/>
              <a:tabLst>
                <a:tab pos="474109" algn="l"/>
                <a:tab pos="1653035" algn="l"/>
              </a:tabLst>
              <a:defRPr/>
            </a:pPr>
            <a:endParaRPr lang="nl-NL" sz="1300">
              <a:solidFill>
                <a:srgbClr val="3E282B"/>
              </a:solidFill>
              <a:latin typeface="Calibri" panose="020F0502020204030204" pitchFamily="34" charset="0"/>
              <a:cs typeface="Calibri" panose="020F0502020204030204" pitchFamily="34" charset="0"/>
              <a:sym typeface="Wingdings" pitchFamily="2" charset="2"/>
            </a:endParaRPr>
          </a:p>
        </p:txBody>
      </p:sp>
      <p:sp>
        <p:nvSpPr>
          <p:cNvPr id="18" name="ZoneTexte 27">
            <a:extLst>
              <a:ext uri="{FF2B5EF4-FFF2-40B4-BE49-F238E27FC236}">
                <a16:creationId xmlns:a16="http://schemas.microsoft.com/office/drawing/2014/main" id="{437FB89A-EBDE-014D-9C0E-A69283D55702}"/>
              </a:ext>
            </a:extLst>
          </p:cNvPr>
          <p:cNvSpPr txBox="1"/>
          <p:nvPr/>
        </p:nvSpPr>
        <p:spPr>
          <a:xfrm>
            <a:off x="9554907" y="2471284"/>
            <a:ext cx="2400000" cy="288000"/>
          </a:xfrm>
          <a:prstGeom prst="rect">
            <a:avLst/>
          </a:prstGeom>
          <a:solidFill>
            <a:schemeClr val="accent2"/>
          </a:solidFill>
          <a:ln w="9525">
            <a:solidFill>
              <a:srgbClr val="0033CC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1500" b="1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tion plan</a:t>
            </a:r>
          </a:p>
        </p:txBody>
      </p:sp>
      <p:sp>
        <p:nvSpPr>
          <p:cNvPr id="19" name="ZoneTexte 28">
            <a:extLst>
              <a:ext uri="{FF2B5EF4-FFF2-40B4-BE49-F238E27FC236}">
                <a16:creationId xmlns:a16="http://schemas.microsoft.com/office/drawing/2014/main" id="{D63B2126-AB8B-F74A-B2C1-43F895F4CEC8}"/>
              </a:ext>
            </a:extLst>
          </p:cNvPr>
          <p:cNvSpPr txBox="1"/>
          <p:nvPr/>
        </p:nvSpPr>
        <p:spPr>
          <a:xfrm>
            <a:off x="7152119" y="2471284"/>
            <a:ext cx="2400000" cy="288000"/>
          </a:xfrm>
          <a:prstGeom prst="rect">
            <a:avLst/>
          </a:prstGeom>
          <a:solidFill>
            <a:schemeClr val="bg2">
              <a:lumMod val="9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15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isks/Issues</a:t>
            </a:r>
          </a:p>
        </p:txBody>
      </p:sp>
      <p:grpSp>
        <p:nvGrpSpPr>
          <p:cNvPr id="21" name="Groupe 105">
            <a:extLst>
              <a:ext uri="{FF2B5EF4-FFF2-40B4-BE49-F238E27FC236}">
                <a16:creationId xmlns:a16="http://schemas.microsoft.com/office/drawing/2014/main" id="{71ED83B3-4FF9-7D48-B96D-DA45E85AF0FA}"/>
              </a:ext>
            </a:extLst>
          </p:cNvPr>
          <p:cNvGrpSpPr/>
          <p:nvPr/>
        </p:nvGrpSpPr>
        <p:grpSpPr>
          <a:xfrm>
            <a:off x="7139549" y="856291"/>
            <a:ext cx="2864065" cy="1539820"/>
            <a:chOff x="4226660" y="-888444"/>
            <a:chExt cx="5022115" cy="809403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609A9A1F-6A38-2C45-B9A8-3C1A078183CC}"/>
                </a:ext>
              </a:extLst>
            </p:cNvPr>
            <p:cNvSpPr/>
            <p:nvPr/>
          </p:nvSpPr>
          <p:spPr bwMode="auto">
            <a:xfrm>
              <a:off x="4226660" y="-738917"/>
              <a:ext cx="5022113" cy="219995"/>
            </a:xfrm>
            <a:prstGeom prst="rect">
              <a:avLst/>
            </a:prstGeom>
            <a:solidFill>
              <a:schemeClr val="bg2">
                <a:lumMod val="20000"/>
                <a:lumOff val="80000"/>
                <a:alpha val="44000"/>
              </a:schemeClr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None/>
                <a:tabLst>
                  <a:tab pos="474109" algn="l"/>
                  <a:tab pos="1653035" algn="l"/>
                </a:tabLst>
                <a:defRPr/>
              </a:pPr>
              <a:r>
                <a:rPr lang="nl-NL" sz="1300">
                  <a:solidFill>
                    <a:srgbClr val="3E282B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Wingdings" pitchFamily="2" charset="2"/>
                </a:rPr>
                <a:t>Budget</a:t>
              </a:r>
            </a:p>
          </p:txBody>
        </p:sp>
        <p:sp>
          <p:nvSpPr>
            <p:cNvPr id="24" name="ZoneTexte 37">
              <a:extLst>
                <a:ext uri="{FF2B5EF4-FFF2-40B4-BE49-F238E27FC236}">
                  <a16:creationId xmlns:a16="http://schemas.microsoft.com/office/drawing/2014/main" id="{12571410-93A7-A24C-903A-C33C835DECCA}"/>
                </a:ext>
              </a:extLst>
            </p:cNvPr>
            <p:cNvSpPr txBox="1"/>
            <p:nvPr/>
          </p:nvSpPr>
          <p:spPr>
            <a:xfrm>
              <a:off x="7689412" y="-888444"/>
              <a:ext cx="1559363" cy="151387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0033CC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tatus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65B2D3E8-6164-0445-8B92-B97F6AC9B4A3}"/>
                </a:ext>
              </a:extLst>
            </p:cNvPr>
            <p:cNvSpPr/>
            <p:nvPr/>
          </p:nvSpPr>
          <p:spPr bwMode="auto">
            <a:xfrm>
              <a:off x="4226660" y="-519529"/>
              <a:ext cx="5022113" cy="219995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None/>
                <a:tabLst>
                  <a:tab pos="182558" algn="l"/>
                  <a:tab pos="473063" algn="l"/>
                  <a:tab pos="1652547" algn="l"/>
                </a:tabLst>
                <a:defRPr/>
              </a:pPr>
              <a:r>
                <a:rPr lang="nl-NL" sz="1300" kern="1200">
                  <a:solidFill>
                    <a:srgbClr val="3E282B"/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Wingdings" pitchFamily="2" charset="2"/>
                </a:rPr>
                <a:t>Planning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26FE344C-638A-4644-ABE8-0DDE5EDAE4B6}"/>
                </a:ext>
              </a:extLst>
            </p:cNvPr>
            <p:cNvSpPr/>
            <p:nvPr/>
          </p:nvSpPr>
          <p:spPr bwMode="auto">
            <a:xfrm>
              <a:off x="4226660" y="-299037"/>
              <a:ext cx="5022113" cy="219996"/>
            </a:xfrm>
            <a:prstGeom prst="rect">
              <a:avLst/>
            </a:prstGeom>
            <a:solidFill>
              <a:schemeClr val="bg2">
                <a:lumMod val="20000"/>
                <a:lumOff val="80000"/>
                <a:alpha val="45000"/>
              </a:schemeClr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None/>
                <a:tabLst>
                  <a:tab pos="474109" algn="l"/>
                  <a:tab pos="1653035" algn="l"/>
                </a:tabLst>
                <a:defRPr/>
              </a:pPr>
              <a:r>
                <a:rPr lang="nl-NL" sz="1300">
                  <a:solidFill>
                    <a:srgbClr val="3E282B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Wingdings" pitchFamily="2" charset="2"/>
                </a:rPr>
                <a:t>Scope</a:t>
              </a:r>
            </a:p>
          </p:txBody>
        </p:sp>
        <p:sp>
          <p:nvSpPr>
            <p:cNvPr id="27" name="ZoneTexte 40">
              <a:extLst>
                <a:ext uri="{FF2B5EF4-FFF2-40B4-BE49-F238E27FC236}">
                  <a16:creationId xmlns:a16="http://schemas.microsoft.com/office/drawing/2014/main" id="{237AE9FE-279D-6346-BD17-8B9AC8CE08C9}"/>
                </a:ext>
              </a:extLst>
            </p:cNvPr>
            <p:cNvSpPr txBox="1"/>
            <p:nvPr/>
          </p:nvSpPr>
          <p:spPr>
            <a:xfrm>
              <a:off x="4226660" y="-888444"/>
              <a:ext cx="3462751" cy="151387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roject metrics</a:t>
              </a:r>
            </a:p>
          </p:txBody>
        </p:sp>
      </p:grpSp>
      <p:cxnSp>
        <p:nvCxnSpPr>
          <p:cNvPr id="22" name="Connecteur droit 31">
            <a:extLst>
              <a:ext uri="{FF2B5EF4-FFF2-40B4-BE49-F238E27FC236}">
                <a16:creationId xmlns:a16="http://schemas.microsoft.com/office/drawing/2014/main" id="{709CDC95-81EB-5F40-B08A-2218AD6D4D25}"/>
              </a:ext>
            </a:extLst>
          </p:cNvPr>
          <p:cNvCxnSpPr/>
          <p:nvPr/>
        </p:nvCxnSpPr>
        <p:spPr>
          <a:xfrm>
            <a:off x="9114288" y="1168138"/>
            <a:ext cx="1" cy="117959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ZoneTexte 41">
            <a:extLst>
              <a:ext uri="{FF2B5EF4-FFF2-40B4-BE49-F238E27FC236}">
                <a16:creationId xmlns:a16="http://schemas.microsoft.com/office/drawing/2014/main" id="{00F0FEE8-EC95-6C4C-8DAC-822A087737DC}"/>
              </a:ext>
            </a:extLst>
          </p:cNvPr>
          <p:cNvSpPr txBox="1"/>
          <p:nvPr userDrawn="1"/>
        </p:nvSpPr>
        <p:spPr>
          <a:xfrm>
            <a:off x="304803" y="4732510"/>
            <a:ext cx="11684000" cy="27388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txBody>
          <a:bodyPr wrap="square" lIns="47999" tIns="60959" rIns="47999" bIns="60959" rtlCol="0" anchor="ctr" anchorCtr="0">
            <a:noAutofit/>
          </a:bodyPr>
          <a:lstStyle/>
          <a:p>
            <a:pPr algn="ctr"/>
            <a:r>
              <a:rPr lang="en-US" sz="1500" b="1">
                <a:ln>
                  <a:noFill/>
                </a:ln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lanning/ Milestones</a:t>
            </a:r>
          </a:p>
        </p:txBody>
      </p:sp>
      <p:sp>
        <p:nvSpPr>
          <p:cNvPr id="30" name="ZoneTexte 47">
            <a:extLst>
              <a:ext uri="{FF2B5EF4-FFF2-40B4-BE49-F238E27FC236}">
                <a16:creationId xmlns:a16="http://schemas.microsoft.com/office/drawing/2014/main" id="{68161274-DAF8-274A-8070-736BDF370522}"/>
              </a:ext>
            </a:extLst>
          </p:cNvPr>
          <p:cNvSpPr txBox="1"/>
          <p:nvPr/>
        </p:nvSpPr>
        <p:spPr>
          <a:xfrm>
            <a:off x="10128453" y="856292"/>
            <a:ext cx="1824201" cy="288676"/>
          </a:xfrm>
          <a:prstGeom prst="rect">
            <a:avLst/>
          </a:prstGeom>
          <a:solidFill>
            <a:schemeClr val="bg2">
              <a:lumMod val="9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15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verall Status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BBD71A6-0B16-7645-B8F7-C27429B42F01}"/>
              </a:ext>
            </a:extLst>
          </p:cNvPr>
          <p:cNvSpPr/>
          <p:nvPr/>
        </p:nvSpPr>
        <p:spPr bwMode="auto">
          <a:xfrm>
            <a:off x="10128455" y="1138366"/>
            <a:ext cx="1824000" cy="1247999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18000" bIns="18000" numCol="1" spcCol="108000" rtlCol="0" anchor="ctr" anchorCtr="0" compatLnSpc="1">
            <a:prstTxWarp prst="textNoShape">
              <a:avLst/>
            </a:prstTxWarp>
            <a:noAutofit/>
          </a:bodyPr>
          <a:lstStyle/>
          <a:p>
            <a:pPr marL="237055" indent="-237055">
              <a:lnSpc>
                <a:spcPct val="110000"/>
              </a:lnSpc>
              <a:spcBef>
                <a:spcPts val="400"/>
              </a:spcBef>
              <a:buClr>
                <a:srgbClr val="C00000"/>
              </a:buClr>
              <a:buSzPct val="110000"/>
              <a:tabLst>
                <a:tab pos="474109" algn="l"/>
                <a:tab pos="1653035" algn="l"/>
              </a:tabLst>
              <a:defRPr/>
            </a:pPr>
            <a:endParaRPr lang="nl-NL" sz="1300">
              <a:solidFill>
                <a:srgbClr val="3E282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32" name="Connecteur droit 49">
            <a:extLst>
              <a:ext uri="{FF2B5EF4-FFF2-40B4-BE49-F238E27FC236}">
                <a16:creationId xmlns:a16="http://schemas.microsoft.com/office/drawing/2014/main" id="{8C3BEDC9-61F9-5446-A891-DBD4E7E3C858}"/>
              </a:ext>
            </a:extLst>
          </p:cNvPr>
          <p:cNvCxnSpPr/>
          <p:nvPr userDrawn="1"/>
        </p:nvCxnSpPr>
        <p:spPr>
          <a:xfrm>
            <a:off x="10992544" y="1256310"/>
            <a:ext cx="0" cy="10111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ZoneTexte 34">
            <a:extLst>
              <a:ext uri="{FF2B5EF4-FFF2-40B4-BE49-F238E27FC236}">
                <a16:creationId xmlns:a16="http://schemas.microsoft.com/office/drawing/2014/main" id="{EABF5CA2-9084-454A-8775-2C850DE57F0D}"/>
              </a:ext>
            </a:extLst>
          </p:cNvPr>
          <p:cNvSpPr txBox="1"/>
          <p:nvPr userDrawn="1"/>
        </p:nvSpPr>
        <p:spPr>
          <a:xfrm>
            <a:off x="10138649" y="2186286"/>
            <a:ext cx="886689" cy="123111"/>
          </a:xfrm>
          <a:prstGeom prst="rect">
            <a:avLst/>
          </a:prstGeom>
          <a:noFill/>
        </p:spPr>
        <p:txBody>
          <a:bodyPr wrap="square" lIns="48000" tIns="0" rIns="48000" bIns="0" rtlCol="0">
            <a:spAutoFit/>
          </a:bodyPr>
          <a:lstStyle/>
          <a:p>
            <a:pPr algn="ctr" defTabSz="609570" fontAlgn="base">
              <a:spcBef>
                <a:spcPct val="0"/>
              </a:spcBef>
              <a:spcAft>
                <a:spcPct val="0"/>
              </a:spcAft>
            </a:pPr>
            <a:r>
              <a:rPr lang="fr-FR" sz="800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Vs. Last </a:t>
            </a:r>
            <a:r>
              <a:rPr lang="fr-FR" sz="800" err="1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month</a:t>
            </a:r>
            <a:endParaRPr lang="fr-FR" sz="800">
              <a:solidFill>
                <a:prstClr val="black">
                  <a:lumMod val="65000"/>
                  <a:lumOff val="35000"/>
                </a:prstClr>
              </a:solidFill>
              <a:latin typeface="Calibri" panose="020F0502020204030204" pitchFamily="34" charset="0"/>
              <a:ea typeface="MS PGothic" charset="0"/>
              <a:cs typeface="Calibri" panose="020F0502020204030204" pitchFamily="34" charset="0"/>
            </a:endParaRPr>
          </a:p>
        </p:txBody>
      </p:sp>
      <p:sp>
        <p:nvSpPr>
          <p:cNvPr id="34" name="ZoneTexte 35">
            <a:extLst>
              <a:ext uri="{FF2B5EF4-FFF2-40B4-BE49-F238E27FC236}">
                <a16:creationId xmlns:a16="http://schemas.microsoft.com/office/drawing/2014/main" id="{23905F17-3A70-F14D-A955-272D3FED6A4F}"/>
              </a:ext>
            </a:extLst>
          </p:cNvPr>
          <p:cNvSpPr txBox="1"/>
          <p:nvPr userDrawn="1"/>
        </p:nvSpPr>
        <p:spPr>
          <a:xfrm>
            <a:off x="10274311" y="1560681"/>
            <a:ext cx="559947" cy="123111"/>
          </a:xfrm>
          <a:prstGeom prst="rect">
            <a:avLst/>
          </a:prstGeom>
          <a:noFill/>
        </p:spPr>
        <p:txBody>
          <a:bodyPr wrap="square" lIns="48000" tIns="0" rIns="48000" bIns="0" rtlCol="0">
            <a:spAutoFit/>
          </a:bodyPr>
          <a:lstStyle/>
          <a:p>
            <a:pPr algn="ctr" defTabSz="609570" fontAlgn="base">
              <a:spcBef>
                <a:spcPct val="0"/>
              </a:spcBef>
              <a:spcAft>
                <a:spcPct val="0"/>
              </a:spcAft>
            </a:pPr>
            <a:r>
              <a:rPr lang="fr-FR" sz="800" err="1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Current</a:t>
            </a:r>
            <a:endParaRPr lang="fr-FR" sz="900">
              <a:solidFill>
                <a:prstClr val="black">
                  <a:lumMod val="65000"/>
                  <a:lumOff val="35000"/>
                </a:prstClr>
              </a:solidFill>
              <a:latin typeface="Calibri" panose="020F0502020204030204" pitchFamily="34" charset="0"/>
              <a:ea typeface="MS PGothic" charset="0"/>
              <a:cs typeface="Calibri" panose="020F0502020204030204" pitchFamily="34" charset="0"/>
            </a:endParaRPr>
          </a:p>
        </p:txBody>
      </p:sp>
      <p:sp>
        <p:nvSpPr>
          <p:cNvPr id="35" name="ZoneTexte 42">
            <a:extLst>
              <a:ext uri="{FF2B5EF4-FFF2-40B4-BE49-F238E27FC236}">
                <a16:creationId xmlns:a16="http://schemas.microsoft.com/office/drawing/2014/main" id="{FD938F6A-F287-8B4F-A7DB-5B6C97864164}"/>
              </a:ext>
            </a:extLst>
          </p:cNvPr>
          <p:cNvSpPr txBox="1"/>
          <p:nvPr userDrawn="1"/>
        </p:nvSpPr>
        <p:spPr>
          <a:xfrm>
            <a:off x="11092191" y="1947411"/>
            <a:ext cx="769763" cy="246221"/>
          </a:xfrm>
          <a:prstGeom prst="rect">
            <a:avLst/>
          </a:prstGeom>
          <a:noFill/>
        </p:spPr>
        <p:txBody>
          <a:bodyPr wrap="square" lIns="48000" tIns="0" rIns="48000" bIns="0" rtlCol="0">
            <a:spAutoFit/>
          </a:bodyPr>
          <a:lstStyle>
            <a:defPPr>
              <a:defRPr lang="fr-FR"/>
            </a:defPPr>
            <a:lvl1pPr algn="ctr" defTabSz="609585" fontAlgn="base">
              <a:spcBef>
                <a:spcPct val="0"/>
              </a:spcBef>
              <a:spcAft>
                <a:spcPct val="0"/>
              </a:spcAft>
              <a:defRPr sz="800">
                <a:solidFill>
                  <a:prstClr val="black">
                    <a:lumMod val="65000"/>
                    <a:lumOff val="35000"/>
                  </a:prstClr>
                </a:solidFill>
                <a:ea typeface="MS PGothic" charset="0"/>
              </a:defRPr>
            </a:lvl1pPr>
          </a:lstStyle>
          <a:p>
            <a:r>
              <a:rPr lang="fr-FR" sz="800">
                <a:latin typeface="Calibri" panose="020F0502020204030204" pitchFamily="34" charset="0"/>
                <a:cs typeface="Calibri" panose="020F0502020204030204" pitchFamily="34" charset="0"/>
              </a:rPr>
              <a:t>Project</a:t>
            </a:r>
          </a:p>
          <a:p>
            <a:r>
              <a:rPr lang="fr-FR" sz="800" err="1">
                <a:latin typeface="Calibri" panose="020F0502020204030204" pitchFamily="34" charset="0"/>
                <a:cs typeface="Calibri" panose="020F0502020204030204" pitchFamily="34" charset="0"/>
              </a:rPr>
              <a:t>Completion</a:t>
            </a:r>
            <a:endParaRPr lang="fr-FR" sz="8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18914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laser&#10;&#10;Description automatically generated">
            <a:extLst>
              <a:ext uri="{FF2B5EF4-FFF2-40B4-BE49-F238E27FC236}">
                <a16:creationId xmlns:a16="http://schemas.microsoft.com/office/drawing/2014/main" id="{F31B552C-21A9-484C-BB92-40D8374055A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344400" cy="6858000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9810A2B6-9F7E-084F-A4D7-F1688672C30C}"/>
              </a:ext>
            </a:extLst>
          </p:cNvPr>
          <p:cNvGrpSpPr/>
          <p:nvPr userDrawn="1"/>
        </p:nvGrpSpPr>
        <p:grpSpPr>
          <a:xfrm>
            <a:off x="1810757" y="1533830"/>
            <a:ext cx="4960973" cy="4960973"/>
            <a:chOff x="625387" y="306051"/>
            <a:chExt cx="521442" cy="521442"/>
          </a:xfrm>
          <a:solidFill>
            <a:srgbClr val="FFFFFF">
              <a:alpha val="11000"/>
            </a:srgbClr>
          </a:solidFill>
        </p:grpSpPr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B44F8206-CBFD-9041-83F0-2F7E6CDEC0CF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25906098-CFAC-B243-8A16-1806BF361756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900" y="685800"/>
            <a:ext cx="3855720" cy="2157884"/>
          </a:xfrm>
        </p:spPr>
        <p:txBody>
          <a:bodyPr anchor="t">
            <a:normAutofit/>
          </a:bodyPr>
          <a:lstStyle>
            <a:lvl1pPr>
              <a:lnSpc>
                <a:spcPct val="84000"/>
              </a:lnSpc>
              <a:defRPr sz="4800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532120" y="0"/>
            <a:ext cx="6812280" cy="6857999"/>
          </a:xfrm>
        </p:spPr>
        <p:txBody>
          <a:bodyPr anchor="t"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Rectangle 8" title="Divider Bar"/>
          <p:cNvSpPr/>
          <p:nvPr/>
        </p:nvSpPr>
        <p:spPr>
          <a:xfrm>
            <a:off x="5303520" y="376"/>
            <a:ext cx="2286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263807-9A2E-9E40-B1EF-82F486DE4D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55E06E-05A2-224F-B7CA-8483B049DE2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083565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F384F66B-93F6-694C-ACD2-06495EB225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1778"/>
          <a:stretch/>
        </p:blipFill>
        <p:spPr>
          <a:xfrm>
            <a:off x="0" y="-4445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900" y="685800"/>
            <a:ext cx="3855720" cy="2157884"/>
          </a:xfrm>
        </p:spPr>
        <p:txBody>
          <a:bodyPr anchor="t">
            <a:normAutofit/>
          </a:bodyPr>
          <a:lstStyle>
            <a:lvl1pPr>
              <a:lnSpc>
                <a:spcPct val="84000"/>
              </a:lnSpc>
              <a:defRPr sz="4800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532120" y="0"/>
            <a:ext cx="6812280" cy="6857999"/>
          </a:xfrm>
        </p:spPr>
        <p:txBody>
          <a:bodyPr anchor="t"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Rectangle 8" title="Divider Bar"/>
          <p:cNvSpPr/>
          <p:nvPr/>
        </p:nvSpPr>
        <p:spPr>
          <a:xfrm>
            <a:off x="5303520" y="376"/>
            <a:ext cx="2286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263807-9A2E-9E40-B1EF-82F486DE4D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55E06E-05A2-224F-B7CA-8483B049DE2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6004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ROJECT STAT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94"/>
          <p:cNvGrpSpPr/>
          <p:nvPr userDrawn="1"/>
        </p:nvGrpSpPr>
        <p:grpSpPr>
          <a:xfrm>
            <a:off x="304802" y="868991"/>
            <a:ext cx="6654709" cy="1970765"/>
            <a:chOff x="4226660" y="-936830"/>
            <a:chExt cx="4824536" cy="1486062"/>
          </a:xfrm>
        </p:grpSpPr>
        <p:sp>
          <p:nvSpPr>
            <p:cNvPr id="18" name="ZoneTexte 17"/>
            <p:cNvSpPr txBox="1"/>
            <p:nvPr/>
          </p:nvSpPr>
          <p:spPr>
            <a:xfrm>
              <a:off x="4226660" y="-936830"/>
              <a:ext cx="4824536" cy="217167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0033CC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 defTabSz="1219140">
                <a:defRPr/>
              </a:pPr>
              <a:r>
                <a:rPr lang="en-US" sz="1500" b="1" kern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Last month achievements</a:t>
              </a:r>
            </a:p>
          </p:txBody>
        </p:sp>
        <p:sp>
          <p:nvSpPr>
            <p:cNvPr id="19" name="Rectangle 18"/>
            <p:cNvSpPr/>
            <p:nvPr/>
          </p:nvSpPr>
          <p:spPr bwMode="auto">
            <a:xfrm>
              <a:off x="4226660" y="-720340"/>
              <a:ext cx="4824536" cy="126957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spcAft>
                  <a:spcPts val="267"/>
                </a:spcAft>
                <a:buClr>
                  <a:srgbClr val="C00000"/>
                </a:buClr>
                <a:buSzPct val="110000"/>
                <a:buFont typeface="Arial" pitchFamily="34" charset="0"/>
                <a:buChar char="•"/>
                <a:tabLst>
                  <a:tab pos="474109" algn="l"/>
                  <a:tab pos="1653035" algn="l"/>
                </a:tabLst>
                <a:defRPr/>
              </a:pPr>
              <a:endParaRPr lang="en-AU" sz="1300">
                <a:solidFill>
                  <a:prstClr val="black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4" name="Groupe 95"/>
          <p:cNvGrpSpPr/>
          <p:nvPr userDrawn="1"/>
        </p:nvGrpSpPr>
        <p:grpSpPr>
          <a:xfrm>
            <a:off x="304802" y="2915784"/>
            <a:ext cx="6654708" cy="1726199"/>
            <a:chOff x="4224368" y="-887413"/>
            <a:chExt cx="4794192" cy="1076338"/>
          </a:xfrm>
        </p:grpSpPr>
        <p:sp>
          <p:nvSpPr>
            <p:cNvPr id="21" name="ZoneTexte 20"/>
            <p:cNvSpPr txBox="1"/>
            <p:nvPr/>
          </p:nvSpPr>
          <p:spPr>
            <a:xfrm>
              <a:off x="4226660" y="-887413"/>
              <a:ext cx="3237212" cy="179577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0033CC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Key next steps</a:t>
              </a:r>
            </a:p>
          </p:txBody>
        </p:sp>
        <p:sp>
          <p:nvSpPr>
            <p:cNvPr id="22" name="Rectangle 21"/>
            <p:cNvSpPr/>
            <p:nvPr/>
          </p:nvSpPr>
          <p:spPr bwMode="auto">
            <a:xfrm>
              <a:off x="4224368" y="-709482"/>
              <a:ext cx="3234921" cy="897884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Char char="•"/>
                <a:tabLst>
                  <a:tab pos="474109" algn="l"/>
                  <a:tab pos="1653035" algn="l"/>
                </a:tabLst>
                <a:defRPr/>
              </a:pPr>
              <a:endParaRPr lang="nl-NL" sz="1300">
                <a:solidFill>
                  <a:srgbClr val="3E282B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3" name="ZoneTexte 22"/>
            <p:cNvSpPr txBox="1"/>
            <p:nvPr/>
          </p:nvSpPr>
          <p:spPr>
            <a:xfrm>
              <a:off x="7459290" y="-887413"/>
              <a:ext cx="1559270" cy="179577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FF6500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arget Date</a:t>
              </a:r>
            </a:p>
          </p:txBody>
        </p:sp>
        <p:sp>
          <p:nvSpPr>
            <p:cNvPr id="24" name="Rectangle 23"/>
            <p:cNvSpPr/>
            <p:nvPr/>
          </p:nvSpPr>
          <p:spPr bwMode="auto">
            <a:xfrm>
              <a:off x="7458828" y="-708958"/>
              <a:ext cx="1559270" cy="8978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Char char="•"/>
                <a:tabLst>
                  <a:tab pos="474109" algn="l"/>
                  <a:tab pos="1653035" algn="l"/>
                </a:tabLst>
                <a:defRPr/>
              </a:pPr>
              <a:endParaRPr lang="nl-NL" sz="1300">
                <a:solidFill>
                  <a:srgbClr val="3E282B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5" name="Groupe 98"/>
          <p:cNvGrpSpPr/>
          <p:nvPr userDrawn="1"/>
        </p:nvGrpSpPr>
        <p:grpSpPr>
          <a:xfrm>
            <a:off x="7152119" y="2471284"/>
            <a:ext cx="4802788" cy="2176917"/>
            <a:chOff x="4250685" y="-946195"/>
            <a:chExt cx="4827338" cy="1632688"/>
          </a:xfrm>
        </p:grpSpPr>
        <p:sp>
          <p:nvSpPr>
            <p:cNvPr id="26" name="Rectangle 25"/>
            <p:cNvSpPr/>
            <p:nvPr/>
          </p:nvSpPr>
          <p:spPr bwMode="auto">
            <a:xfrm>
              <a:off x="4250686" y="-733258"/>
              <a:ext cx="2412268" cy="10800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Char char="•"/>
                <a:tabLst>
                  <a:tab pos="474109" algn="l"/>
                  <a:tab pos="1653035" algn="l"/>
                </a:tabLst>
                <a:defRPr/>
              </a:pPr>
              <a:endParaRPr lang="nl-NL" sz="1300">
                <a:solidFill>
                  <a:srgbClr val="3E282B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itchFamily="2" charset="2"/>
              </a:endParaRPr>
            </a:p>
          </p:txBody>
        </p:sp>
        <p:sp>
          <p:nvSpPr>
            <p:cNvPr id="27" name="Rectangle 26"/>
            <p:cNvSpPr/>
            <p:nvPr/>
          </p:nvSpPr>
          <p:spPr bwMode="auto">
            <a:xfrm>
              <a:off x="6665755" y="-731676"/>
              <a:ext cx="2412268" cy="141816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Char char="•"/>
                <a:tabLst>
                  <a:tab pos="474109" algn="l"/>
                  <a:tab pos="1653035" algn="l"/>
                </a:tabLst>
                <a:defRPr/>
              </a:pPr>
              <a:endParaRPr lang="nl-NL" sz="1300">
                <a:solidFill>
                  <a:srgbClr val="3E282B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itchFamily="2" charset="2"/>
              </a:endParaRPr>
            </a:p>
          </p:txBody>
        </p:sp>
        <p:sp>
          <p:nvSpPr>
            <p:cNvPr id="28" name="ZoneTexte 27"/>
            <p:cNvSpPr txBox="1"/>
            <p:nvPr/>
          </p:nvSpPr>
          <p:spPr>
            <a:xfrm>
              <a:off x="6665755" y="-946195"/>
              <a:ext cx="2412268" cy="21600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0033CC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ction plan</a:t>
              </a:r>
            </a:p>
          </p:txBody>
        </p:sp>
        <p:sp>
          <p:nvSpPr>
            <p:cNvPr id="29" name="ZoneTexte 28"/>
            <p:cNvSpPr txBox="1"/>
            <p:nvPr/>
          </p:nvSpPr>
          <p:spPr>
            <a:xfrm>
              <a:off x="4250685" y="-946195"/>
              <a:ext cx="2412268" cy="216000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 w="9525">
              <a:solidFill>
                <a:schemeClr val="accent1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isks/Issues</a:t>
              </a:r>
            </a:p>
          </p:txBody>
        </p:sp>
      </p:grpSp>
      <p:grpSp>
        <p:nvGrpSpPr>
          <p:cNvPr id="6" name="Groupe 119"/>
          <p:cNvGrpSpPr/>
          <p:nvPr userDrawn="1"/>
        </p:nvGrpSpPr>
        <p:grpSpPr>
          <a:xfrm>
            <a:off x="7139549" y="856291"/>
            <a:ext cx="2864065" cy="1539820"/>
            <a:chOff x="5151437" y="-858151"/>
            <a:chExt cx="2592450" cy="810249"/>
          </a:xfrm>
        </p:grpSpPr>
        <p:grpSp>
          <p:nvGrpSpPr>
            <p:cNvPr id="7" name="Groupe 105"/>
            <p:cNvGrpSpPr/>
            <p:nvPr/>
          </p:nvGrpSpPr>
          <p:grpSpPr>
            <a:xfrm>
              <a:off x="5151437" y="-858151"/>
              <a:ext cx="2592450" cy="810249"/>
              <a:chOff x="4226660" y="-888444"/>
              <a:chExt cx="5022115" cy="809403"/>
            </a:xfrm>
          </p:grpSpPr>
          <p:sp>
            <p:nvSpPr>
              <p:cNvPr id="37" name="Rectangle 36"/>
              <p:cNvSpPr/>
              <p:nvPr/>
            </p:nvSpPr>
            <p:spPr bwMode="auto">
              <a:xfrm>
                <a:off x="4226660" y="-738917"/>
                <a:ext cx="5022113" cy="219995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  <a:alpha val="44000"/>
                </a:schemeClr>
              </a:solidFill>
              <a:ln w="952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36000" rIns="18000" bIns="18000" numCol="1" spcCol="108000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>
                  <a:lnSpc>
                    <a:spcPct val="110000"/>
                  </a:lnSpc>
                  <a:spcBef>
                    <a:spcPts val="400"/>
                  </a:spcBef>
                  <a:buClr>
                    <a:srgbClr val="C00000"/>
                  </a:buClr>
                  <a:buSzPct val="110000"/>
                  <a:buFont typeface="Arial" pitchFamily="34" charset="0"/>
                  <a:buNone/>
                  <a:tabLst>
                    <a:tab pos="474109" algn="l"/>
                    <a:tab pos="1653035" algn="l"/>
                  </a:tabLst>
                  <a:defRPr/>
                </a:pPr>
                <a:r>
                  <a:rPr lang="nl-NL" sz="1300">
                    <a:solidFill>
                      <a:srgbClr val="3E282B"/>
                    </a:solidFill>
                    <a:latin typeface="Calibri" panose="020F0502020204030204" pitchFamily="34" charset="0"/>
                    <a:cs typeface="Calibri" panose="020F0502020204030204" pitchFamily="34" charset="0"/>
                    <a:sym typeface="Wingdings" pitchFamily="2" charset="2"/>
                  </a:rPr>
                  <a:t>Budget</a:t>
                </a:r>
              </a:p>
            </p:txBody>
          </p:sp>
          <p:sp>
            <p:nvSpPr>
              <p:cNvPr id="38" name="ZoneTexte 37"/>
              <p:cNvSpPr txBox="1"/>
              <p:nvPr/>
            </p:nvSpPr>
            <p:spPr>
              <a:xfrm>
                <a:off x="7689412" y="-888444"/>
                <a:ext cx="1559363" cy="151387"/>
              </a:xfrm>
              <a:prstGeom prst="rect">
                <a:avLst/>
              </a:prstGeom>
              <a:solidFill>
                <a:schemeClr val="accent2"/>
              </a:solidFill>
              <a:ln w="9525">
                <a:solidFill>
                  <a:srgbClr val="0033CC"/>
                </a:solidFill>
              </a:ln>
            </p:spPr>
            <p:txBody>
              <a:bodyPr wrap="square" lIns="36000" rIns="36000" rtlCol="0" anchor="ctr" anchorCtr="0">
                <a:noAutofit/>
              </a:bodyPr>
              <a:lstStyle/>
              <a:p>
                <a:pPr algn="ctr"/>
                <a:r>
                  <a:rPr lang="en-US" sz="1500" b="1">
                    <a:solidFill>
                      <a:prstClr val="white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Status</a:t>
                </a:r>
              </a:p>
            </p:txBody>
          </p:sp>
          <p:sp>
            <p:nvSpPr>
              <p:cNvPr id="39" name="Rectangle 38"/>
              <p:cNvSpPr/>
              <p:nvPr/>
            </p:nvSpPr>
            <p:spPr bwMode="auto">
              <a:xfrm>
                <a:off x="4226660" y="-519529"/>
                <a:ext cx="5022113" cy="219995"/>
              </a:xfrm>
              <a:prstGeom prst="rect">
                <a:avLst/>
              </a:prstGeom>
              <a:solidFill>
                <a:schemeClr val="bg2">
                  <a:lumMod val="40000"/>
                  <a:lumOff val="60000"/>
                </a:schemeClr>
              </a:solidFill>
              <a:ln w="952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36000" rIns="18000" bIns="18000" numCol="1" spcCol="108000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>
                  <a:lnSpc>
                    <a:spcPct val="110000"/>
                  </a:lnSpc>
                  <a:spcBef>
                    <a:spcPts val="400"/>
                  </a:spcBef>
                  <a:buClr>
                    <a:srgbClr val="C00000"/>
                  </a:buClr>
                  <a:buSzPct val="110000"/>
                  <a:buFont typeface="Arial" pitchFamily="34" charset="0"/>
                  <a:buNone/>
                  <a:tabLst>
                    <a:tab pos="182558" algn="l"/>
                    <a:tab pos="473063" algn="l"/>
                    <a:tab pos="1652547" algn="l"/>
                  </a:tabLst>
                  <a:defRPr/>
                </a:pPr>
                <a:r>
                  <a:rPr lang="nl-NL" sz="1300" kern="1200">
                    <a:solidFill>
                      <a:srgbClr val="3E282B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  <a:sym typeface="Wingdings" pitchFamily="2" charset="2"/>
                  </a:rPr>
                  <a:t>Planning</a:t>
                </a:r>
              </a:p>
            </p:txBody>
          </p:sp>
          <p:sp>
            <p:nvSpPr>
              <p:cNvPr id="40" name="Rectangle 39"/>
              <p:cNvSpPr/>
              <p:nvPr/>
            </p:nvSpPr>
            <p:spPr bwMode="auto">
              <a:xfrm>
                <a:off x="4226660" y="-299037"/>
                <a:ext cx="5022113" cy="219996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  <a:alpha val="45000"/>
                </a:schemeClr>
              </a:solidFill>
              <a:ln w="952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36000" rIns="18000" bIns="18000" numCol="1" spcCol="108000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>
                  <a:lnSpc>
                    <a:spcPct val="110000"/>
                  </a:lnSpc>
                  <a:spcBef>
                    <a:spcPts val="400"/>
                  </a:spcBef>
                  <a:buClr>
                    <a:srgbClr val="C00000"/>
                  </a:buClr>
                  <a:buSzPct val="110000"/>
                  <a:buFont typeface="Arial" pitchFamily="34" charset="0"/>
                  <a:buNone/>
                  <a:tabLst>
                    <a:tab pos="474109" algn="l"/>
                    <a:tab pos="1653035" algn="l"/>
                  </a:tabLst>
                  <a:defRPr/>
                </a:pPr>
                <a:r>
                  <a:rPr lang="nl-NL" sz="1300">
                    <a:solidFill>
                      <a:srgbClr val="3E282B"/>
                    </a:solidFill>
                    <a:latin typeface="Calibri" panose="020F0502020204030204" pitchFamily="34" charset="0"/>
                    <a:cs typeface="Calibri" panose="020F0502020204030204" pitchFamily="34" charset="0"/>
                    <a:sym typeface="Wingdings" pitchFamily="2" charset="2"/>
                  </a:rPr>
                  <a:t>Scope</a:t>
                </a:r>
              </a:p>
            </p:txBody>
          </p:sp>
          <p:sp>
            <p:nvSpPr>
              <p:cNvPr id="41" name="ZoneTexte 40"/>
              <p:cNvSpPr txBox="1"/>
              <p:nvPr/>
            </p:nvSpPr>
            <p:spPr>
              <a:xfrm>
                <a:off x="4226660" y="-888444"/>
                <a:ext cx="3462751" cy="151387"/>
              </a:xfrm>
              <a:prstGeom prst="rect">
                <a:avLst/>
              </a:prstGeom>
              <a:solidFill>
                <a:schemeClr val="bg2">
                  <a:lumMod val="95000"/>
                </a:schemeClr>
              </a:solidFill>
              <a:ln w="9525">
                <a:solidFill>
                  <a:schemeClr val="accent1"/>
                </a:solidFill>
              </a:ln>
            </p:spPr>
            <p:txBody>
              <a:bodyPr wrap="square" lIns="36000" rIns="36000" rtlCol="0" anchor="ctr" anchorCtr="0">
                <a:noAutofit/>
              </a:bodyPr>
              <a:lstStyle/>
              <a:p>
                <a:pPr algn="ctr"/>
                <a:r>
                  <a:rPr lang="en-US" sz="1500" b="1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Project metrics</a:t>
                </a:r>
              </a:p>
            </p:txBody>
          </p:sp>
        </p:grpSp>
        <p:cxnSp>
          <p:nvCxnSpPr>
            <p:cNvPr id="32" name="Connecteur droit 31"/>
            <p:cNvCxnSpPr/>
            <p:nvPr/>
          </p:nvCxnSpPr>
          <p:spPr>
            <a:xfrm>
              <a:off x="6938901" y="-694058"/>
              <a:ext cx="1" cy="620697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ZoneTexte 41"/>
          <p:cNvSpPr txBox="1"/>
          <p:nvPr userDrawn="1"/>
        </p:nvSpPr>
        <p:spPr>
          <a:xfrm>
            <a:off x="304803" y="4732510"/>
            <a:ext cx="11684000" cy="273887"/>
          </a:xfrm>
          <a:prstGeom prst="rect">
            <a:avLst/>
          </a:prstGeom>
          <a:solidFill>
            <a:schemeClr val="bg2">
              <a:lumMod val="95000"/>
            </a:schemeClr>
          </a:solidFill>
          <a:ln w="9525">
            <a:solidFill>
              <a:schemeClr val="accent1"/>
            </a:solidFill>
          </a:ln>
        </p:spPr>
        <p:txBody>
          <a:bodyPr wrap="square" lIns="47999" tIns="60959" rIns="47999" bIns="60959" rtlCol="0" anchor="ctr" anchorCtr="0">
            <a:noAutofit/>
          </a:bodyPr>
          <a:lstStyle/>
          <a:p>
            <a:pPr algn="ctr"/>
            <a:r>
              <a:rPr lang="en-US" sz="1500" b="1">
                <a:ln>
                  <a:noFill/>
                </a:ln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lanning/ Milestones</a:t>
            </a:r>
          </a:p>
        </p:txBody>
      </p:sp>
      <p:grpSp>
        <p:nvGrpSpPr>
          <p:cNvPr id="8" name="Groupe 101"/>
          <p:cNvGrpSpPr/>
          <p:nvPr/>
        </p:nvGrpSpPr>
        <p:grpSpPr>
          <a:xfrm>
            <a:off x="10128453" y="856292"/>
            <a:ext cx="1824201" cy="1530073"/>
            <a:chOff x="4226667" y="-888444"/>
            <a:chExt cx="4824533" cy="1528863"/>
          </a:xfrm>
        </p:grpSpPr>
        <p:sp>
          <p:nvSpPr>
            <p:cNvPr id="48" name="ZoneTexte 47"/>
            <p:cNvSpPr txBox="1"/>
            <p:nvPr/>
          </p:nvSpPr>
          <p:spPr>
            <a:xfrm>
              <a:off x="4226667" y="-888444"/>
              <a:ext cx="4824533" cy="288448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 w="9525">
              <a:solidFill>
                <a:schemeClr val="accent1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Overall Status</a:t>
              </a:r>
            </a:p>
          </p:txBody>
        </p:sp>
        <p:sp>
          <p:nvSpPr>
            <p:cNvPr id="49" name="Rectangle 48"/>
            <p:cNvSpPr/>
            <p:nvPr/>
          </p:nvSpPr>
          <p:spPr bwMode="auto">
            <a:xfrm>
              <a:off x="4226671" y="-606593"/>
              <a:ext cx="4824001" cy="12470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tabLst>
                  <a:tab pos="474109" algn="l"/>
                  <a:tab pos="1653035" algn="l"/>
                </a:tabLst>
                <a:defRPr/>
              </a:pPr>
              <a:endParaRPr lang="nl-NL" sz="1300">
                <a:solidFill>
                  <a:srgbClr val="3E282B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cxnSp>
        <p:nvCxnSpPr>
          <p:cNvPr id="50" name="Connecteur droit 49"/>
          <p:cNvCxnSpPr/>
          <p:nvPr userDrawn="1"/>
        </p:nvCxnSpPr>
        <p:spPr>
          <a:xfrm>
            <a:off x="10992544" y="1256310"/>
            <a:ext cx="0" cy="10111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Image 3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276195"/>
            <a:ext cx="755507" cy="448583"/>
          </a:xfrm>
          <a:prstGeom prst="rect">
            <a:avLst/>
          </a:prstGeom>
        </p:spPr>
      </p:pic>
      <p:sp>
        <p:nvSpPr>
          <p:cNvPr id="35" name="ZoneTexte 34"/>
          <p:cNvSpPr txBox="1"/>
          <p:nvPr userDrawn="1"/>
        </p:nvSpPr>
        <p:spPr>
          <a:xfrm>
            <a:off x="10138649" y="2186286"/>
            <a:ext cx="886689" cy="123111"/>
          </a:xfrm>
          <a:prstGeom prst="rect">
            <a:avLst/>
          </a:prstGeom>
          <a:noFill/>
        </p:spPr>
        <p:txBody>
          <a:bodyPr wrap="square" lIns="48000" tIns="0" rIns="48000" bIns="0" rtlCol="0">
            <a:spAutoFit/>
          </a:bodyPr>
          <a:lstStyle/>
          <a:p>
            <a:pPr algn="ctr" defTabSz="609570" fontAlgn="base">
              <a:spcBef>
                <a:spcPct val="0"/>
              </a:spcBef>
              <a:spcAft>
                <a:spcPct val="0"/>
              </a:spcAft>
            </a:pPr>
            <a:r>
              <a:rPr lang="fr-FR" sz="800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Vs. Last </a:t>
            </a:r>
            <a:r>
              <a:rPr lang="fr-FR" sz="800" err="1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month</a:t>
            </a:r>
            <a:endParaRPr lang="fr-FR" sz="800">
              <a:solidFill>
                <a:prstClr val="black">
                  <a:lumMod val="65000"/>
                  <a:lumOff val="35000"/>
                </a:prstClr>
              </a:solidFill>
              <a:latin typeface="Calibri" panose="020F0502020204030204" pitchFamily="34" charset="0"/>
              <a:ea typeface="MS PGothic" charset="0"/>
              <a:cs typeface="Calibri" panose="020F0502020204030204" pitchFamily="34" charset="0"/>
            </a:endParaRPr>
          </a:p>
        </p:txBody>
      </p:sp>
      <p:sp>
        <p:nvSpPr>
          <p:cNvPr id="36" name="ZoneTexte 35"/>
          <p:cNvSpPr txBox="1"/>
          <p:nvPr userDrawn="1"/>
        </p:nvSpPr>
        <p:spPr>
          <a:xfrm>
            <a:off x="10274311" y="1560681"/>
            <a:ext cx="559947" cy="123111"/>
          </a:xfrm>
          <a:prstGeom prst="rect">
            <a:avLst/>
          </a:prstGeom>
          <a:noFill/>
        </p:spPr>
        <p:txBody>
          <a:bodyPr wrap="square" lIns="48000" tIns="0" rIns="48000" bIns="0" rtlCol="0">
            <a:spAutoFit/>
          </a:bodyPr>
          <a:lstStyle/>
          <a:p>
            <a:pPr algn="ctr" defTabSz="609570" fontAlgn="base">
              <a:spcBef>
                <a:spcPct val="0"/>
              </a:spcBef>
              <a:spcAft>
                <a:spcPct val="0"/>
              </a:spcAft>
            </a:pPr>
            <a:r>
              <a:rPr lang="fr-FR" sz="800" err="1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Current</a:t>
            </a:r>
            <a:endParaRPr lang="fr-FR" sz="900">
              <a:solidFill>
                <a:prstClr val="black">
                  <a:lumMod val="65000"/>
                  <a:lumOff val="35000"/>
                </a:prstClr>
              </a:solidFill>
              <a:latin typeface="Calibri" panose="020F0502020204030204" pitchFamily="34" charset="0"/>
              <a:ea typeface="MS PGothic" charset="0"/>
              <a:cs typeface="Calibri" panose="020F0502020204030204" pitchFamily="34" charset="0"/>
            </a:endParaRPr>
          </a:p>
        </p:txBody>
      </p:sp>
      <p:sp>
        <p:nvSpPr>
          <p:cNvPr id="43" name="ZoneTexte 42"/>
          <p:cNvSpPr txBox="1"/>
          <p:nvPr userDrawn="1"/>
        </p:nvSpPr>
        <p:spPr>
          <a:xfrm>
            <a:off x="11092191" y="1947411"/>
            <a:ext cx="769763" cy="246221"/>
          </a:xfrm>
          <a:prstGeom prst="rect">
            <a:avLst/>
          </a:prstGeom>
          <a:noFill/>
        </p:spPr>
        <p:txBody>
          <a:bodyPr wrap="square" lIns="48000" tIns="0" rIns="48000" bIns="0" rtlCol="0">
            <a:spAutoFit/>
          </a:bodyPr>
          <a:lstStyle>
            <a:defPPr>
              <a:defRPr lang="fr-FR"/>
            </a:defPPr>
            <a:lvl1pPr algn="ctr" defTabSz="609585" fontAlgn="base">
              <a:spcBef>
                <a:spcPct val="0"/>
              </a:spcBef>
              <a:spcAft>
                <a:spcPct val="0"/>
              </a:spcAft>
              <a:defRPr sz="800">
                <a:solidFill>
                  <a:prstClr val="black">
                    <a:lumMod val="65000"/>
                    <a:lumOff val="35000"/>
                  </a:prstClr>
                </a:solidFill>
                <a:ea typeface="MS PGothic" charset="0"/>
              </a:defRPr>
            </a:lvl1pPr>
          </a:lstStyle>
          <a:p>
            <a:r>
              <a:rPr lang="fr-FR" sz="800">
                <a:latin typeface="Calibri" panose="020F0502020204030204" pitchFamily="34" charset="0"/>
                <a:cs typeface="Calibri" panose="020F0502020204030204" pitchFamily="34" charset="0"/>
              </a:rPr>
              <a:t>Project</a:t>
            </a:r>
          </a:p>
          <a:p>
            <a:r>
              <a:rPr lang="fr-FR" sz="800" err="1">
                <a:latin typeface="Calibri" panose="020F0502020204030204" pitchFamily="34" charset="0"/>
                <a:cs typeface="Calibri" panose="020F0502020204030204" pitchFamily="34" charset="0"/>
              </a:rPr>
              <a:t>Completion</a:t>
            </a:r>
            <a:endParaRPr lang="fr-FR" sz="8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Titre 9"/>
          <p:cNvSpPr>
            <a:spLocks noGrp="1"/>
          </p:cNvSpPr>
          <p:nvPr>
            <p:ph type="title"/>
          </p:nvPr>
        </p:nvSpPr>
        <p:spPr>
          <a:xfrm>
            <a:off x="838201" y="365126"/>
            <a:ext cx="10312401" cy="434975"/>
          </a:xfrm>
        </p:spPr>
        <p:txBody>
          <a:bodyPr anchor="t">
            <a:normAutofit/>
          </a:bodyPr>
          <a:lstStyle>
            <a:lvl1pPr marL="0" algn="l" defTabSz="914377" rtl="0" eaLnBrk="1" latinLnBrk="0" hangingPunct="1">
              <a:lnSpc>
                <a:spcPct val="100000"/>
              </a:lnSpc>
              <a:defRPr lang="en-US" sz="2400" b="1" kern="1200" spc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12569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9069B8-C63E-9B44-925E-AA46166CB32D}"/>
              </a:ext>
            </a:extLst>
          </p:cNvPr>
          <p:cNvSpPr/>
          <p:nvPr userDrawn="1"/>
        </p:nvSpPr>
        <p:spPr>
          <a:xfrm>
            <a:off x="0" y="0"/>
            <a:ext cx="9985248" cy="8612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158" y="210953"/>
            <a:ext cx="9458018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09854" y="1143905"/>
            <a:ext cx="10305702" cy="5294928"/>
          </a:xfrm>
        </p:spPr>
        <p:txBody>
          <a:bodyPr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8DDFF98-429C-2F4F-88F2-1BC4ACFAE246}"/>
              </a:ext>
            </a:extLst>
          </p:cNvPr>
          <p:cNvGrpSpPr/>
          <p:nvPr userDrawn="1"/>
        </p:nvGrpSpPr>
        <p:grpSpPr>
          <a:xfrm>
            <a:off x="57203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F02C4039-4765-1349-8C56-E477DAF8661D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E8898369-C5A4-0F48-9F81-23B90E955146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1087699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4943" y="380221"/>
            <a:ext cx="5346670" cy="631583"/>
          </a:xfrm>
        </p:spPr>
        <p:txBody>
          <a:bodyPr lIns="0" tIns="0" rIns="0" bIns="0"/>
          <a:lstStyle>
            <a:lvl1pPr>
              <a:defRPr sz="4104" b="0" i="0">
                <a:solidFill>
                  <a:schemeClr val="bg1"/>
                </a:solidFill>
                <a:latin typeface="Quicksand"/>
                <a:cs typeface="Quicksand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09-Oct-19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896255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9069B8-C63E-9B44-925E-AA46166CB32D}"/>
              </a:ext>
            </a:extLst>
          </p:cNvPr>
          <p:cNvSpPr/>
          <p:nvPr userDrawn="1"/>
        </p:nvSpPr>
        <p:spPr>
          <a:xfrm>
            <a:off x="0" y="0"/>
            <a:ext cx="9985248" cy="8612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52184" y="210953"/>
            <a:ext cx="7737992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 dirty="0"/>
              <a:t>Agenda</a:t>
            </a:r>
            <a:endParaRPr lang="en-US" dirty="0"/>
          </a:p>
        </p:txBody>
      </p: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194304" y="1143905"/>
            <a:ext cx="6790944" cy="861263"/>
          </a:xfrm>
        </p:spPr>
        <p:txBody>
          <a:bodyPr anchor="ctr" anchorCtr="0"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8DDFF98-429C-2F4F-88F2-1BC4ACFAE246}"/>
              </a:ext>
            </a:extLst>
          </p:cNvPr>
          <p:cNvGrpSpPr/>
          <p:nvPr userDrawn="1"/>
        </p:nvGrpSpPr>
        <p:grpSpPr>
          <a:xfrm>
            <a:off x="57203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F02C4039-4765-1349-8C56-E477DAF8661D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E8898369-C5A4-0F48-9F81-23B90E955146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2" name="Espace réservé du texte 3">
            <a:extLst>
              <a:ext uri="{FF2B5EF4-FFF2-40B4-BE49-F238E27FC236}">
                <a16:creationId xmlns:a16="http://schemas.microsoft.com/office/drawing/2014/main" id="{70BD5D38-DB30-E945-BE72-55F0FBDF0DC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194304" y="2214497"/>
            <a:ext cx="6790944" cy="861263"/>
          </a:xfrm>
        </p:spPr>
        <p:txBody>
          <a:bodyPr anchor="ctr" anchorCtr="0"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Espace réservé du texte 3">
            <a:extLst>
              <a:ext uri="{FF2B5EF4-FFF2-40B4-BE49-F238E27FC236}">
                <a16:creationId xmlns:a16="http://schemas.microsoft.com/office/drawing/2014/main" id="{9A759BC0-3D35-1A44-BF8D-D4A86EB213B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194304" y="3285089"/>
            <a:ext cx="6790944" cy="861263"/>
          </a:xfrm>
        </p:spPr>
        <p:txBody>
          <a:bodyPr anchor="ctr" anchorCtr="0"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Espace réservé du texte 3">
            <a:extLst>
              <a:ext uri="{FF2B5EF4-FFF2-40B4-BE49-F238E27FC236}">
                <a16:creationId xmlns:a16="http://schemas.microsoft.com/office/drawing/2014/main" id="{7EC1EA8E-A807-F446-8399-33364376C27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194304" y="4355681"/>
            <a:ext cx="6790944" cy="861263"/>
          </a:xfrm>
        </p:spPr>
        <p:txBody>
          <a:bodyPr anchor="ctr" anchorCtr="0"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Espace réservé du texte 3">
            <a:extLst>
              <a:ext uri="{FF2B5EF4-FFF2-40B4-BE49-F238E27FC236}">
                <a16:creationId xmlns:a16="http://schemas.microsoft.com/office/drawing/2014/main" id="{EC54A28A-984D-8841-9C5E-4DA1DBAC5A0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194304" y="5426272"/>
            <a:ext cx="6790944" cy="861263"/>
          </a:xfrm>
        </p:spPr>
        <p:txBody>
          <a:bodyPr anchor="ctr" anchorCtr="0"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23354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9069B8-C63E-9B44-925E-AA46166CB32D}"/>
              </a:ext>
            </a:extLst>
          </p:cNvPr>
          <p:cNvSpPr/>
          <p:nvPr userDrawn="1"/>
        </p:nvSpPr>
        <p:spPr>
          <a:xfrm>
            <a:off x="0" y="0"/>
            <a:ext cx="9985248" cy="8612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52184" y="210953"/>
            <a:ext cx="7737992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 dirty="0"/>
              <a:t>Agenda</a:t>
            </a:r>
            <a:endParaRPr lang="en-US" dirty="0"/>
          </a:p>
        </p:txBody>
      </p: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194304" y="1143905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8DDFF98-429C-2F4F-88F2-1BC4ACFAE246}"/>
              </a:ext>
            </a:extLst>
          </p:cNvPr>
          <p:cNvGrpSpPr/>
          <p:nvPr userDrawn="1"/>
        </p:nvGrpSpPr>
        <p:grpSpPr>
          <a:xfrm>
            <a:off x="57203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F02C4039-4765-1349-8C56-E477DAF8661D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E8898369-C5A4-0F48-9F81-23B90E955146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2" name="Espace réservé du texte 3">
            <a:extLst>
              <a:ext uri="{FF2B5EF4-FFF2-40B4-BE49-F238E27FC236}">
                <a16:creationId xmlns:a16="http://schemas.microsoft.com/office/drawing/2014/main" id="{70BD5D38-DB30-E945-BE72-55F0FBDF0DC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194304" y="2214497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Espace réservé du texte 3">
            <a:extLst>
              <a:ext uri="{FF2B5EF4-FFF2-40B4-BE49-F238E27FC236}">
                <a16:creationId xmlns:a16="http://schemas.microsoft.com/office/drawing/2014/main" id="{9A759BC0-3D35-1A44-BF8D-D4A86EB213B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194304" y="3285089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Espace réservé du texte 3">
            <a:extLst>
              <a:ext uri="{FF2B5EF4-FFF2-40B4-BE49-F238E27FC236}">
                <a16:creationId xmlns:a16="http://schemas.microsoft.com/office/drawing/2014/main" id="{7EC1EA8E-A807-F446-8399-33364376C27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194304" y="4355681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Espace réservé du texte 3">
            <a:extLst>
              <a:ext uri="{FF2B5EF4-FFF2-40B4-BE49-F238E27FC236}">
                <a16:creationId xmlns:a16="http://schemas.microsoft.com/office/drawing/2014/main" id="{EC54A28A-984D-8841-9C5E-4DA1DBAC5A0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194304" y="5426272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Espace réservé du texte 3">
            <a:extLst>
              <a:ext uri="{FF2B5EF4-FFF2-40B4-BE49-F238E27FC236}">
                <a16:creationId xmlns:a16="http://schemas.microsoft.com/office/drawing/2014/main" id="{A6D7070B-77A4-5647-89EE-A6B0C551187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36036" y="1143905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Espace réservé du texte 3">
            <a:extLst>
              <a:ext uri="{FF2B5EF4-FFF2-40B4-BE49-F238E27FC236}">
                <a16:creationId xmlns:a16="http://schemas.microsoft.com/office/drawing/2014/main" id="{C8F354F3-7782-2B43-B971-498DF7D95FD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236036" y="2214497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id="{6D8DE6B7-7B97-FB4E-9EA5-7691EF8B61C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236036" y="3285089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Espace réservé du texte 3">
            <a:extLst>
              <a:ext uri="{FF2B5EF4-FFF2-40B4-BE49-F238E27FC236}">
                <a16:creationId xmlns:a16="http://schemas.microsoft.com/office/drawing/2014/main" id="{178062ED-3069-484F-902C-352DCA4B765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236036" y="4355681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Espace réservé du texte 3">
            <a:extLst>
              <a:ext uri="{FF2B5EF4-FFF2-40B4-BE49-F238E27FC236}">
                <a16:creationId xmlns:a16="http://schemas.microsoft.com/office/drawing/2014/main" id="{9D873DA8-8A08-A946-BB4C-6115648026B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236036" y="5426272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242964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9069B8-C63E-9B44-925E-AA46166CB32D}"/>
              </a:ext>
            </a:extLst>
          </p:cNvPr>
          <p:cNvSpPr/>
          <p:nvPr userDrawn="1"/>
        </p:nvSpPr>
        <p:spPr>
          <a:xfrm>
            <a:off x="0" y="0"/>
            <a:ext cx="9985248" cy="8612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158" y="210953"/>
            <a:ext cx="9458018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09854" y="1143905"/>
            <a:ext cx="10305702" cy="5294928"/>
          </a:xfrm>
        </p:spPr>
        <p:txBody>
          <a:bodyPr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FF835F6-C546-0644-A5A8-2B184782E1FD}"/>
              </a:ext>
            </a:extLst>
          </p:cNvPr>
          <p:cNvGrpSpPr/>
          <p:nvPr userDrawn="1"/>
        </p:nvGrpSpPr>
        <p:grpSpPr>
          <a:xfrm>
            <a:off x="57203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1E147E1F-836C-1C45-90D7-78CB347DA3DE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C1E7F59D-DB11-AF44-A0F0-59727C6DD7C5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561372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image" Target="../media/image2.sv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4F3EF66-AF5B-C34E-BB1F-B5556314A8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444" y="136525"/>
            <a:ext cx="10125795" cy="85783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990DB30-A338-4347-98D5-C7729C2897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76445" y="1223319"/>
            <a:ext cx="11839111" cy="49536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78B723-F6FA-494D-8A78-D3A4AE95DB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6444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 dirty="0"/>
              <a:t>© Quadi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216DB7-CDB4-934C-849A-4B9C1BAA07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7235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5EA26C5-9F45-034B-8EC4-078E2CDAF82E}"/>
              </a:ext>
            </a:extLst>
          </p:cNvPr>
          <p:cNvPicPr>
            <a:picLocks noChangeAspect="1"/>
          </p:cNvPicPr>
          <p:nvPr userDrawn="1"/>
        </p:nvPicPr>
        <p:blipFill>
          <a:blip r:embed="rId62">
            <a:extLst>
              <a:ext uri="{96DAC541-7B7A-43D3-8B79-37D633B846F1}">
                <asvg:svgBlip xmlns:asvg="http://schemas.microsoft.com/office/drawing/2016/SVG/main" r:embed="rId63"/>
              </a:ext>
            </a:extLst>
          </a:blip>
          <a:stretch>
            <a:fillRect/>
          </a:stretch>
        </p:blipFill>
        <p:spPr>
          <a:xfrm>
            <a:off x="10500790" y="222757"/>
            <a:ext cx="1514766" cy="378692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B4C4DFD2-2448-AE4D-AA96-563ADB77250E}"/>
              </a:ext>
            </a:extLst>
          </p:cNvPr>
          <p:cNvSpPr/>
          <p:nvPr userDrawn="1"/>
        </p:nvSpPr>
        <p:spPr>
          <a:xfrm>
            <a:off x="0" y="6798834"/>
            <a:ext cx="12192000" cy="806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292385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103" r:id="rId1"/>
    <p:sldLayoutId id="2147484104" r:id="rId2"/>
    <p:sldLayoutId id="2147484151" r:id="rId3"/>
    <p:sldLayoutId id="2147484105" r:id="rId4"/>
    <p:sldLayoutId id="2147484106" r:id="rId5"/>
    <p:sldLayoutId id="2147484107" r:id="rId6"/>
    <p:sldLayoutId id="2147484164" r:id="rId7"/>
    <p:sldLayoutId id="2147484165" r:id="rId8"/>
    <p:sldLayoutId id="2147484152" r:id="rId9"/>
    <p:sldLayoutId id="2147484153" r:id="rId10"/>
    <p:sldLayoutId id="2147484155" r:id="rId11"/>
    <p:sldLayoutId id="2147484149" r:id="rId12"/>
    <p:sldLayoutId id="2147484160" r:id="rId13"/>
    <p:sldLayoutId id="2147484159" r:id="rId14"/>
    <p:sldLayoutId id="2147484158" r:id="rId15"/>
    <p:sldLayoutId id="2147484162" r:id="rId16"/>
    <p:sldLayoutId id="2147484108" r:id="rId17"/>
    <p:sldLayoutId id="2147484163" r:id="rId18"/>
    <p:sldLayoutId id="2147484109" r:id="rId19"/>
    <p:sldLayoutId id="2147484110" r:id="rId20"/>
    <p:sldLayoutId id="2147484111" r:id="rId21"/>
    <p:sldLayoutId id="2147484112" r:id="rId22"/>
    <p:sldLayoutId id="2147484113" r:id="rId23"/>
    <p:sldLayoutId id="2147484114" r:id="rId24"/>
    <p:sldLayoutId id="2147484115" r:id="rId25"/>
    <p:sldLayoutId id="2147484116" r:id="rId26"/>
    <p:sldLayoutId id="2147484117" r:id="rId27"/>
    <p:sldLayoutId id="2147484118" r:id="rId28"/>
    <p:sldLayoutId id="2147484119" r:id="rId29"/>
    <p:sldLayoutId id="2147484120" r:id="rId30"/>
    <p:sldLayoutId id="2147484121" r:id="rId31"/>
    <p:sldLayoutId id="2147484122" r:id="rId32"/>
    <p:sldLayoutId id="2147484123" r:id="rId33"/>
    <p:sldLayoutId id="2147484124" r:id="rId34"/>
    <p:sldLayoutId id="2147484125" r:id="rId35"/>
    <p:sldLayoutId id="2147484126" r:id="rId36"/>
    <p:sldLayoutId id="2147484127" r:id="rId37"/>
    <p:sldLayoutId id="2147484128" r:id="rId38"/>
    <p:sldLayoutId id="2147484129" r:id="rId39"/>
    <p:sldLayoutId id="2147484130" r:id="rId40"/>
    <p:sldLayoutId id="2147484131" r:id="rId41"/>
    <p:sldLayoutId id="2147484132" r:id="rId42"/>
    <p:sldLayoutId id="2147484133" r:id="rId43"/>
    <p:sldLayoutId id="2147484134" r:id="rId44"/>
    <p:sldLayoutId id="2147484135" r:id="rId45"/>
    <p:sldLayoutId id="2147484136" r:id="rId46"/>
    <p:sldLayoutId id="2147484137" r:id="rId47"/>
    <p:sldLayoutId id="2147484139" r:id="rId48"/>
    <p:sldLayoutId id="2147484140" r:id="rId49"/>
    <p:sldLayoutId id="2147484141" r:id="rId50"/>
    <p:sldLayoutId id="2147484143" r:id="rId51"/>
    <p:sldLayoutId id="2147484144" r:id="rId52"/>
    <p:sldLayoutId id="2147484145" r:id="rId53"/>
    <p:sldLayoutId id="2147484146" r:id="rId54"/>
    <p:sldLayoutId id="2147484147" r:id="rId55"/>
    <p:sldLayoutId id="2147484167" r:id="rId56"/>
    <p:sldLayoutId id="2147484148" r:id="rId57"/>
    <p:sldLayoutId id="2147484161" r:id="rId58"/>
    <p:sldLayoutId id="2147484166" r:id="rId59"/>
    <p:sldLayoutId id="2147484168" r:id="rId60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0.jp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19.emf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6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46.svg"/><Relationship Id="rId18" Type="http://schemas.openxmlformats.org/officeDocument/2006/relationships/image" Target="../media/image51.png"/><Relationship Id="rId26" Type="http://schemas.openxmlformats.org/officeDocument/2006/relationships/image" Target="../media/image59.svg"/><Relationship Id="rId3" Type="http://schemas.openxmlformats.org/officeDocument/2006/relationships/image" Target="../media/image32.png"/><Relationship Id="rId21" Type="http://schemas.openxmlformats.org/officeDocument/2006/relationships/image" Target="../media/image54.png"/><Relationship Id="rId34" Type="http://schemas.openxmlformats.org/officeDocument/2006/relationships/image" Target="../media/image67.svg"/><Relationship Id="rId7" Type="http://schemas.openxmlformats.org/officeDocument/2006/relationships/image" Target="../media/image42.svg"/><Relationship Id="rId12" Type="http://schemas.openxmlformats.org/officeDocument/2006/relationships/image" Target="../media/image45.png"/><Relationship Id="rId17" Type="http://schemas.openxmlformats.org/officeDocument/2006/relationships/image" Target="../media/image50.svg"/><Relationship Id="rId25" Type="http://schemas.openxmlformats.org/officeDocument/2006/relationships/image" Target="../media/image58.png"/><Relationship Id="rId33" Type="http://schemas.openxmlformats.org/officeDocument/2006/relationships/image" Target="../media/image66.png"/><Relationship Id="rId2" Type="http://schemas.openxmlformats.org/officeDocument/2006/relationships/image" Target="../media/image30.png"/><Relationship Id="rId16" Type="http://schemas.openxmlformats.org/officeDocument/2006/relationships/image" Target="../media/image49.png"/><Relationship Id="rId20" Type="http://schemas.openxmlformats.org/officeDocument/2006/relationships/image" Target="../media/image53.png"/><Relationship Id="rId29" Type="http://schemas.openxmlformats.org/officeDocument/2006/relationships/image" Target="../media/image6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1.png"/><Relationship Id="rId11" Type="http://schemas.openxmlformats.org/officeDocument/2006/relationships/image" Target="../media/image44.svg"/><Relationship Id="rId24" Type="http://schemas.openxmlformats.org/officeDocument/2006/relationships/image" Target="../media/image57.svg"/><Relationship Id="rId32" Type="http://schemas.openxmlformats.org/officeDocument/2006/relationships/image" Target="../media/image65.svg"/><Relationship Id="rId5" Type="http://schemas.openxmlformats.org/officeDocument/2006/relationships/image" Target="../media/image40.png"/><Relationship Id="rId15" Type="http://schemas.openxmlformats.org/officeDocument/2006/relationships/image" Target="../media/image48.svg"/><Relationship Id="rId23" Type="http://schemas.openxmlformats.org/officeDocument/2006/relationships/image" Target="../media/image56.png"/><Relationship Id="rId28" Type="http://schemas.openxmlformats.org/officeDocument/2006/relationships/image" Target="../media/image61.svg"/><Relationship Id="rId36" Type="http://schemas.openxmlformats.org/officeDocument/2006/relationships/image" Target="../media/image69.svg"/><Relationship Id="rId10" Type="http://schemas.openxmlformats.org/officeDocument/2006/relationships/image" Target="../media/image43.png"/><Relationship Id="rId19" Type="http://schemas.openxmlformats.org/officeDocument/2006/relationships/image" Target="../media/image52.svg"/><Relationship Id="rId31" Type="http://schemas.openxmlformats.org/officeDocument/2006/relationships/image" Target="../media/image64.png"/><Relationship Id="rId4" Type="http://schemas.openxmlformats.org/officeDocument/2006/relationships/image" Target="../media/image34.png"/><Relationship Id="rId9" Type="http://schemas.openxmlformats.org/officeDocument/2006/relationships/image" Target="../media/image7.svg"/><Relationship Id="rId14" Type="http://schemas.openxmlformats.org/officeDocument/2006/relationships/image" Target="../media/image47.png"/><Relationship Id="rId22" Type="http://schemas.openxmlformats.org/officeDocument/2006/relationships/image" Target="../media/image55.svg"/><Relationship Id="rId27" Type="http://schemas.openxmlformats.org/officeDocument/2006/relationships/image" Target="../media/image60.png"/><Relationship Id="rId30" Type="http://schemas.openxmlformats.org/officeDocument/2006/relationships/image" Target="../media/image63.svg"/><Relationship Id="rId35" Type="http://schemas.openxmlformats.org/officeDocument/2006/relationships/image" Target="../media/image68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13" Type="http://schemas.openxmlformats.org/officeDocument/2006/relationships/image" Target="../media/image27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1.png"/><Relationship Id="rId12" Type="http://schemas.openxmlformats.org/officeDocument/2006/relationships/image" Target="../media/image26.sv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9.emf"/><Relationship Id="rId11" Type="http://schemas.openxmlformats.org/officeDocument/2006/relationships/image" Target="../media/image25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24.sv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23.png"/><Relationship Id="rId14" Type="http://schemas.openxmlformats.org/officeDocument/2006/relationships/image" Target="../media/image28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13" Type="http://schemas.openxmlformats.org/officeDocument/2006/relationships/image" Target="../media/image27.pn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21.png"/><Relationship Id="rId12" Type="http://schemas.openxmlformats.org/officeDocument/2006/relationships/image" Target="../media/image26.sv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9.emf"/><Relationship Id="rId11" Type="http://schemas.openxmlformats.org/officeDocument/2006/relationships/image" Target="../media/image25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24.sv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23.png"/><Relationship Id="rId14" Type="http://schemas.openxmlformats.org/officeDocument/2006/relationships/image" Target="../media/image28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7" Type="http://schemas.openxmlformats.org/officeDocument/2006/relationships/image" Target="../media/image38.sv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37.png"/><Relationship Id="rId5" Type="http://schemas.openxmlformats.org/officeDocument/2006/relationships/image" Target="../media/image36.svg"/><Relationship Id="rId4" Type="http://schemas.openxmlformats.org/officeDocument/2006/relationships/image" Target="../media/image3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6" name="Diapositive think-cell" r:id="rId5" imgW="421" imgH="423" progId="TCLayout.ActiveDocument.1">
                  <p:embed/>
                </p:oleObj>
              </mc:Choice>
              <mc:Fallback>
                <p:oleObj name="Diapositive think-cell" r:id="rId5" imgW="421" imgH="423" progId="TCLayout.ActiveDocument.1">
                  <p:embed/>
                  <p:pic>
                    <p:nvPicPr>
                      <p:cNvPr id="7" name="Obje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7">
            <a:extLst>
              <a:ext uri="{FF2B5EF4-FFF2-40B4-BE49-F238E27FC236}">
                <a16:creationId xmlns:a16="http://schemas.microsoft.com/office/drawing/2014/main" id="{9C1A432B-5F0A-644D-B08C-1C788C3CE8C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8480" y="5757001"/>
            <a:ext cx="11214247" cy="483850"/>
          </a:xfrm>
        </p:spPr>
        <p:txBody>
          <a:bodyPr/>
          <a:lstStyle/>
          <a:p>
            <a:r>
              <a:rPr lang="en-US" sz="2400" dirty="0">
                <a:solidFill>
                  <a:schemeClr val="tx1"/>
                </a:solidFill>
              </a:rPr>
              <a:t>12.10.2019</a:t>
            </a:r>
            <a:endParaRPr lang="fr-FR" sz="2400" dirty="0">
              <a:solidFill>
                <a:schemeClr val="tx1"/>
              </a:solidFill>
            </a:endParaRP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85118CEA-4684-6D4C-A518-7D62715EFD46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7"/>
          <a:srcRect l="9667" t="-854" b="213"/>
          <a:stretch/>
        </p:blipFill>
        <p:spPr>
          <a:xfrm>
            <a:off x="0" y="1155031"/>
            <a:ext cx="12192000" cy="3882465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1416AFE-51A9-744D-9AF9-58B8BA1E2A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9540" y="1586754"/>
            <a:ext cx="5036386" cy="3153688"/>
          </a:xfrm>
        </p:spPr>
        <p:txBody>
          <a:bodyPr/>
          <a:lstStyle/>
          <a:p>
            <a:pPr algn="l"/>
            <a:r>
              <a:rPr lang="en-US" sz="5400" dirty="0"/>
              <a:t>Enterprise </a:t>
            </a:r>
            <a:br>
              <a:rPr lang="en-US" sz="5400" dirty="0"/>
            </a:br>
            <a:r>
              <a:rPr lang="en-US" sz="5400" dirty="0"/>
              <a:t>Grade Deployment</a:t>
            </a:r>
            <a:endParaRPr lang="en-US" sz="5400" dirty="0">
              <a:latin typeface="+mn-lt"/>
            </a:endParaRPr>
          </a:p>
        </p:txBody>
      </p:sp>
      <p:sp>
        <p:nvSpPr>
          <p:cNvPr id="10" name="Subtitle 7">
            <a:extLst>
              <a:ext uri="{FF2B5EF4-FFF2-40B4-BE49-F238E27FC236}">
                <a16:creationId xmlns:a16="http://schemas.microsoft.com/office/drawing/2014/main" id="{51AB8ABA-A4FC-E64C-B6EB-5C0BF98C8632}"/>
              </a:ext>
            </a:extLst>
          </p:cNvPr>
          <p:cNvSpPr txBox="1">
            <a:spLocks/>
          </p:cNvSpPr>
          <p:nvPr/>
        </p:nvSpPr>
        <p:spPr>
          <a:xfrm>
            <a:off x="538480" y="5219119"/>
            <a:ext cx="11214247" cy="483850"/>
          </a:xfrm>
          <a:prstGeom prst="rect">
            <a:avLst/>
          </a:prstGeom>
          <a:ln w="6350">
            <a:noFill/>
          </a:ln>
        </p:spPr>
        <p:txBody>
          <a:bodyPr vert="horz" wrap="square" lIns="91440" tIns="45720" rIns="91440" bIns="45720" rtlCol="0"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Franklin Gothic Book" panose="020B0503020102020204" pitchFamily="34" charset="0"/>
              <a:buNone/>
              <a:tabLst/>
              <a:defRPr sz="2300" b="0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400" dirty="0">
                <a:solidFill>
                  <a:schemeClr val="tx1"/>
                </a:solidFill>
              </a:rPr>
              <a:t>Martin </a:t>
            </a:r>
            <a:r>
              <a:rPr lang="fr-FR" sz="2400" dirty="0" err="1">
                <a:solidFill>
                  <a:schemeClr val="tx1"/>
                </a:solidFill>
              </a:rPr>
              <a:t>Nov</a:t>
            </a:r>
            <a:r>
              <a:rPr lang="cs-CZ" sz="2400" dirty="0" err="1">
                <a:solidFill>
                  <a:schemeClr val="tx1"/>
                </a:solidFill>
              </a:rPr>
              <a:t>ák</a:t>
            </a:r>
            <a:r>
              <a:rPr lang="fr-FR" sz="2400" dirty="0">
                <a:solidFill>
                  <a:schemeClr val="tx1"/>
                </a:solidFill>
              </a:rPr>
              <a:t> I </a:t>
            </a:r>
            <a:r>
              <a:rPr lang="cs-CZ" sz="2400" dirty="0" err="1">
                <a:solidFill>
                  <a:schemeClr val="tx1"/>
                </a:solidFill>
              </a:rPr>
              <a:t>Product</a:t>
            </a:r>
            <a:r>
              <a:rPr lang="cs-CZ" sz="2400" dirty="0">
                <a:solidFill>
                  <a:schemeClr val="tx1"/>
                </a:solidFill>
              </a:rPr>
              <a:t> </a:t>
            </a:r>
            <a:r>
              <a:rPr lang="cs-CZ" sz="2400" dirty="0" err="1">
                <a:solidFill>
                  <a:schemeClr val="tx1"/>
                </a:solidFill>
              </a:rPr>
              <a:t>Architect</a:t>
            </a:r>
            <a:endParaRPr lang="fr-FR" sz="2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95367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9C6B6B5-2231-3B42-9AB3-D22BBDB83C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R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80AF7F-16D6-694F-A811-E993F87E6DC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4F8EAB57-E060-DD4D-B6AF-0B0F86F3691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4982" y="58507"/>
            <a:ext cx="876244" cy="833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88639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03B81C1-B0AF-DB41-8A5D-0154ABE73C1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Picture Placeholder 15" descr="A person wearing a hat&#10;&#10;Description automatically generated">
            <a:extLst>
              <a:ext uri="{FF2B5EF4-FFF2-40B4-BE49-F238E27FC236}">
                <a16:creationId xmlns:a16="http://schemas.microsoft.com/office/drawing/2014/main" id="{4A0AFAAE-9720-F745-8A91-F82CFF8C3E2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85048" y="3064162"/>
            <a:ext cx="1652651" cy="1652651"/>
          </a:xfrm>
          <a:prstGeom prst="ellipse">
            <a:avLst/>
          </a:prstGeom>
        </p:spPr>
      </p:pic>
      <p:sp>
        <p:nvSpPr>
          <p:cNvPr id="10" name="Oval 9">
            <a:extLst>
              <a:ext uri="{FF2B5EF4-FFF2-40B4-BE49-F238E27FC236}">
                <a16:creationId xmlns:a16="http://schemas.microsoft.com/office/drawing/2014/main" id="{2FEEFA49-E3B3-8C41-ABA6-8C36782AB2A3}"/>
              </a:ext>
            </a:extLst>
          </p:cNvPr>
          <p:cNvSpPr/>
          <p:nvPr/>
        </p:nvSpPr>
        <p:spPr>
          <a:xfrm rot="16200000">
            <a:off x="1326579" y="3698537"/>
            <a:ext cx="750275" cy="774739"/>
          </a:xfrm>
          <a:prstGeom prst="ellipse">
            <a:avLst/>
          </a:prstGeom>
          <a:gradFill>
            <a:gsLst>
              <a:gs pos="48000">
                <a:schemeClr val="accent1">
                  <a:alpha val="73000"/>
                </a:schemeClr>
              </a:gs>
              <a:gs pos="99000">
                <a:schemeClr val="accent6">
                  <a:alpha val="47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7FE6BC70-53B4-314E-9072-9EB502E7C1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0454" y="1084483"/>
            <a:ext cx="2936998" cy="975175"/>
          </a:xfrm>
          <a:prstGeom prst="rect">
            <a:avLst/>
          </a:prstGeom>
        </p:spPr>
      </p:pic>
      <p:grpSp>
        <p:nvGrpSpPr>
          <p:cNvPr id="2" name="Graphic 13">
            <a:extLst>
              <a:ext uri="{FF2B5EF4-FFF2-40B4-BE49-F238E27FC236}">
                <a16:creationId xmlns:a16="http://schemas.microsoft.com/office/drawing/2014/main" id="{E0B65CDE-8172-B946-8EA9-B99AA07D9461}"/>
              </a:ext>
            </a:extLst>
          </p:cNvPr>
          <p:cNvGrpSpPr/>
          <p:nvPr/>
        </p:nvGrpSpPr>
        <p:grpSpPr>
          <a:xfrm>
            <a:off x="3720723" y="950006"/>
            <a:ext cx="8377379" cy="5687200"/>
            <a:chOff x="3720723" y="950006"/>
            <a:chExt cx="8377379" cy="5687200"/>
          </a:xfrm>
          <a:solidFill>
            <a:schemeClr val="accent1"/>
          </a:solidFill>
        </p:grpSpPr>
        <p:sp>
          <p:nvSpPr>
            <p:cNvPr id="3" name="Freeform 2">
              <a:extLst>
                <a:ext uri="{FF2B5EF4-FFF2-40B4-BE49-F238E27FC236}">
                  <a16:creationId xmlns:a16="http://schemas.microsoft.com/office/drawing/2014/main" id="{63285F92-B5F6-5A42-8759-CC8B4AF87FF2}"/>
                </a:ext>
              </a:extLst>
            </p:cNvPr>
            <p:cNvSpPr/>
            <p:nvPr/>
          </p:nvSpPr>
          <p:spPr>
            <a:xfrm>
              <a:off x="8475216" y="2301571"/>
              <a:ext cx="19789" cy="38630"/>
            </a:xfrm>
            <a:custGeom>
              <a:avLst/>
              <a:gdLst>
                <a:gd name="connsiteX0" fmla="*/ 83 w 19789"/>
                <a:gd name="connsiteY0" fmla="*/ 10742 h 38630"/>
                <a:gd name="connsiteX1" fmla="*/ 1019 w 19789"/>
                <a:gd name="connsiteY1" fmla="*/ 29473 h 38630"/>
                <a:gd name="connsiteX2" fmla="*/ 10593 w 19789"/>
                <a:gd name="connsiteY2" fmla="*/ 38631 h 38630"/>
                <a:gd name="connsiteX3" fmla="*/ 10593 w 19789"/>
                <a:gd name="connsiteY3" fmla="*/ 38631 h 38630"/>
                <a:gd name="connsiteX4" fmla="*/ 19782 w 19789"/>
                <a:gd name="connsiteY4" fmla="*/ 28682 h 38630"/>
                <a:gd name="connsiteX5" fmla="*/ 19751 w 19789"/>
                <a:gd name="connsiteY5" fmla="*/ 28224 h 38630"/>
                <a:gd name="connsiteX6" fmla="*/ 18814 w 19789"/>
                <a:gd name="connsiteY6" fmla="*/ 8973 h 38630"/>
                <a:gd name="connsiteX7" fmla="*/ 8408 w 19789"/>
                <a:gd name="connsiteY7" fmla="*/ 23 h 38630"/>
                <a:gd name="connsiteX8" fmla="*/ 72 w 19789"/>
                <a:gd name="connsiteY8" fmla="*/ 10700 h 38630"/>
                <a:gd name="connsiteX9" fmla="*/ 83 w 19789"/>
                <a:gd name="connsiteY9" fmla="*/ 10742 h 38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789" h="38630">
                  <a:moveTo>
                    <a:pt x="83" y="10742"/>
                  </a:moveTo>
                  <a:cubicBezTo>
                    <a:pt x="499" y="16913"/>
                    <a:pt x="811" y="23156"/>
                    <a:pt x="1019" y="29473"/>
                  </a:cubicBezTo>
                  <a:cubicBezTo>
                    <a:pt x="1238" y="34593"/>
                    <a:pt x="5463" y="38631"/>
                    <a:pt x="10593" y="38631"/>
                  </a:cubicBezTo>
                  <a:lnTo>
                    <a:pt x="10593" y="38631"/>
                  </a:lnTo>
                  <a:cubicBezTo>
                    <a:pt x="15880" y="38423"/>
                    <a:pt x="19990" y="33969"/>
                    <a:pt x="19782" y="28682"/>
                  </a:cubicBezTo>
                  <a:cubicBezTo>
                    <a:pt x="19771" y="28526"/>
                    <a:pt x="19761" y="28380"/>
                    <a:pt x="19751" y="28224"/>
                  </a:cubicBezTo>
                  <a:cubicBezTo>
                    <a:pt x="19751" y="21772"/>
                    <a:pt x="19230" y="15321"/>
                    <a:pt x="18814" y="8973"/>
                  </a:cubicBezTo>
                  <a:cubicBezTo>
                    <a:pt x="18367" y="3644"/>
                    <a:pt x="13736" y="-341"/>
                    <a:pt x="8408" y="23"/>
                  </a:cubicBezTo>
                  <a:cubicBezTo>
                    <a:pt x="3163" y="668"/>
                    <a:pt x="-573" y="5445"/>
                    <a:pt x="72" y="10700"/>
                  </a:cubicBezTo>
                  <a:cubicBezTo>
                    <a:pt x="83" y="10710"/>
                    <a:pt x="83" y="10731"/>
                    <a:pt x="83" y="10742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CDDA81A4-7C3A-A84B-8A55-AB5FF2EA58C2}"/>
                </a:ext>
              </a:extLst>
            </p:cNvPr>
            <p:cNvSpPr/>
            <p:nvPr/>
          </p:nvSpPr>
          <p:spPr>
            <a:xfrm>
              <a:off x="8372709" y="2020501"/>
              <a:ext cx="29890" cy="34045"/>
            </a:xfrm>
            <a:custGeom>
              <a:avLst/>
              <a:gdLst>
                <a:gd name="connsiteX0" fmla="*/ 20382 w 29890"/>
                <a:gd name="connsiteY0" fmla="*/ 34046 h 34045"/>
                <a:gd name="connsiteX1" fmla="*/ 25793 w 29890"/>
                <a:gd name="connsiteY1" fmla="*/ 32277 h 34045"/>
                <a:gd name="connsiteX2" fmla="*/ 28218 w 29890"/>
                <a:gd name="connsiteY2" fmla="*/ 19102 h 34045"/>
                <a:gd name="connsiteX3" fmla="*/ 28186 w 29890"/>
                <a:gd name="connsiteY3" fmla="*/ 19061 h 34045"/>
                <a:gd name="connsiteX4" fmla="*/ 16844 w 29890"/>
                <a:gd name="connsiteY4" fmla="*/ 3347 h 34045"/>
                <a:gd name="connsiteX5" fmla="*/ 3347 w 29890"/>
                <a:gd name="connsiteY5" fmla="*/ 2306 h 34045"/>
                <a:gd name="connsiteX6" fmla="*/ 1547 w 29890"/>
                <a:gd name="connsiteY6" fmla="*/ 14794 h 34045"/>
                <a:gd name="connsiteX7" fmla="*/ 12577 w 29890"/>
                <a:gd name="connsiteY7" fmla="*/ 29883 h 34045"/>
                <a:gd name="connsiteX8" fmla="*/ 20382 w 29890"/>
                <a:gd name="connsiteY8" fmla="*/ 34046 h 34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890" h="34045">
                  <a:moveTo>
                    <a:pt x="20382" y="34046"/>
                  </a:moveTo>
                  <a:cubicBezTo>
                    <a:pt x="22328" y="34015"/>
                    <a:pt x="24211" y="33401"/>
                    <a:pt x="25793" y="32277"/>
                  </a:cubicBezTo>
                  <a:cubicBezTo>
                    <a:pt x="30101" y="29311"/>
                    <a:pt x="31183" y="23410"/>
                    <a:pt x="28218" y="19102"/>
                  </a:cubicBezTo>
                  <a:cubicBezTo>
                    <a:pt x="28207" y="19092"/>
                    <a:pt x="28197" y="19071"/>
                    <a:pt x="28186" y="19061"/>
                  </a:cubicBezTo>
                  <a:cubicBezTo>
                    <a:pt x="24440" y="13649"/>
                    <a:pt x="20694" y="8654"/>
                    <a:pt x="16844" y="3347"/>
                  </a:cubicBezTo>
                  <a:cubicBezTo>
                    <a:pt x="13399" y="-670"/>
                    <a:pt x="7364" y="-1138"/>
                    <a:pt x="3347" y="2306"/>
                  </a:cubicBezTo>
                  <a:cubicBezTo>
                    <a:pt x="-306" y="5428"/>
                    <a:pt x="-1065" y="10767"/>
                    <a:pt x="1547" y="14794"/>
                  </a:cubicBezTo>
                  <a:cubicBezTo>
                    <a:pt x="5293" y="19685"/>
                    <a:pt x="8935" y="25200"/>
                    <a:pt x="12577" y="29883"/>
                  </a:cubicBezTo>
                  <a:cubicBezTo>
                    <a:pt x="14336" y="32474"/>
                    <a:pt x="17250" y="34035"/>
                    <a:pt x="20382" y="34046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FC24F363-D1B7-CC4D-BF88-2FDE414916E2}"/>
                </a:ext>
              </a:extLst>
            </p:cNvPr>
            <p:cNvSpPr/>
            <p:nvPr/>
          </p:nvSpPr>
          <p:spPr>
            <a:xfrm>
              <a:off x="8322775" y="1963157"/>
              <a:ext cx="31605" cy="32176"/>
            </a:xfrm>
            <a:custGeom>
              <a:avLst/>
              <a:gdLst>
                <a:gd name="connsiteX0" fmla="*/ 22135 w 31605"/>
                <a:gd name="connsiteY0" fmla="*/ 32177 h 32176"/>
                <a:gd name="connsiteX1" fmla="*/ 31605 w 31605"/>
                <a:gd name="connsiteY1" fmla="*/ 22503 h 32176"/>
                <a:gd name="connsiteX2" fmla="*/ 29107 w 31605"/>
                <a:gd name="connsiteY2" fmla="*/ 16151 h 32176"/>
                <a:gd name="connsiteX3" fmla="*/ 15683 w 31605"/>
                <a:gd name="connsiteY3" fmla="*/ 2207 h 32176"/>
                <a:gd name="connsiteX4" fmla="*/ 2207 w 31605"/>
                <a:gd name="connsiteY4" fmla="*/ 3461 h 32176"/>
                <a:gd name="connsiteX5" fmla="*/ 2156 w 31605"/>
                <a:gd name="connsiteY5" fmla="*/ 15631 h 32176"/>
                <a:gd name="connsiteX6" fmla="*/ 15163 w 31605"/>
                <a:gd name="connsiteY6" fmla="*/ 29159 h 32176"/>
                <a:gd name="connsiteX7" fmla="*/ 22135 w 31605"/>
                <a:gd name="connsiteY7" fmla="*/ 32177 h 32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605" h="32176">
                  <a:moveTo>
                    <a:pt x="22135" y="32177"/>
                  </a:moveTo>
                  <a:cubicBezTo>
                    <a:pt x="27422" y="32125"/>
                    <a:pt x="31667" y="27786"/>
                    <a:pt x="31605" y="22503"/>
                  </a:cubicBezTo>
                  <a:cubicBezTo>
                    <a:pt x="31584" y="20150"/>
                    <a:pt x="30689" y="17889"/>
                    <a:pt x="29107" y="16151"/>
                  </a:cubicBezTo>
                  <a:cubicBezTo>
                    <a:pt x="24633" y="11260"/>
                    <a:pt x="20158" y="6681"/>
                    <a:pt x="15683" y="2207"/>
                  </a:cubicBezTo>
                  <a:cubicBezTo>
                    <a:pt x="11615" y="-1170"/>
                    <a:pt x="5579" y="-608"/>
                    <a:pt x="2207" y="3461"/>
                  </a:cubicBezTo>
                  <a:cubicBezTo>
                    <a:pt x="-717" y="6984"/>
                    <a:pt x="-738" y="12084"/>
                    <a:pt x="2156" y="15631"/>
                  </a:cubicBezTo>
                  <a:cubicBezTo>
                    <a:pt x="6526" y="20002"/>
                    <a:pt x="10897" y="24476"/>
                    <a:pt x="15163" y="29159"/>
                  </a:cubicBezTo>
                  <a:cubicBezTo>
                    <a:pt x="16974" y="31074"/>
                    <a:pt x="19492" y="32167"/>
                    <a:pt x="22135" y="32177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70266BBD-EB2B-0F43-8F84-BEBB34720EFD}"/>
                </a:ext>
              </a:extLst>
            </p:cNvPr>
            <p:cNvSpPr/>
            <p:nvPr/>
          </p:nvSpPr>
          <p:spPr>
            <a:xfrm>
              <a:off x="8200744" y="1871925"/>
              <a:ext cx="35297" cy="27879"/>
            </a:xfrm>
            <a:custGeom>
              <a:avLst/>
              <a:gdLst>
                <a:gd name="connsiteX0" fmla="*/ 20957 w 35297"/>
                <a:gd name="connsiteY0" fmla="*/ 26630 h 27879"/>
                <a:gd name="connsiteX1" fmla="*/ 25744 w 35297"/>
                <a:gd name="connsiteY1" fmla="*/ 27879 h 27879"/>
                <a:gd name="connsiteX2" fmla="*/ 35297 w 35297"/>
                <a:gd name="connsiteY2" fmla="*/ 18496 h 27879"/>
                <a:gd name="connsiteX3" fmla="*/ 30531 w 35297"/>
                <a:gd name="connsiteY3" fmla="*/ 10188 h 27879"/>
                <a:gd name="connsiteX4" fmla="*/ 12945 w 35297"/>
                <a:gd name="connsiteY4" fmla="*/ 614 h 27879"/>
                <a:gd name="connsiteX5" fmla="*/ 613 w 35297"/>
                <a:gd name="connsiteY5" fmla="*/ 6211 h 27879"/>
                <a:gd name="connsiteX6" fmla="*/ 4828 w 35297"/>
                <a:gd name="connsiteY6" fmla="*/ 17889 h 27879"/>
                <a:gd name="connsiteX7" fmla="*/ 20957 w 35297"/>
                <a:gd name="connsiteY7" fmla="*/ 26630 h 27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297" h="27879">
                  <a:moveTo>
                    <a:pt x="20957" y="26630"/>
                  </a:moveTo>
                  <a:cubicBezTo>
                    <a:pt x="22424" y="27425"/>
                    <a:pt x="24069" y="27854"/>
                    <a:pt x="25744" y="27879"/>
                  </a:cubicBezTo>
                  <a:cubicBezTo>
                    <a:pt x="30978" y="27927"/>
                    <a:pt x="35255" y="23727"/>
                    <a:pt x="35297" y="18496"/>
                  </a:cubicBezTo>
                  <a:cubicBezTo>
                    <a:pt x="35328" y="15068"/>
                    <a:pt x="33507" y="11889"/>
                    <a:pt x="30531" y="10188"/>
                  </a:cubicBezTo>
                  <a:cubicBezTo>
                    <a:pt x="20125" y="3840"/>
                    <a:pt x="13257" y="822"/>
                    <a:pt x="12945" y="614"/>
                  </a:cubicBezTo>
                  <a:cubicBezTo>
                    <a:pt x="7991" y="-1246"/>
                    <a:pt x="2476" y="1260"/>
                    <a:pt x="613" y="6211"/>
                  </a:cubicBezTo>
                  <a:cubicBezTo>
                    <a:pt x="-1042" y="10609"/>
                    <a:pt x="749" y="15557"/>
                    <a:pt x="4828" y="17889"/>
                  </a:cubicBezTo>
                  <a:cubicBezTo>
                    <a:pt x="4828" y="17889"/>
                    <a:pt x="10967" y="20802"/>
                    <a:pt x="20957" y="26630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82960401-C897-E945-B8B5-6DF43C03DB0A}"/>
                </a:ext>
              </a:extLst>
            </p:cNvPr>
            <p:cNvSpPr/>
            <p:nvPr/>
          </p:nvSpPr>
          <p:spPr>
            <a:xfrm>
              <a:off x="8264977" y="1912928"/>
              <a:ext cx="33601" cy="30477"/>
            </a:xfrm>
            <a:custGeom>
              <a:avLst/>
              <a:gdLst>
                <a:gd name="connsiteX0" fmla="*/ 24052 w 33601"/>
                <a:gd name="connsiteY0" fmla="*/ 30478 h 30477"/>
                <a:gd name="connsiteX1" fmla="*/ 31545 w 33601"/>
                <a:gd name="connsiteY1" fmla="*/ 26940 h 30477"/>
                <a:gd name="connsiteX2" fmla="*/ 30088 w 33601"/>
                <a:gd name="connsiteY2" fmla="*/ 13515 h 30477"/>
                <a:gd name="connsiteX3" fmla="*/ 14791 w 33601"/>
                <a:gd name="connsiteY3" fmla="*/ 1548 h 30477"/>
                <a:gd name="connsiteX4" fmla="*/ 1544 w 33601"/>
                <a:gd name="connsiteY4" fmla="*/ 4357 h 30477"/>
                <a:gd name="connsiteX5" fmla="*/ 3344 w 33601"/>
                <a:gd name="connsiteY5" fmla="*/ 16845 h 30477"/>
                <a:gd name="connsiteX6" fmla="*/ 18121 w 33601"/>
                <a:gd name="connsiteY6" fmla="*/ 28292 h 30477"/>
                <a:gd name="connsiteX7" fmla="*/ 24052 w 33601"/>
                <a:gd name="connsiteY7" fmla="*/ 30478 h 30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601" h="30477">
                  <a:moveTo>
                    <a:pt x="24052" y="30478"/>
                  </a:moveTo>
                  <a:cubicBezTo>
                    <a:pt x="26935" y="30386"/>
                    <a:pt x="29640" y="29105"/>
                    <a:pt x="31545" y="26940"/>
                  </a:cubicBezTo>
                  <a:cubicBezTo>
                    <a:pt x="34781" y="22809"/>
                    <a:pt x="34125" y="16856"/>
                    <a:pt x="30088" y="13515"/>
                  </a:cubicBezTo>
                  <a:cubicBezTo>
                    <a:pt x="24781" y="9249"/>
                    <a:pt x="19681" y="5294"/>
                    <a:pt x="14791" y="1548"/>
                  </a:cubicBezTo>
                  <a:cubicBezTo>
                    <a:pt x="10358" y="-1334"/>
                    <a:pt x="4426" y="-76"/>
                    <a:pt x="1544" y="4357"/>
                  </a:cubicBezTo>
                  <a:cubicBezTo>
                    <a:pt x="-1068" y="8381"/>
                    <a:pt x="-298" y="13722"/>
                    <a:pt x="3344" y="16845"/>
                  </a:cubicBezTo>
                  <a:cubicBezTo>
                    <a:pt x="8131" y="20384"/>
                    <a:pt x="13022" y="24234"/>
                    <a:pt x="18121" y="28292"/>
                  </a:cubicBezTo>
                  <a:cubicBezTo>
                    <a:pt x="19775" y="29694"/>
                    <a:pt x="21877" y="30467"/>
                    <a:pt x="24052" y="30478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B19F12B5-A93E-DD46-8EBC-83D189BE91F1}"/>
                </a:ext>
              </a:extLst>
            </p:cNvPr>
            <p:cNvSpPr/>
            <p:nvPr/>
          </p:nvSpPr>
          <p:spPr>
            <a:xfrm>
              <a:off x="8463899" y="2453812"/>
              <a:ext cx="22353" cy="37802"/>
            </a:xfrm>
            <a:custGeom>
              <a:avLst/>
              <a:gdLst>
                <a:gd name="connsiteX0" fmla="*/ 3492 w 22353"/>
                <a:gd name="connsiteY0" fmla="*/ 8144 h 37802"/>
                <a:gd name="connsiteX1" fmla="*/ 162 w 22353"/>
                <a:gd name="connsiteY1" fmla="*/ 26667 h 37802"/>
                <a:gd name="connsiteX2" fmla="*/ 7758 w 22353"/>
                <a:gd name="connsiteY2" fmla="*/ 37802 h 37802"/>
                <a:gd name="connsiteX3" fmla="*/ 9527 w 22353"/>
                <a:gd name="connsiteY3" fmla="*/ 37802 h 37802"/>
                <a:gd name="connsiteX4" fmla="*/ 18893 w 22353"/>
                <a:gd name="connsiteY4" fmla="*/ 29997 h 37802"/>
                <a:gd name="connsiteX5" fmla="*/ 22223 w 22353"/>
                <a:gd name="connsiteY5" fmla="*/ 11058 h 37802"/>
                <a:gd name="connsiteX6" fmla="*/ 14418 w 22353"/>
                <a:gd name="connsiteY6" fmla="*/ 131 h 37802"/>
                <a:gd name="connsiteX7" fmla="*/ 3492 w 22353"/>
                <a:gd name="connsiteY7" fmla="*/ 7936 h 3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353" h="37802">
                  <a:moveTo>
                    <a:pt x="3492" y="8144"/>
                  </a:moveTo>
                  <a:cubicBezTo>
                    <a:pt x="2451" y="14284"/>
                    <a:pt x="1410" y="20424"/>
                    <a:pt x="162" y="26667"/>
                  </a:cubicBezTo>
                  <a:cubicBezTo>
                    <a:pt x="-796" y="31839"/>
                    <a:pt x="2597" y="36803"/>
                    <a:pt x="7758" y="37802"/>
                  </a:cubicBezTo>
                  <a:lnTo>
                    <a:pt x="9527" y="37802"/>
                  </a:lnTo>
                  <a:cubicBezTo>
                    <a:pt x="14127" y="37823"/>
                    <a:pt x="18081" y="34535"/>
                    <a:pt x="18893" y="29997"/>
                  </a:cubicBezTo>
                  <a:cubicBezTo>
                    <a:pt x="20141" y="23649"/>
                    <a:pt x="21182" y="17302"/>
                    <a:pt x="22223" y="11058"/>
                  </a:cubicBezTo>
                  <a:cubicBezTo>
                    <a:pt x="23087" y="5886"/>
                    <a:pt x="19590" y="995"/>
                    <a:pt x="14418" y="131"/>
                  </a:cubicBezTo>
                  <a:cubicBezTo>
                    <a:pt x="9246" y="-733"/>
                    <a:pt x="4355" y="2764"/>
                    <a:pt x="3492" y="7936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F70F19D3-8CE2-D645-9069-183CCF61D4A1}"/>
                </a:ext>
              </a:extLst>
            </p:cNvPr>
            <p:cNvSpPr/>
            <p:nvPr/>
          </p:nvSpPr>
          <p:spPr>
            <a:xfrm>
              <a:off x="8446443" y="2528168"/>
              <a:ext cx="24063" cy="37513"/>
            </a:xfrm>
            <a:custGeom>
              <a:avLst/>
              <a:gdLst>
                <a:gd name="connsiteX0" fmla="*/ 5339 w 24063"/>
                <a:gd name="connsiteY0" fmla="*/ 7465 h 37513"/>
                <a:gd name="connsiteX1" fmla="*/ 344 w 24063"/>
                <a:gd name="connsiteY1" fmla="*/ 25677 h 37513"/>
                <a:gd name="connsiteX2" fmla="*/ 7003 w 24063"/>
                <a:gd name="connsiteY2" fmla="*/ 37436 h 37513"/>
                <a:gd name="connsiteX3" fmla="*/ 9605 w 24063"/>
                <a:gd name="connsiteY3" fmla="*/ 37436 h 37513"/>
                <a:gd name="connsiteX4" fmla="*/ 18762 w 24063"/>
                <a:gd name="connsiteY4" fmla="*/ 30568 h 37513"/>
                <a:gd name="connsiteX5" fmla="*/ 23757 w 24063"/>
                <a:gd name="connsiteY5" fmla="*/ 11940 h 37513"/>
                <a:gd name="connsiteX6" fmla="*/ 16889 w 24063"/>
                <a:gd name="connsiteY6" fmla="*/ 285 h 37513"/>
                <a:gd name="connsiteX7" fmla="*/ 5401 w 24063"/>
                <a:gd name="connsiteY7" fmla="*/ 7174 h 37513"/>
                <a:gd name="connsiteX8" fmla="*/ 5339 w 24063"/>
                <a:gd name="connsiteY8" fmla="*/ 7465 h 37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063" h="37513">
                  <a:moveTo>
                    <a:pt x="5339" y="7465"/>
                  </a:moveTo>
                  <a:cubicBezTo>
                    <a:pt x="3777" y="13501"/>
                    <a:pt x="2112" y="19537"/>
                    <a:pt x="344" y="25677"/>
                  </a:cubicBezTo>
                  <a:cubicBezTo>
                    <a:pt x="-1051" y="30765"/>
                    <a:pt x="1925" y="36021"/>
                    <a:pt x="7003" y="37436"/>
                  </a:cubicBezTo>
                  <a:cubicBezTo>
                    <a:pt x="7867" y="37540"/>
                    <a:pt x="8741" y="37540"/>
                    <a:pt x="9605" y="37436"/>
                  </a:cubicBezTo>
                  <a:cubicBezTo>
                    <a:pt x="13840" y="37425"/>
                    <a:pt x="17566" y="34626"/>
                    <a:pt x="18762" y="30568"/>
                  </a:cubicBezTo>
                  <a:cubicBezTo>
                    <a:pt x="20531" y="24324"/>
                    <a:pt x="22197" y="18080"/>
                    <a:pt x="23757" y="11940"/>
                  </a:cubicBezTo>
                  <a:cubicBezTo>
                    <a:pt x="25079" y="6831"/>
                    <a:pt x="21999" y="1607"/>
                    <a:pt x="16889" y="285"/>
                  </a:cubicBezTo>
                  <a:cubicBezTo>
                    <a:pt x="11811" y="-984"/>
                    <a:pt x="6670" y="2106"/>
                    <a:pt x="5401" y="7174"/>
                  </a:cubicBezTo>
                  <a:cubicBezTo>
                    <a:pt x="5380" y="7268"/>
                    <a:pt x="5359" y="7372"/>
                    <a:pt x="5339" y="7465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3E86BDCF-EFDB-3C42-989B-AB453667C818}"/>
                </a:ext>
              </a:extLst>
            </p:cNvPr>
            <p:cNvSpPr/>
            <p:nvPr/>
          </p:nvSpPr>
          <p:spPr>
            <a:xfrm>
              <a:off x="8423029" y="2600509"/>
              <a:ext cx="25785" cy="37940"/>
            </a:xfrm>
            <a:custGeom>
              <a:avLst/>
              <a:gdLst>
                <a:gd name="connsiteX0" fmla="*/ 6900 w 25785"/>
                <a:gd name="connsiteY0" fmla="*/ 7345 h 37940"/>
                <a:gd name="connsiteX1" fmla="*/ 552 w 25785"/>
                <a:gd name="connsiteY1" fmla="*/ 25140 h 37940"/>
                <a:gd name="connsiteX2" fmla="*/ 6275 w 25785"/>
                <a:gd name="connsiteY2" fmla="*/ 37420 h 37940"/>
                <a:gd name="connsiteX3" fmla="*/ 9501 w 25785"/>
                <a:gd name="connsiteY3" fmla="*/ 37940 h 37940"/>
                <a:gd name="connsiteX4" fmla="*/ 18555 w 25785"/>
                <a:gd name="connsiteY4" fmla="*/ 31696 h 37940"/>
                <a:gd name="connsiteX5" fmla="*/ 24902 w 25785"/>
                <a:gd name="connsiteY5" fmla="*/ 13589 h 37940"/>
                <a:gd name="connsiteX6" fmla="*/ 20220 w 25785"/>
                <a:gd name="connsiteY6" fmla="*/ 883 h 37940"/>
                <a:gd name="connsiteX7" fmla="*/ 7514 w 25785"/>
                <a:gd name="connsiteY7" fmla="*/ 5566 h 37940"/>
                <a:gd name="connsiteX8" fmla="*/ 6900 w 25785"/>
                <a:gd name="connsiteY8" fmla="*/ 7345 h 37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785" h="37940">
                  <a:moveTo>
                    <a:pt x="6900" y="7345"/>
                  </a:moveTo>
                  <a:cubicBezTo>
                    <a:pt x="4923" y="13277"/>
                    <a:pt x="2737" y="19209"/>
                    <a:pt x="552" y="25140"/>
                  </a:cubicBezTo>
                  <a:cubicBezTo>
                    <a:pt x="-1196" y="30104"/>
                    <a:pt x="1343" y="35567"/>
                    <a:pt x="6275" y="37420"/>
                  </a:cubicBezTo>
                  <a:cubicBezTo>
                    <a:pt x="7326" y="37732"/>
                    <a:pt x="8409" y="37909"/>
                    <a:pt x="9501" y="37940"/>
                  </a:cubicBezTo>
                  <a:cubicBezTo>
                    <a:pt x="13518" y="37940"/>
                    <a:pt x="17129" y="35453"/>
                    <a:pt x="18555" y="31696"/>
                  </a:cubicBezTo>
                  <a:lnTo>
                    <a:pt x="24902" y="13589"/>
                  </a:lnTo>
                  <a:cubicBezTo>
                    <a:pt x="27119" y="8792"/>
                    <a:pt x="25017" y="3099"/>
                    <a:pt x="20220" y="883"/>
                  </a:cubicBezTo>
                  <a:cubicBezTo>
                    <a:pt x="15422" y="-1334"/>
                    <a:pt x="9730" y="768"/>
                    <a:pt x="7514" y="5566"/>
                  </a:cubicBezTo>
                  <a:cubicBezTo>
                    <a:pt x="7254" y="6138"/>
                    <a:pt x="7045" y="6731"/>
                    <a:pt x="6900" y="7345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5860849F-C642-F948-B332-65C31E7FC0C7}"/>
                </a:ext>
              </a:extLst>
            </p:cNvPr>
            <p:cNvSpPr/>
            <p:nvPr/>
          </p:nvSpPr>
          <p:spPr>
            <a:xfrm>
              <a:off x="8444571" y="2153972"/>
              <a:ext cx="25240" cy="36687"/>
            </a:xfrm>
            <a:custGeom>
              <a:avLst/>
              <a:gdLst>
                <a:gd name="connsiteX0" fmla="*/ 6586 w 25240"/>
                <a:gd name="connsiteY0" fmla="*/ 29925 h 36687"/>
                <a:gd name="connsiteX1" fmla="*/ 15744 w 25240"/>
                <a:gd name="connsiteY1" fmla="*/ 36586 h 36687"/>
                <a:gd name="connsiteX2" fmla="*/ 18657 w 25240"/>
                <a:gd name="connsiteY2" fmla="*/ 36586 h 36687"/>
                <a:gd name="connsiteX3" fmla="*/ 24797 w 25240"/>
                <a:gd name="connsiteY3" fmla="*/ 24618 h 36687"/>
                <a:gd name="connsiteX4" fmla="*/ 18449 w 25240"/>
                <a:gd name="connsiteY4" fmla="*/ 6303 h 36687"/>
                <a:gd name="connsiteX5" fmla="*/ 6358 w 25240"/>
                <a:gd name="connsiteY5" fmla="*/ 548 h 36687"/>
                <a:gd name="connsiteX6" fmla="*/ 6274 w 25240"/>
                <a:gd name="connsiteY6" fmla="*/ 579 h 36687"/>
                <a:gd name="connsiteX7" fmla="*/ 551 w 25240"/>
                <a:gd name="connsiteY7" fmla="*/ 12755 h 36687"/>
                <a:gd name="connsiteX8" fmla="*/ 6586 w 25240"/>
                <a:gd name="connsiteY8" fmla="*/ 29925 h 36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240" h="36687">
                  <a:moveTo>
                    <a:pt x="6586" y="29925"/>
                  </a:moveTo>
                  <a:cubicBezTo>
                    <a:pt x="7887" y="33890"/>
                    <a:pt x="11571" y="36565"/>
                    <a:pt x="15744" y="36586"/>
                  </a:cubicBezTo>
                  <a:cubicBezTo>
                    <a:pt x="16712" y="36721"/>
                    <a:pt x="17690" y="36721"/>
                    <a:pt x="18657" y="36586"/>
                  </a:cubicBezTo>
                  <a:cubicBezTo>
                    <a:pt x="23632" y="34952"/>
                    <a:pt x="26368" y="29613"/>
                    <a:pt x="24797" y="24618"/>
                  </a:cubicBezTo>
                  <a:cubicBezTo>
                    <a:pt x="22716" y="18478"/>
                    <a:pt x="20635" y="12339"/>
                    <a:pt x="18449" y="6303"/>
                  </a:cubicBezTo>
                  <a:cubicBezTo>
                    <a:pt x="16701" y="1370"/>
                    <a:pt x="11280" y="-1200"/>
                    <a:pt x="6358" y="548"/>
                  </a:cubicBezTo>
                  <a:cubicBezTo>
                    <a:pt x="6326" y="559"/>
                    <a:pt x="6305" y="569"/>
                    <a:pt x="6274" y="579"/>
                  </a:cubicBezTo>
                  <a:cubicBezTo>
                    <a:pt x="1352" y="2390"/>
                    <a:pt x="-1197" y="7812"/>
                    <a:pt x="551" y="12755"/>
                  </a:cubicBezTo>
                  <a:cubicBezTo>
                    <a:pt x="2632" y="18062"/>
                    <a:pt x="4713" y="23994"/>
                    <a:pt x="6586" y="29925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E17C1C1E-5413-0A45-83F4-3BC957A87807}"/>
                </a:ext>
              </a:extLst>
            </p:cNvPr>
            <p:cNvSpPr/>
            <p:nvPr/>
          </p:nvSpPr>
          <p:spPr>
            <a:xfrm>
              <a:off x="8465747" y="2227366"/>
              <a:ext cx="22425" cy="37078"/>
            </a:xfrm>
            <a:custGeom>
              <a:avLst/>
              <a:gdLst>
                <a:gd name="connsiteX0" fmla="*/ 187 w 22425"/>
                <a:gd name="connsiteY0" fmla="*/ 10749 h 37078"/>
                <a:gd name="connsiteX1" fmla="*/ 3621 w 22425"/>
                <a:gd name="connsiteY1" fmla="*/ 29169 h 37078"/>
                <a:gd name="connsiteX2" fmla="*/ 12987 w 22425"/>
                <a:gd name="connsiteY2" fmla="*/ 37078 h 37078"/>
                <a:gd name="connsiteX3" fmla="*/ 14548 w 22425"/>
                <a:gd name="connsiteY3" fmla="*/ 37078 h 37078"/>
                <a:gd name="connsiteX4" fmla="*/ 22352 w 22425"/>
                <a:gd name="connsiteY4" fmla="*/ 26671 h 37078"/>
                <a:gd name="connsiteX5" fmla="*/ 18814 w 22425"/>
                <a:gd name="connsiteY5" fmla="*/ 7628 h 37078"/>
                <a:gd name="connsiteX6" fmla="*/ 7627 w 22425"/>
                <a:gd name="connsiteY6" fmla="*/ 187 h 37078"/>
                <a:gd name="connsiteX7" fmla="*/ 187 w 22425"/>
                <a:gd name="connsiteY7" fmla="*/ 11374 h 37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425" h="37078">
                  <a:moveTo>
                    <a:pt x="187" y="10749"/>
                  </a:moveTo>
                  <a:cubicBezTo>
                    <a:pt x="1436" y="16785"/>
                    <a:pt x="2581" y="22925"/>
                    <a:pt x="3621" y="29169"/>
                  </a:cubicBezTo>
                  <a:cubicBezTo>
                    <a:pt x="4349" y="33768"/>
                    <a:pt x="8335" y="37130"/>
                    <a:pt x="12987" y="37078"/>
                  </a:cubicBezTo>
                  <a:lnTo>
                    <a:pt x="14548" y="37078"/>
                  </a:lnTo>
                  <a:cubicBezTo>
                    <a:pt x="19522" y="36276"/>
                    <a:pt x="22977" y="31677"/>
                    <a:pt x="22352" y="26671"/>
                  </a:cubicBezTo>
                  <a:cubicBezTo>
                    <a:pt x="21311" y="20219"/>
                    <a:pt x="20063" y="13871"/>
                    <a:pt x="18814" y="7628"/>
                  </a:cubicBezTo>
                  <a:cubicBezTo>
                    <a:pt x="17784" y="2487"/>
                    <a:pt x="12768" y="-843"/>
                    <a:pt x="7627" y="187"/>
                  </a:cubicBezTo>
                  <a:cubicBezTo>
                    <a:pt x="2487" y="1217"/>
                    <a:pt x="-843" y="6233"/>
                    <a:pt x="187" y="11374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FD26F0B4-BA7F-B042-951E-7BA72EDC5114}"/>
                </a:ext>
              </a:extLst>
            </p:cNvPr>
            <p:cNvSpPr/>
            <p:nvPr/>
          </p:nvSpPr>
          <p:spPr>
            <a:xfrm>
              <a:off x="8413363" y="2084081"/>
              <a:ext cx="27843" cy="35921"/>
            </a:xfrm>
            <a:custGeom>
              <a:avLst/>
              <a:gdLst>
                <a:gd name="connsiteX0" fmla="*/ 5014 w 27843"/>
                <a:gd name="connsiteY0" fmla="*/ 1164 h 35921"/>
                <a:gd name="connsiteX1" fmla="*/ 1112 w 27843"/>
                <a:gd name="connsiteY1" fmla="*/ 13974 h 35921"/>
                <a:gd name="connsiteX2" fmla="*/ 1164 w 27843"/>
                <a:gd name="connsiteY2" fmla="*/ 14068 h 35921"/>
                <a:gd name="connsiteX3" fmla="*/ 9801 w 27843"/>
                <a:gd name="connsiteY3" fmla="*/ 30614 h 35921"/>
                <a:gd name="connsiteX4" fmla="*/ 18334 w 27843"/>
                <a:gd name="connsiteY4" fmla="*/ 35921 h 35921"/>
                <a:gd name="connsiteX5" fmla="*/ 22497 w 27843"/>
                <a:gd name="connsiteY5" fmla="*/ 34985 h 35921"/>
                <a:gd name="connsiteX6" fmla="*/ 26867 w 27843"/>
                <a:gd name="connsiteY6" fmla="*/ 22185 h 35921"/>
                <a:gd name="connsiteX7" fmla="*/ 17918 w 27843"/>
                <a:gd name="connsiteY7" fmla="*/ 5014 h 35921"/>
                <a:gd name="connsiteX8" fmla="*/ 5108 w 27843"/>
                <a:gd name="connsiteY8" fmla="*/ 1112 h 35921"/>
                <a:gd name="connsiteX9" fmla="*/ 5014 w 27843"/>
                <a:gd name="connsiteY9" fmla="*/ 1164 h 35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843" h="35921">
                  <a:moveTo>
                    <a:pt x="5014" y="1164"/>
                  </a:moveTo>
                  <a:cubicBezTo>
                    <a:pt x="404" y="3620"/>
                    <a:pt x="-1344" y="9364"/>
                    <a:pt x="1112" y="13974"/>
                  </a:cubicBezTo>
                  <a:cubicBezTo>
                    <a:pt x="1133" y="14006"/>
                    <a:pt x="1143" y="14037"/>
                    <a:pt x="1164" y="14068"/>
                  </a:cubicBezTo>
                  <a:cubicBezTo>
                    <a:pt x="4078" y="19479"/>
                    <a:pt x="6991" y="24474"/>
                    <a:pt x="9801" y="30614"/>
                  </a:cubicBezTo>
                  <a:cubicBezTo>
                    <a:pt x="11414" y="33851"/>
                    <a:pt x="14713" y="35911"/>
                    <a:pt x="18334" y="35921"/>
                  </a:cubicBezTo>
                  <a:cubicBezTo>
                    <a:pt x="19770" y="35901"/>
                    <a:pt x="21186" y="35578"/>
                    <a:pt x="22497" y="34985"/>
                  </a:cubicBezTo>
                  <a:cubicBezTo>
                    <a:pt x="27232" y="32654"/>
                    <a:pt x="29188" y="26930"/>
                    <a:pt x="26867" y="22185"/>
                  </a:cubicBezTo>
                  <a:cubicBezTo>
                    <a:pt x="23954" y="16357"/>
                    <a:pt x="20936" y="10530"/>
                    <a:pt x="17918" y="5014"/>
                  </a:cubicBezTo>
                  <a:cubicBezTo>
                    <a:pt x="15462" y="404"/>
                    <a:pt x="9718" y="-1344"/>
                    <a:pt x="5108" y="1112"/>
                  </a:cubicBezTo>
                  <a:cubicBezTo>
                    <a:pt x="5077" y="1133"/>
                    <a:pt x="5046" y="1143"/>
                    <a:pt x="5014" y="1164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8BE7BD80-97EC-2A48-99EF-0662BD3F862C}"/>
                </a:ext>
              </a:extLst>
            </p:cNvPr>
            <p:cNvSpPr/>
            <p:nvPr/>
          </p:nvSpPr>
          <p:spPr>
            <a:xfrm>
              <a:off x="8474219" y="2379033"/>
              <a:ext cx="20436" cy="37343"/>
            </a:xfrm>
            <a:custGeom>
              <a:avLst/>
              <a:gdLst>
                <a:gd name="connsiteX0" fmla="*/ 9614 w 20436"/>
                <a:gd name="connsiteY0" fmla="*/ 37239 h 37343"/>
                <a:gd name="connsiteX1" fmla="*/ 19083 w 20436"/>
                <a:gd name="connsiteY1" fmla="*/ 28602 h 37343"/>
                <a:gd name="connsiteX2" fmla="*/ 20436 w 20436"/>
                <a:gd name="connsiteY2" fmla="*/ 9246 h 37343"/>
                <a:gd name="connsiteX3" fmla="*/ 10540 w 20436"/>
                <a:gd name="connsiteY3" fmla="*/ 5 h 37343"/>
                <a:gd name="connsiteX4" fmla="*/ 1393 w 20436"/>
                <a:gd name="connsiteY4" fmla="*/ 8206 h 37343"/>
                <a:gd name="connsiteX5" fmla="*/ 40 w 20436"/>
                <a:gd name="connsiteY5" fmla="*/ 26937 h 37343"/>
                <a:gd name="connsiteX6" fmla="*/ 8708 w 20436"/>
                <a:gd name="connsiteY6" fmla="*/ 37333 h 37343"/>
                <a:gd name="connsiteX7" fmla="*/ 8781 w 20436"/>
                <a:gd name="connsiteY7" fmla="*/ 37344 h 37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436" h="37343">
                  <a:moveTo>
                    <a:pt x="9614" y="37239"/>
                  </a:moveTo>
                  <a:cubicBezTo>
                    <a:pt x="14536" y="37260"/>
                    <a:pt x="18646" y="33504"/>
                    <a:pt x="19083" y="28602"/>
                  </a:cubicBezTo>
                  <a:cubicBezTo>
                    <a:pt x="19604" y="22046"/>
                    <a:pt x="20020" y="15698"/>
                    <a:pt x="20436" y="9246"/>
                  </a:cubicBezTo>
                  <a:cubicBezTo>
                    <a:pt x="20259" y="3960"/>
                    <a:pt x="15826" y="-172"/>
                    <a:pt x="10540" y="5"/>
                  </a:cubicBezTo>
                  <a:cubicBezTo>
                    <a:pt x="5909" y="162"/>
                    <a:pt x="2059" y="3617"/>
                    <a:pt x="1393" y="8206"/>
                  </a:cubicBezTo>
                  <a:cubicBezTo>
                    <a:pt x="1393" y="14450"/>
                    <a:pt x="560" y="20693"/>
                    <a:pt x="40" y="26937"/>
                  </a:cubicBezTo>
                  <a:cubicBezTo>
                    <a:pt x="-439" y="32203"/>
                    <a:pt x="3443" y="36855"/>
                    <a:pt x="8708" y="37333"/>
                  </a:cubicBezTo>
                  <a:cubicBezTo>
                    <a:pt x="8729" y="37344"/>
                    <a:pt x="8760" y="37344"/>
                    <a:pt x="8781" y="37344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11D45E15-B741-084D-8033-0640E648A114}"/>
                </a:ext>
              </a:extLst>
            </p:cNvPr>
            <p:cNvSpPr/>
            <p:nvPr/>
          </p:nvSpPr>
          <p:spPr>
            <a:xfrm>
              <a:off x="9720585" y="3437081"/>
              <a:ext cx="33805" cy="30236"/>
            </a:xfrm>
            <a:custGeom>
              <a:avLst/>
              <a:gdLst>
                <a:gd name="connsiteX0" fmla="*/ 18751 w 33805"/>
                <a:gd name="connsiteY0" fmla="*/ 1723 h 30236"/>
                <a:gd name="connsiteX1" fmla="*/ 3871 w 33805"/>
                <a:gd name="connsiteY1" fmla="*/ 13066 h 30236"/>
                <a:gd name="connsiteX2" fmla="*/ 1831 w 33805"/>
                <a:gd name="connsiteY2" fmla="*/ 26303 h 30236"/>
                <a:gd name="connsiteX3" fmla="*/ 1893 w 33805"/>
                <a:gd name="connsiteY3" fmla="*/ 26386 h 30236"/>
                <a:gd name="connsiteX4" fmla="*/ 9490 w 33805"/>
                <a:gd name="connsiteY4" fmla="*/ 30236 h 30236"/>
                <a:gd name="connsiteX5" fmla="*/ 15214 w 33805"/>
                <a:gd name="connsiteY5" fmla="*/ 28467 h 30236"/>
                <a:gd name="connsiteX6" fmla="*/ 30614 w 33805"/>
                <a:gd name="connsiteY6" fmla="*/ 16708 h 30236"/>
                <a:gd name="connsiteX7" fmla="*/ 31363 w 33805"/>
                <a:gd name="connsiteY7" fmla="*/ 3190 h 30236"/>
                <a:gd name="connsiteX8" fmla="*/ 18751 w 33805"/>
                <a:gd name="connsiteY8" fmla="*/ 1723 h 30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805" h="30236">
                  <a:moveTo>
                    <a:pt x="18751" y="1723"/>
                  </a:moveTo>
                  <a:cubicBezTo>
                    <a:pt x="13964" y="5573"/>
                    <a:pt x="8969" y="9319"/>
                    <a:pt x="3871" y="13066"/>
                  </a:cubicBezTo>
                  <a:cubicBezTo>
                    <a:pt x="-344" y="16156"/>
                    <a:pt x="-1259" y="22088"/>
                    <a:pt x="1831" y="26303"/>
                  </a:cubicBezTo>
                  <a:cubicBezTo>
                    <a:pt x="1851" y="26334"/>
                    <a:pt x="1872" y="26354"/>
                    <a:pt x="1893" y="26386"/>
                  </a:cubicBezTo>
                  <a:cubicBezTo>
                    <a:pt x="3662" y="28810"/>
                    <a:pt x="6482" y="30247"/>
                    <a:pt x="9490" y="30236"/>
                  </a:cubicBezTo>
                  <a:cubicBezTo>
                    <a:pt x="11540" y="30257"/>
                    <a:pt x="13538" y="29643"/>
                    <a:pt x="15214" y="28467"/>
                  </a:cubicBezTo>
                  <a:cubicBezTo>
                    <a:pt x="20417" y="24617"/>
                    <a:pt x="25620" y="20662"/>
                    <a:pt x="30614" y="16708"/>
                  </a:cubicBezTo>
                  <a:cubicBezTo>
                    <a:pt x="34558" y="13180"/>
                    <a:pt x="34892" y="7124"/>
                    <a:pt x="31363" y="3190"/>
                  </a:cubicBezTo>
                  <a:cubicBezTo>
                    <a:pt x="28137" y="-421"/>
                    <a:pt x="22716" y="-1046"/>
                    <a:pt x="18751" y="1723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4065B467-1D0A-1247-990B-4C00B536AFA9}"/>
                </a:ext>
              </a:extLst>
            </p:cNvPr>
            <p:cNvSpPr/>
            <p:nvPr/>
          </p:nvSpPr>
          <p:spPr>
            <a:xfrm>
              <a:off x="9901654" y="3190636"/>
              <a:ext cx="25126" cy="37170"/>
            </a:xfrm>
            <a:custGeom>
              <a:avLst/>
              <a:gdLst>
                <a:gd name="connsiteX0" fmla="*/ 6574 w 25126"/>
                <a:gd name="connsiteY0" fmla="*/ 7156 h 37170"/>
                <a:gd name="connsiteX1" fmla="*/ 539 w 25126"/>
                <a:gd name="connsiteY1" fmla="*/ 24847 h 37170"/>
                <a:gd name="connsiteX2" fmla="*/ 6366 w 25126"/>
                <a:gd name="connsiteY2" fmla="*/ 37023 h 37170"/>
                <a:gd name="connsiteX3" fmla="*/ 9592 w 25126"/>
                <a:gd name="connsiteY3" fmla="*/ 37023 h 37170"/>
                <a:gd name="connsiteX4" fmla="*/ 18541 w 25126"/>
                <a:gd name="connsiteY4" fmla="*/ 30675 h 37170"/>
                <a:gd name="connsiteX5" fmla="*/ 24681 w 25126"/>
                <a:gd name="connsiteY5" fmla="*/ 12359 h 37170"/>
                <a:gd name="connsiteX6" fmla="*/ 18489 w 25126"/>
                <a:gd name="connsiteY6" fmla="*/ 444 h 37170"/>
                <a:gd name="connsiteX7" fmla="*/ 6574 w 25126"/>
                <a:gd name="connsiteY7" fmla="*/ 6636 h 37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126" h="37170">
                  <a:moveTo>
                    <a:pt x="6574" y="7156"/>
                  </a:moveTo>
                  <a:cubicBezTo>
                    <a:pt x="4701" y="12984"/>
                    <a:pt x="2724" y="18915"/>
                    <a:pt x="539" y="24847"/>
                  </a:cubicBezTo>
                  <a:cubicBezTo>
                    <a:pt x="-1199" y="29821"/>
                    <a:pt x="1403" y="35253"/>
                    <a:pt x="6366" y="37023"/>
                  </a:cubicBezTo>
                  <a:cubicBezTo>
                    <a:pt x="7428" y="37220"/>
                    <a:pt x="8531" y="37220"/>
                    <a:pt x="9592" y="37023"/>
                  </a:cubicBezTo>
                  <a:cubicBezTo>
                    <a:pt x="13619" y="37023"/>
                    <a:pt x="17210" y="34483"/>
                    <a:pt x="18541" y="30675"/>
                  </a:cubicBezTo>
                  <a:cubicBezTo>
                    <a:pt x="20727" y="24535"/>
                    <a:pt x="22808" y="18395"/>
                    <a:pt x="24681" y="12359"/>
                  </a:cubicBezTo>
                  <a:cubicBezTo>
                    <a:pt x="26263" y="7364"/>
                    <a:pt x="23495" y="2026"/>
                    <a:pt x="18489" y="444"/>
                  </a:cubicBezTo>
                  <a:cubicBezTo>
                    <a:pt x="13495" y="-1138"/>
                    <a:pt x="8156" y="1641"/>
                    <a:pt x="6574" y="6636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4D47D48C-EEA5-4B40-BE16-7DBAE360CF94}"/>
                </a:ext>
              </a:extLst>
            </p:cNvPr>
            <p:cNvSpPr/>
            <p:nvPr/>
          </p:nvSpPr>
          <p:spPr>
            <a:xfrm>
              <a:off x="9931697" y="3041175"/>
              <a:ext cx="19931" cy="38400"/>
            </a:xfrm>
            <a:custGeom>
              <a:avLst/>
              <a:gdLst>
                <a:gd name="connsiteX0" fmla="*/ 18989 w 19931"/>
                <a:gd name="connsiteY0" fmla="*/ 29139 h 38400"/>
                <a:gd name="connsiteX1" fmla="*/ 19926 w 19931"/>
                <a:gd name="connsiteY1" fmla="*/ 9783 h 38400"/>
                <a:gd name="connsiteX2" fmla="*/ 10778 w 19931"/>
                <a:gd name="connsiteY2" fmla="*/ 1 h 38400"/>
                <a:gd name="connsiteX3" fmla="*/ 10664 w 19931"/>
                <a:gd name="connsiteY3" fmla="*/ 1 h 38400"/>
                <a:gd name="connsiteX4" fmla="*/ 882 w 19931"/>
                <a:gd name="connsiteY4" fmla="*/ 9158 h 38400"/>
                <a:gd name="connsiteX5" fmla="*/ 49 w 19931"/>
                <a:gd name="connsiteY5" fmla="*/ 27994 h 38400"/>
                <a:gd name="connsiteX6" fmla="*/ 8520 w 19931"/>
                <a:gd name="connsiteY6" fmla="*/ 38369 h 38400"/>
                <a:gd name="connsiteX7" fmla="*/ 8895 w 19931"/>
                <a:gd name="connsiteY7" fmla="*/ 38400 h 38400"/>
                <a:gd name="connsiteX8" fmla="*/ 9519 w 19931"/>
                <a:gd name="connsiteY8" fmla="*/ 38400 h 38400"/>
                <a:gd name="connsiteX9" fmla="*/ 18989 w 19931"/>
                <a:gd name="connsiteY9" fmla="*/ 29139 h 38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931" h="38400">
                  <a:moveTo>
                    <a:pt x="18989" y="29139"/>
                  </a:moveTo>
                  <a:cubicBezTo>
                    <a:pt x="19405" y="22614"/>
                    <a:pt x="19717" y="16162"/>
                    <a:pt x="19926" y="9783"/>
                  </a:cubicBezTo>
                  <a:cubicBezTo>
                    <a:pt x="20102" y="4559"/>
                    <a:pt x="16002" y="178"/>
                    <a:pt x="10778" y="1"/>
                  </a:cubicBezTo>
                  <a:cubicBezTo>
                    <a:pt x="10737" y="1"/>
                    <a:pt x="10705" y="1"/>
                    <a:pt x="10664" y="1"/>
                  </a:cubicBezTo>
                  <a:cubicBezTo>
                    <a:pt x="5471" y="-62"/>
                    <a:pt x="1163" y="3976"/>
                    <a:pt x="882" y="9158"/>
                  </a:cubicBezTo>
                  <a:cubicBezTo>
                    <a:pt x="882" y="15298"/>
                    <a:pt x="882" y="21542"/>
                    <a:pt x="49" y="27994"/>
                  </a:cubicBezTo>
                  <a:cubicBezTo>
                    <a:pt x="-481" y="33197"/>
                    <a:pt x="3317" y="37838"/>
                    <a:pt x="8520" y="38369"/>
                  </a:cubicBezTo>
                  <a:cubicBezTo>
                    <a:pt x="8645" y="38380"/>
                    <a:pt x="8770" y="38390"/>
                    <a:pt x="8895" y="38400"/>
                  </a:cubicBezTo>
                  <a:lnTo>
                    <a:pt x="9519" y="38400"/>
                  </a:lnTo>
                  <a:cubicBezTo>
                    <a:pt x="14670" y="38400"/>
                    <a:pt x="18874" y="34290"/>
                    <a:pt x="18989" y="29139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C79EE188-5B64-0848-B54F-CF2E46EEE7A0}"/>
                </a:ext>
              </a:extLst>
            </p:cNvPr>
            <p:cNvSpPr/>
            <p:nvPr/>
          </p:nvSpPr>
          <p:spPr>
            <a:xfrm>
              <a:off x="9930124" y="2964740"/>
              <a:ext cx="20605" cy="38348"/>
            </a:xfrm>
            <a:custGeom>
              <a:avLst/>
              <a:gdLst>
                <a:gd name="connsiteX0" fmla="*/ 62 w 20605"/>
                <a:gd name="connsiteY0" fmla="*/ 10667 h 38348"/>
                <a:gd name="connsiteX1" fmla="*/ 1518 w 20605"/>
                <a:gd name="connsiteY1" fmla="*/ 29399 h 38348"/>
                <a:gd name="connsiteX2" fmla="*/ 10988 w 20605"/>
                <a:gd name="connsiteY2" fmla="*/ 38348 h 38348"/>
                <a:gd name="connsiteX3" fmla="*/ 11612 w 20605"/>
                <a:gd name="connsiteY3" fmla="*/ 38348 h 38348"/>
                <a:gd name="connsiteX4" fmla="*/ 20593 w 20605"/>
                <a:gd name="connsiteY4" fmla="*/ 28421 h 38348"/>
                <a:gd name="connsiteX5" fmla="*/ 20562 w 20605"/>
                <a:gd name="connsiteY5" fmla="*/ 27942 h 38348"/>
                <a:gd name="connsiteX6" fmla="*/ 19001 w 20605"/>
                <a:gd name="connsiteY6" fmla="*/ 8690 h 38348"/>
                <a:gd name="connsiteX7" fmla="*/ 8782 w 20605"/>
                <a:gd name="connsiteY7" fmla="*/ 32 h 38348"/>
                <a:gd name="connsiteX8" fmla="*/ 8595 w 20605"/>
                <a:gd name="connsiteY8" fmla="*/ 53 h 38348"/>
                <a:gd name="connsiteX9" fmla="*/ 51 w 20605"/>
                <a:gd name="connsiteY9" fmla="*/ 10553 h 38348"/>
                <a:gd name="connsiteX10" fmla="*/ 62 w 20605"/>
                <a:gd name="connsiteY10" fmla="*/ 10667 h 38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605" h="38348">
                  <a:moveTo>
                    <a:pt x="62" y="10667"/>
                  </a:moveTo>
                  <a:cubicBezTo>
                    <a:pt x="62" y="16599"/>
                    <a:pt x="1102" y="22843"/>
                    <a:pt x="1518" y="29399"/>
                  </a:cubicBezTo>
                  <a:cubicBezTo>
                    <a:pt x="1841" y="34404"/>
                    <a:pt x="5972" y="38307"/>
                    <a:pt x="10988" y="38348"/>
                  </a:cubicBezTo>
                  <a:lnTo>
                    <a:pt x="11612" y="38348"/>
                  </a:lnTo>
                  <a:cubicBezTo>
                    <a:pt x="16836" y="38088"/>
                    <a:pt x="20863" y="33645"/>
                    <a:pt x="20593" y="28421"/>
                  </a:cubicBezTo>
                  <a:cubicBezTo>
                    <a:pt x="20593" y="28254"/>
                    <a:pt x="20583" y="28098"/>
                    <a:pt x="20562" y="27942"/>
                  </a:cubicBezTo>
                  <a:cubicBezTo>
                    <a:pt x="20562" y="21282"/>
                    <a:pt x="19625" y="14830"/>
                    <a:pt x="19001" y="8690"/>
                  </a:cubicBezTo>
                  <a:cubicBezTo>
                    <a:pt x="18563" y="3477"/>
                    <a:pt x="13996" y="-395"/>
                    <a:pt x="8782" y="32"/>
                  </a:cubicBezTo>
                  <a:cubicBezTo>
                    <a:pt x="8719" y="42"/>
                    <a:pt x="8657" y="42"/>
                    <a:pt x="8595" y="53"/>
                  </a:cubicBezTo>
                  <a:cubicBezTo>
                    <a:pt x="3340" y="594"/>
                    <a:pt x="-490" y="5298"/>
                    <a:pt x="51" y="10553"/>
                  </a:cubicBezTo>
                  <a:cubicBezTo>
                    <a:pt x="51" y="10595"/>
                    <a:pt x="62" y="10626"/>
                    <a:pt x="62" y="10667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1EE9253D-7BCC-FE42-A51D-2F0D28C9A224}"/>
                </a:ext>
              </a:extLst>
            </p:cNvPr>
            <p:cNvSpPr/>
            <p:nvPr/>
          </p:nvSpPr>
          <p:spPr>
            <a:xfrm>
              <a:off x="9517429" y="3544800"/>
              <a:ext cx="36826" cy="25336"/>
            </a:xfrm>
            <a:custGeom>
              <a:avLst/>
              <a:gdLst>
                <a:gd name="connsiteX0" fmla="*/ 24503 w 36826"/>
                <a:gd name="connsiteY0" fmla="*/ 565 h 25336"/>
                <a:gd name="connsiteX1" fmla="*/ 6708 w 36826"/>
                <a:gd name="connsiteY1" fmla="*/ 6809 h 25336"/>
                <a:gd name="connsiteX2" fmla="*/ 412 w 36826"/>
                <a:gd name="connsiteY2" fmla="*/ 18631 h 25336"/>
                <a:gd name="connsiteX3" fmla="*/ 9725 w 36826"/>
                <a:gd name="connsiteY3" fmla="*/ 25333 h 25336"/>
                <a:gd name="connsiteX4" fmla="*/ 30538 w 36826"/>
                <a:gd name="connsiteY4" fmla="*/ 18464 h 25336"/>
                <a:gd name="connsiteX5" fmla="*/ 30538 w 36826"/>
                <a:gd name="connsiteY5" fmla="*/ 18464 h 25336"/>
                <a:gd name="connsiteX6" fmla="*/ 36262 w 36826"/>
                <a:gd name="connsiteY6" fmla="*/ 6289 h 25336"/>
                <a:gd name="connsiteX7" fmla="*/ 24086 w 36826"/>
                <a:gd name="connsiteY7" fmla="*/ 565 h 25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826" h="25336">
                  <a:moveTo>
                    <a:pt x="24503" y="565"/>
                  </a:moveTo>
                  <a:lnTo>
                    <a:pt x="6708" y="6809"/>
                  </a:lnTo>
                  <a:cubicBezTo>
                    <a:pt x="1702" y="8339"/>
                    <a:pt x="-1107" y="13625"/>
                    <a:pt x="412" y="18631"/>
                  </a:cubicBezTo>
                  <a:cubicBezTo>
                    <a:pt x="1661" y="22700"/>
                    <a:pt x="5469" y="25447"/>
                    <a:pt x="9725" y="25333"/>
                  </a:cubicBezTo>
                  <a:cubicBezTo>
                    <a:pt x="10766" y="25333"/>
                    <a:pt x="29913" y="18777"/>
                    <a:pt x="30538" y="18464"/>
                  </a:cubicBezTo>
                  <a:lnTo>
                    <a:pt x="30538" y="18464"/>
                  </a:lnTo>
                  <a:cubicBezTo>
                    <a:pt x="35481" y="16685"/>
                    <a:pt x="38041" y="11232"/>
                    <a:pt x="36262" y="6289"/>
                  </a:cubicBezTo>
                  <a:cubicBezTo>
                    <a:pt x="34482" y="1346"/>
                    <a:pt x="29029" y="-1214"/>
                    <a:pt x="24086" y="565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6F97FCE5-D513-9643-AD43-A01E85E6D35B}"/>
                </a:ext>
              </a:extLst>
            </p:cNvPr>
            <p:cNvSpPr/>
            <p:nvPr/>
          </p:nvSpPr>
          <p:spPr>
            <a:xfrm>
              <a:off x="9370102" y="3585977"/>
              <a:ext cx="38113" cy="22877"/>
            </a:xfrm>
            <a:custGeom>
              <a:avLst/>
              <a:gdLst>
                <a:gd name="connsiteX0" fmla="*/ 26663 w 38113"/>
                <a:gd name="connsiteY0" fmla="*/ 181 h 22877"/>
                <a:gd name="connsiteX1" fmla="*/ 8140 w 38113"/>
                <a:gd name="connsiteY1" fmla="*/ 4032 h 22877"/>
                <a:gd name="connsiteX2" fmla="*/ 96 w 38113"/>
                <a:gd name="connsiteY2" fmla="*/ 14740 h 22877"/>
                <a:gd name="connsiteX3" fmla="*/ 9910 w 38113"/>
                <a:gd name="connsiteY3" fmla="*/ 22867 h 22877"/>
                <a:gd name="connsiteX4" fmla="*/ 11783 w 38113"/>
                <a:gd name="connsiteY4" fmla="*/ 22867 h 22877"/>
                <a:gd name="connsiteX5" fmla="*/ 30618 w 38113"/>
                <a:gd name="connsiteY5" fmla="*/ 19017 h 22877"/>
                <a:gd name="connsiteX6" fmla="*/ 37902 w 38113"/>
                <a:gd name="connsiteY6" fmla="*/ 7778 h 22877"/>
                <a:gd name="connsiteX7" fmla="*/ 37902 w 38113"/>
                <a:gd name="connsiteY7" fmla="*/ 7778 h 22877"/>
                <a:gd name="connsiteX8" fmla="*/ 26695 w 38113"/>
                <a:gd name="connsiteY8" fmla="*/ 171 h 22877"/>
                <a:gd name="connsiteX9" fmla="*/ 26663 w 38113"/>
                <a:gd name="connsiteY9" fmla="*/ 181 h 22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113" h="22877">
                  <a:moveTo>
                    <a:pt x="26663" y="181"/>
                  </a:moveTo>
                  <a:lnTo>
                    <a:pt x="8140" y="4032"/>
                  </a:lnTo>
                  <a:cubicBezTo>
                    <a:pt x="2958" y="4770"/>
                    <a:pt x="-643" y="9557"/>
                    <a:pt x="96" y="14740"/>
                  </a:cubicBezTo>
                  <a:cubicBezTo>
                    <a:pt x="783" y="19568"/>
                    <a:pt x="5029" y="23096"/>
                    <a:pt x="9910" y="22867"/>
                  </a:cubicBezTo>
                  <a:lnTo>
                    <a:pt x="11783" y="22867"/>
                  </a:lnTo>
                  <a:lnTo>
                    <a:pt x="30618" y="19017"/>
                  </a:lnTo>
                  <a:cubicBezTo>
                    <a:pt x="35738" y="17924"/>
                    <a:pt x="38995" y="12898"/>
                    <a:pt x="37902" y="7778"/>
                  </a:cubicBezTo>
                  <a:cubicBezTo>
                    <a:pt x="37902" y="7778"/>
                    <a:pt x="37902" y="7778"/>
                    <a:pt x="37902" y="7778"/>
                  </a:cubicBezTo>
                  <a:cubicBezTo>
                    <a:pt x="36913" y="2585"/>
                    <a:pt x="31898" y="-818"/>
                    <a:pt x="26695" y="171"/>
                  </a:cubicBezTo>
                  <a:cubicBezTo>
                    <a:pt x="26684" y="181"/>
                    <a:pt x="26674" y="181"/>
                    <a:pt x="26663" y="181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93FECB6-53DA-5243-9D93-F5888A739E01}"/>
                </a:ext>
              </a:extLst>
            </p:cNvPr>
            <p:cNvSpPr/>
            <p:nvPr/>
          </p:nvSpPr>
          <p:spPr>
            <a:xfrm>
              <a:off x="9219381" y="3609468"/>
              <a:ext cx="37526" cy="20929"/>
            </a:xfrm>
            <a:custGeom>
              <a:avLst/>
              <a:gdLst>
                <a:gd name="connsiteX0" fmla="*/ 9013 w 37526"/>
                <a:gd name="connsiteY0" fmla="*/ 1978 h 20929"/>
                <a:gd name="connsiteX1" fmla="*/ 12 w 37526"/>
                <a:gd name="connsiteY1" fmla="*/ 11916 h 20929"/>
                <a:gd name="connsiteX2" fmla="*/ 9949 w 37526"/>
                <a:gd name="connsiteY2" fmla="*/ 20917 h 20929"/>
                <a:gd name="connsiteX3" fmla="*/ 10886 w 37526"/>
                <a:gd name="connsiteY3" fmla="*/ 20917 h 20929"/>
                <a:gd name="connsiteX4" fmla="*/ 29930 w 37526"/>
                <a:gd name="connsiteY4" fmla="*/ 18940 h 20929"/>
                <a:gd name="connsiteX5" fmla="*/ 37318 w 37526"/>
                <a:gd name="connsiteY5" fmla="*/ 7587 h 20929"/>
                <a:gd name="connsiteX6" fmla="*/ 27848 w 37526"/>
                <a:gd name="connsiteY6" fmla="*/ 0 h 20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526" h="20929">
                  <a:moveTo>
                    <a:pt x="9013" y="1978"/>
                  </a:moveTo>
                  <a:cubicBezTo>
                    <a:pt x="3779" y="2238"/>
                    <a:pt x="-248" y="6681"/>
                    <a:pt x="12" y="11916"/>
                  </a:cubicBezTo>
                  <a:cubicBezTo>
                    <a:pt x="272" y="17150"/>
                    <a:pt x="4715" y="21177"/>
                    <a:pt x="9949" y="20917"/>
                  </a:cubicBezTo>
                  <a:lnTo>
                    <a:pt x="10886" y="20917"/>
                  </a:lnTo>
                  <a:lnTo>
                    <a:pt x="29930" y="18940"/>
                  </a:lnTo>
                  <a:cubicBezTo>
                    <a:pt x="35101" y="17847"/>
                    <a:pt x="38410" y="12759"/>
                    <a:pt x="37318" y="7587"/>
                  </a:cubicBezTo>
                  <a:cubicBezTo>
                    <a:pt x="36371" y="3133"/>
                    <a:pt x="32406" y="-41"/>
                    <a:pt x="27848" y="0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7349E44F-F623-D04C-AFF3-C3DCADCE8E9C}"/>
                </a:ext>
              </a:extLst>
            </p:cNvPr>
            <p:cNvSpPr/>
            <p:nvPr/>
          </p:nvSpPr>
          <p:spPr>
            <a:xfrm>
              <a:off x="9294813" y="3599782"/>
              <a:ext cx="38484" cy="21679"/>
            </a:xfrm>
            <a:custGeom>
              <a:avLst/>
              <a:gdLst>
                <a:gd name="connsiteX0" fmla="*/ 8818 w 38484"/>
                <a:gd name="connsiteY0" fmla="*/ 2715 h 21679"/>
                <a:gd name="connsiteX1" fmla="*/ 25 w 38484"/>
                <a:gd name="connsiteY1" fmla="*/ 12861 h 21679"/>
                <a:gd name="connsiteX2" fmla="*/ 10170 w 38484"/>
                <a:gd name="connsiteY2" fmla="*/ 21654 h 21679"/>
                <a:gd name="connsiteX3" fmla="*/ 11523 w 38484"/>
                <a:gd name="connsiteY3" fmla="*/ 21654 h 21679"/>
                <a:gd name="connsiteX4" fmla="*/ 30463 w 38484"/>
                <a:gd name="connsiteY4" fmla="*/ 18845 h 21679"/>
                <a:gd name="connsiteX5" fmla="*/ 38371 w 38484"/>
                <a:gd name="connsiteY5" fmla="*/ 8022 h 21679"/>
                <a:gd name="connsiteX6" fmla="*/ 27549 w 38484"/>
                <a:gd name="connsiteY6" fmla="*/ 113 h 21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484" h="21679">
                  <a:moveTo>
                    <a:pt x="8818" y="2715"/>
                  </a:moveTo>
                  <a:cubicBezTo>
                    <a:pt x="3583" y="3089"/>
                    <a:pt x="-350" y="7627"/>
                    <a:pt x="25" y="12861"/>
                  </a:cubicBezTo>
                  <a:cubicBezTo>
                    <a:pt x="399" y="18096"/>
                    <a:pt x="4936" y="22029"/>
                    <a:pt x="10170" y="21654"/>
                  </a:cubicBezTo>
                  <a:lnTo>
                    <a:pt x="11523" y="21654"/>
                  </a:lnTo>
                  <a:cubicBezTo>
                    <a:pt x="17871" y="20822"/>
                    <a:pt x="24219" y="19885"/>
                    <a:pt x="30463" y="18845"/>
                  </a:cubicBezTo>
                  <a:cubicBezTo>
                    <a:pt x="35635" y="18043"/>
                    <a:pt x="39172" y="13194"/>
                    <a:pt x="38371" y="8022"/>
                  </a:cubicBezTo>
                  <a:cubicBezTo>
                    <a:pt x="37570" y="2850"/>
                    <a:pt x="32721" y="-688"/>
                    <a:pt x="27549" y="113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6C3683EE-C11B-4242-8AAC-2DA6AB83B3A3}"/>
                </a:ext>
              </a:extLst>
            </p:cNvPr>
            <p:cNvSpPr/>
            <p:nvPr/>
          </p:nvSpPr>
          <p:spPr>
            <a:xfrm>
              <a:off x="9921866" y="3117646"/>
              <a:ext cx="22405" cy="37167"/>
            </a:xfrm>
            <a:custGeom>
              <a:avLst/>
              <a:gdLst>
                <a:gd name="connsiteX0" fmla="*/ 9568 w 22405"/>
                <a:gd name="connsiteY0" fmla="*/ 37167 h 37167"/>
                <a:gd name="connsiteX1" fmla="*/ 18933 w 22405"/>
                <a:gd name="connsiteY1" fmla="*/ 29467 h 37167"/>
                <a:gd name="connsiteX2" fmla="*/ 22368 w 22405"/>
                <a:gd name="connsiteY2" fmla="*/ 10423 h 37167"/>
                <a:gd name="connsiteX3" fmla="*/ 13678 w 22405"/>
                <a:gd name="connsiteY3" fmla="*/ 38 h 37167"/>
                <a:gd name="connsiteX4" fmla="*/ 3533 w 22405"/>
                <a:gd name="connsiteY4" fmla="*/ 7301 h 37167"/>
                <a:gd name="connsiteX5" fmla="*/ 202 w 22405"/>
                <a:gd name="connsiteY5" fmla="*/ 25720 h 37167"/>
                <a:gd name="connsiteX6" fmla="*/ 7539 w 22405"/>
                <a:gd name="connsiteY6" fmla="*/ 36928 h 37167"/>
                <a:gd name="connsiteX7" fmla="*/ 7695 w 22405"/>
                <a:gd name="connsiteY7" fmla="*/ 36959 h 37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405" h="37167">
                  <a:moveTo>
                    <a:pt x="9568" y="37167"/>
                  </a:moveTo>
                  <a:cubicBezTo>
                    <a:pt x="14126" y="37157"/>
                    <a:pt x="18039" y="33931"/>
                    <a:pt x="18933" y="29467"/>
                  </a:cubicBezTo>
                  <a:cubicBezTo>
                    <a:pt x="20182" y="23119"/>
                    <a:pt x="21327" y="16667"/>
                    <a:pt x="22368" y="10423"/>
                  </a:cubicBezTo>
                  <a:cubicBezTo>
                    <a:pt x="22836" y="5157"/>
                    <a:pt x="18944" y="506"/>
                    <a:pt x="13678" y="38"/>
                  </a:cubicBezTo>
                  <a:cubicBezTo>
                    <a:pt x="8964" y="-379"/>
                    <a:pt x="4656" y="2712"/>
                    <a:pt x="3533" y="7301"/>
                  </a:cubicBezTo>
                  <a:cubicBezTo>
                    <a:pt x="2596" y="13441"/>
                    <a:pt x="1451" y="19581"/>
                    <a:pt x="202" y="25720"/>
                  </a:cubicBezTo>
                  <a:cubicBezTo>
                    <a:pt x="-869" y="30840"/>
                    <a:pt x="2419" y="35856"/>
                    <a:pt x="7539" y="36928"/>
                  </a:cubicBezTo>
                  <a:cubicBezTo>
                    <a:pt x="7591" y="36939"/>
                    <a:pt x="7643" y="36949"/>
                    <a:pt x="7695" y="36959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CA34EFAC-BE74-A845-B6A9-CC8F22915D37}"/>
                </a:ext>
              </a:extLst>
            </p:cNvPr>
            <p:cNvSpPr/>
            <p:nvPr/>
          </p:nvSpPr>
          <p:spPr>
            <a:xfrm>
              <a:off x="9444362" y="3568259"/>
              <a:ext cx="37329" cy="23739"/>
            </a:xfrm>
            <a:custGeom>
              <a:avLst/>
              <a:gdLst>
                <a:gd name="connsiteX0" fmla="*/ 25766 w 37329"/>
                <a:gd name="connsiteY0" fmla="*/ 0 h 23739"/>
                <a:gd name="connsiteX1" fmla="*/ 7556 w 37329"/>
                <a:gd name="connsiteY1" fmla="*/ 4995 h 23739"/>
                <a:gd name="connsiteX2" fmla="*/ 199 w 37329"/>
                <a:gd name="connsiteY2" fmla="*/ 16182 h 23739"/>
                <a:gd name="connsiteX3" fmla="*/ 9949 w 37329"/>
                <a:gd name="connsiteY3" fmla="*/ 23727 h 23739"/>
                <a:gd name="connsiteX4" fmla="*/ 12343 w 37329"/>
                <a:gd name="connsiteY4" fmla="*/ 23727 h 23739"/>
                <a:gd name="connsiteX5" fmla="*/ 30865 w 37329"/>
                <a:gd name="connsiteY5" fmla="*/ 18731 h 23739"/>
                <a:gd name="connsiteX6" fmla="*/ 36807 w 37329"/>
                <a:gd name="connsiteY6" fmla="*/ 6566 h 23739"/>
                <a:gd name="connsiteX7" fmla="*/ 25766 w 37329"/>
                <a:gd name="connsiteY7" fmla="*/ 312 h 23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7329" h="23739">
                  <a:moveTo>
                    <a:pt x="25766" y="0"/>
                  </a:moveTo>
                  <a:lnTo>
                    <a:pt x="7556" y="4995"/>
                  </a:lnTo>
                  <a:cubicBezTo>
                    <a:pt x="2436" y="6057"/>
                    <a:pt x="-863" y="11062"/>
                    <a:pt x="199" y="16182"/>
                  </a:cubicBezTo>
                  <a:cubicBezTo>
                    <a:pt x="1145" y="20761"/>
                    <a:pt x="5287" y="23966"/>
                    <a:pt x="9949" y="23727"/>
                  </a:cubicBezTo>
                  <a:lnTo>
                    <a:pt x="12343" y="23727"/>
                  </a:lnTo>
                  <a:lnTo>
                    <a:pt x="30865" y="18731"/>
                  </a:lnTo>
                  <a:cubicBezTo>
                    <a:pt x="35871" y="17014"/>
                    <a:pt x="38525" y="11561"/>
                    <a:pt x="36807" y="6566"/>
                  </a:cubicBezTo>
                  <a:cubicBezTo>
                    <a:pt x="35236" y="1988"/>
                    <a:pt x="30501" y="-687"/>
                    <a:pt x="25766" y="312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D0B617D5-1E79-734C-BF36-216A6968F0E4}"/>
                </a:ext>
              </a:extLst>
            </p:cNvPr>
            <p:cNvSpPr/>
            <p:nvPr/>
          </p:nvSpPr>
          <p:spPr>
            <a:xfrm>
              <a:off x="9829425" y="3326677"/>
              <a:ext cx="30637" cy="34911"/>
            </a:xfrm>
            <a:custGeom>
              <a:avLst/>
              <a:gdLst>
                <a:gd name="connsiteX0" fmla="*/ 12932 w 30637"/>
                <a:gd name="connsiteY0" fmla="*/ 4525 h 34911"/>
                <a:gd name="connsiteX1" fmla="*/ 1902 w 30637"/>
                <a:gd name="connsiteY1" fmla="*/ 19614 h 34911"/>
                <a:gd name="connsiteX2" fmla="*/ 3847 w 30637"/>
                <a:gd name="connsiteY2" fmla="*/ 33018 h 34911"/>
                <a:gd name="connsiteX3" fmla="*/ 9498 w 30637"/>
                <a:gd name="connsiteY3" fmla="*/ 34912 h 34911"/>
                <a:gd name="connsiteX4" fmla="*/ 17095 w 30637"/>
                <a:gd name="connsiteY4" fmla="*/ 31165 h 34911"/>
                <a:gd name="connsiteX5" fmla="*/ 28542 w 30637"/>
                <a:gd name="connsiteY5" fmla="*/ 15556 h 34911"/>
                <a:gd name="connsiteX6" fmla="*/ 27043 w 30637"/>
                <a:gd name="connsiteY6" fmla="*/ 2100 h 34911"/>
                <a:gd name="connsiteX7" fmla="*/ 13588 w 30637"/>
                <a:gd name="connsiteY7" fmla="*/ 3599 h 34911"/>
                <a:gd name="connsiteX8" fmla="*/ 12932 w 30637"/>
                <a:gd name="connsiteY8" fmla="*/ 4525 h 34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637" h="34911">
                  <a:moveTo>
                    <a:pt x="12932" y="4525"/>
                  </a:moveTo>
                  <a:cubicBezTo>
                    <a:pt x="9394" y="9624"/>
                    <a:pt x="5648" y="14932"/>
                    <a:pt x="1902" y="19614"/>
                  </a:cubicBezTo>
                  <a:cubicBezTo>
                    <a:pt x="-1262" y="23850"/>
                    <a:pt x="-388" y="29854"/>
                    <a:pt x="3847" y="33018"/>
                  </a:cubicBezTo>
                  <a:cubicBezTo>
                    <a:pt x="5482" y="34225"/>
                    <a:pt x="7459" y="34891"/>
                    <a:pt x="9498" y="34912"/>
                  </a:cubicBezTo>
                  <a:cubicBezTo>
                    <a:pt x="12475" y="34901"/>
                    <a:pt x="15274" y="33517"/>
                    <a:pt x="17095" y="31165"/>
                  </a:cubicBezTo>
                  <a:cubicBezTo>
                    <a:pt x="21049" y="25962"/>
                    <a:pt x="24795" y="20759"/>
                    <a:pt x="28542" y="15556"/>
                  </a:cubicBezTo>
                  <a:cubicBezTo>
                    <a:pt x="31840" y="11424"/>
                    <a:pt x="31174" y="5399"/>
                    <a:pt x="27043" y="2100"/>
                  </a:cubicBezTo>
                  <a:cubicBezTo>
                    <a:pt x="22922" y="-1209"/>
                    <a:pt x="16897" y="-532"/>
                    <a:pt x="13588" y="3599"/>
                  </a:cubicBezTo>
                  <a:cubicBezTo>
                    <a:pt x="13348" y="3890"/>
                    <a:pt x="13130" y="4202"/>
                    <a:pt x="12932" y="4525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141B5697-E36D-254A-BAC6-AF38F504B238}"/>
                </a:ext>
              </a:extLst>
            </p:cNvPr>
            <p:cNvSpPr/>
            <p:nvPr/>
          </p:nvSpPr>
          <p:spPr>
            <a:xfrm>
              <a:off x="9870720" y="3261792"/>
              <a:ext cx="27777" cy="35903"/>
            </a:xfrm>
            <a:custGeom>
              <a:avLst/>
              <a:gdLst>
                <a:gd name="connsiteX0" fmla="*/ 9724 w 27777"/>
                <a:gd name="connsiteY0" fmla="*/ 5307 h 35903"/>
                <a:gd name="connsiteX1" fmla="*/ 1191 w 27777"/>
                <a:gd name="connsiteY1" fmla="*/ 21853 h 35903"/>
                <a:gd name="connsiteX2" fmla="*/ 4885 w 27777"/>
                <a:gd name="connsiteY2" fmla="*/ 34725 h 35903"/>
                <a:gd name="connsiteX3" fmla="*/ 4937 w 27777"/>
                <a:gd name="connsiteY3" fmla="*/ 34757 h 35903"/>
                <a:gd name="connsiteX4" fmla="*/ 9515 w 27777"/>
                <a:gd name="connsiteY4" fmla="*/ 35901 h 35903"/>
                <a:gd name="connsiteX5" fmla="*/ 17841 w 27777"/>
                <a:gd name="connsiteY5" fmla="*/ 30906 h 35903"/>
                <a:gd name="connsiteX6" fmla="*/ 26790 w 27777"/>
                <a:gd name="connsiteY6" fmla="*/ 13736 h 35903"/>
                <a:gd name="connsiteX7" fmla="*/ 22472 w 27777"/>
                <a:gd name="connsiteY7" fmla="*/ 988 h 35903"/>
                <a:gd name="connsiteX8" fmla="*/ 9724 w 27777"/>
                <a:gd name="connsiteY8" fmla="*/ 5307 h 3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777" h="35903">
                  <a:moveTo>
                    <a:pt x="9724" y="5307"/>
                  </a:moveTo>
                  <a:cubicBezTo>
                    <a:pt x="7018" y="10822"/>
                    <a:pt x="4105" y="16337"/>
                    <a:pt x="1191" y="21853"/>
                  </a:cubicBezTo>
                  <a:cubicBezTo>
                    <a:pt x="-1348" y="26432"/>
                    <a:pt x="306" y="32186"/>
                    <a:pt x="4885" y="34725"/>
                  </a:cubicBezTo>
                  <a:cubicBezTo>
                    <a:pt x="4895" y="34736"/>
                    <a:pt x="4916" y="34746"/>
                    <a:pt x="4937" y="34757"/>
                  </a:cubicBezTo>
                  <a:cubicBezTo>
                    <a:pt x="6331" y="35537"/>
                    <a:pt x="7913" y="35933"/>
                    <a:pt x="9515" y="35901"/>
                  </a:cubicBezTo>
                  <a:cubicBezTo>
                    <a:pt x="13002" y="35922"/>
                    <a:pt x="16217" y="33997"/>
                    <a:pt x="17841" y="30906"/>
                  </a:cubicBezTo>
                  <a:cubicBezTo>
                    <a:pt x="20963" y="25183"/>
                    <a:pt x="23980" y="19459"/>
                    <a:pt x="26790" y="13736"/>
                  </a:cubicBezTo>
                  <a:cubicBezTo>
                    <a:pt x="29121" y="9022"/>
                    <a:pt x="27185" y="3319"/>
                    <a:pt x="22472" y="988"/>
                  </a:cubicBezTo>
                  <a:cubicBezTo>
                    <a:pt x="17758" y="-1343"/>
                    <a:pt x="12055" y="592"/>
                    <a:pt x="9724" y="5307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2F8C89E6-BC17-F34B-9384-01DC762B4D53}"/>
                </a:ext>
              </a:extLst>
            </p:cNvPr>
            <p:cNvSpPr/>
            <p:nvPr/>
          </p:nvSpPr>
          <p:spPr>
            <a:xfrm>
              <a:off x="9917557" y="2889882"/>
              <a:ext cx="23326" cy="37656"/>
            </a:xfrm>
            <a:custGeom>
              <a:avLst/>
              <a:gdLst>
                <a:gd name="connsiteX0" fmla="*/ 18664 w 23326"/>
                <a:gd name="connsiteY0" fmla="*/ 6958 h 37656"/>
                <a:gd name="connsiteX1" fmla="*/ 6957 w 23326"/>
                <a:gd name="connsiteY1" fmla="*/ 350 h 37656"/>
                <a:gd name="connsiteX2" fmla="*/ 350 w 23326"/>
                <a:gd name="connsiteY2" fmla="*/ 12057 h 37656"/>
                <a:gd name="connsiteX3" fmla="*/ 4512 w 23326"/>
                <a:gd name="connsiteY3" fmla="*/ 29956 h 37656"/>
                <a:gd name="connsiteX4" fmla="*/ 13773 w 23326"/>
                <a:gd name="connsiteY4" fmla="*/ 37656 h 37656"/>
                <a:gd name="connsiteX5" fmla="*/ 15751 w 23326"/>
                <a:gd name="connsiteY5" fmla="*/ 37656 h 37656"/>
                <a:gd name="connsiteX6" fmla="*/ 23139 w 23326"/>
                <a:gd name="connsiteY6" fmla="*/ 26418 h 37656"/>
                <a:gd name="connsiteX7" fmla="*/ 18664 w 23326"/>
                <a:gd name="connsiteY7" fmla="*/ 6958 h 37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326" h="37656">
                  <a:moveTo>
                    <a:pt x="18664" y="6958"/>
                  </a:moveTo>
                  <a:cubicBezTo>
                    <a:pt x="17260" y="1900"/>
                    <a:pt x="12015" y="-1055"/>
                    <a:pt x="6957" y="350"/>
                  </a:cubicBezTo>
                  <a:cubicBezTo>
                    <a:pt x="1900" y="1754"/>
                    <a:pt x="-1055" y="6999"/>
                    <a:pt x="350" y="12057"/>
                  </a:cubicBezTo>
                  <a:cubicBezTo>
                    <a:pt x="350" y="12057"/>
                    <a:pt x="2118" y="18613"/>
                    <a:pt x="4512" y="29956"/>
                  </a:cubicBezTo>
                  <a:cubicBezTo>
                    <a:pt x="5396" y="34389"/>
                    <a:pt x="9257" y="37594"/>
                    <a:pt x="13773" y="37656"/>
                  </a:cubicBezTo>
                  <a:lnTo>
                    <a:pt x="15751" y="37656"/>
                  </a:lnTo>
                  <a:cubicBezTo>
                    <a:pt x="20870" y="36564"/>
                    <a:pt x="24169" y="31558"/>
                    <a:pt x="23139" y="26418"/>
                  </a:cubicBezTo>
                  <a:cubicBezTo>
                    <a:pt x="20641" y="14034"/>
                    <a:pt x="18768" y="7166"/>
                    <a:pt x="18664" y="6958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1B859FC5-E0D8-894E-97E8-DA898359B3F9}"/>
                </a:ext>
              </a:extLst>
            </p:cNvPr>
            <p:cNvSpPr/>
            <p:nvPr/>
          </p:nvSpPr>
          <p:spPr>
            <a:xfrm>
              <a:off x="9778847" y="3385129"/>
              <a:ext cx="33229" cy="33278"/>
            </a:xfrm>
            <a:custGeom>
              <a:avLst/>
              <a:gdLst>
                <a:gd name="connsiteX0" fmla="*/ 15955 w 33229"/>
                <a:gd name="connsiteY0" fmla="*/ 3620 h 33278"/>
                <a:gd name="connsiteX1" fmla="*/ 2843 w 33229"/>
                <a:gd name="connsiteY1" fmla="*/ 16836 h 33278"/>
                <a:gd name="connsiteX2" fmla="*/ 2707 w 33229"/>
                <a:gd name="connsiteY2" fmla="*/ 30229 h 33278"/>
                <a:gd name="connsiteX3" fmla="*/ 2843 w 33229"/>
                <a:gd name="connsiteY3" fmla="*/ 30365 h 33278"/>
                <a:gd name="connsiteX4" fmla="*/ 9607 w 33229"/>
                <a:gd name="connsiteY4" fmla="*/ 33278 h 33278"/>
                <a:gd name="connsiteX5" fmla="*/ 16266 w 33229"/>
                <a:gd name="connsiteY5" fmla="*/ 30573 h 33278"/>
                <a:gd name="connsiteX6" fmla="*/ 29898 w 33229"/>
                <a:gd name="connsiteY6" fmla="*/ 16836 h 33278"/>
                <a:gd name="connsiteX7" fmla="*/ 30918 w 33229"/>
                <a:gd name="connsiteY7" fmla="*/ 3339 h 33278"/>
                <a:gd name="connsiteX8" fmla="*/ 17422 w 33229"/>
                <a:gd name="connsiteY8" fmla="*/ 2319 h 33278"/>
                <a:gd name="connsiteX9" fmla="*/ 16162 w 33229"/>
                <a:gd name="connsiteY9" fmla="*/ 3620 h 33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3229" h="33278">
                  <a:moveTo>
                    <a:pt x="15955" y="3620"/>
                  </a:moveTo>
                  <a:cubicBezTo>
                    <a:pt x="11688" y="8095"/>
                    <a:pt x="7317" y="12466"/>
                    <a:pt x="2843" y="16836"/>
                  </a:cubicBezTo>
                  <a:cubicBezTo>
                    <a:pt x="-893" y="20499"/>
                    <a:pt x="-955" y="26493"/>
                    <a:pt x="2707" y="30229"/>
                  </a:cubicBezTo>
                  <a:cubicBezTo>
                    <a:pt x="2749" y="30271"/>
                    <a:pt x="2801" y="30323"/>
                    <a:pt x="2843" y="30365"/>
                  </a:cubicBezTo>
                  <a:cubicBezTo>
                    <a:pt x="4622" y="32196"/>
                    <a:pt x="7057" y="33247"/>
                    <a:pt x="9607" y="33278"/>
                  </a:cubicBezTo>
                  <a:cubicBezTo>
                    <a:pt x="12094" y="33268"/>
                    <a:pt x="14477" y="32300"/>
                    <a:pt x="16266" y="30573"/>
                  </a:cubicBezTo>
                  <a:cubicBezTo>
                    <a:pt x="20949" y="25994"/>
                    <a:pt x="25528" y="21415"/>
                    <a:pt x="29898" y="16836"/>
                  </a:cubicBezTo>
                  <a:cubicBezTo>
                    <a:pt x="33905" y="13392"/>
                    <a:pt x="34363" y="7346"/>
                    <a:pt x="30918" y="3339"/>
                  </a:cubicBezTo>
                  <a:cubicBezTo>
                    <a:pt x="27474" y="-678"/>
                    <a:pt x="21428" y="-1136"/>
                    <a:pt x="17422" y="2319"/>
                  </a:cubicBezTo>
                  <a:cubicBezTo>
                    <a:pt x="16964" y="2704"/>
                    <a:pt x="16537" y="3141"/>
                    <a:pt x="16162" y="3620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A8C4CB0F-1EF5-9148-A7CB-ECDC9E4FAAB5}"/>
                </a:ext>
              </a:extLst>
            </p:cNvPr>
            <p:cNvSpPr/>
            <p:nvPr/>
          </p:nvSpPr>
          <p:spPr>
            <a:xfrm>
              <a:off x="9588602" y="3515926"/>
              <a:ext cx="35781" cy="26733"/>
            </a:xfrm>
            <a:custGeom>
              <a:avLst/>
              <a:gdLst>
                <a:gd name="connsiteX0" fmla="*/ 22843 w 35781"/>
                <a:gd name="connsiteY0" fmla="*/ 613 h 26733"/>
                <a:gd name="connsiteX1" fmla="*/ 5672 w 35781"/>
                <a:gd name="connsiteY1" fmla="*/ 8418 h 26733"/>
                <a:gd name="connsiteX2" fmla="*/ 834 w 35781"/>
                <a:gd name="connsiteY2" fmla="*/ 21062 h 26733"/>
                <a:gd name="connsiteX3" fmla="*/ 9522 w 35781"/>
                <a:gd name="connsiteY3" fmla="*/ 26733 h 26733"/>
                <a:gd name="connsiteX4" fmla="*/ 13373 w 35781"/>
                <a:gd name="connsiteY4" fmla="*/ 25901 h 26733"/>
                <a:gd name="connsiteX5" fmla="*/ 30959 w 35781"/>
                <a:gd name="connsiteY5" fmla="*/ 17888 h 26733"/>
                <a:gd name="connsiteX6" fmla="*/ 34518 w 35781"/>
                <a:gd name="connsiteY6" fmla="*/ 4828 h 26733"/>
                <a:gd name="connsiteX7" fmla="*/ 22843 w 35781"/>
                <a:gd name="connsiteY7" fmla="*/ 61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781" h="26733">
                  <a:moveTo>
                    <a:pt x="22843" y="613"/>
                  </a:moveTo>
                  <a:cubicBezTo>
                    <a:pt x="17223" y="3319"/>
                    <a:pt x="11500" y="5920"/>
                    <a:pt x="5672" y="8418"/>
                  </a:cubicBezTo>
                  <a:cubicBezTo>
                    <a:pt x="844" y="10572"/>
                    <a:pt x="-1321" y="16233"/>
                    <a:pt x="834" y="21062"/>
                  </a:cubicBezTo>
                  <a:cubicBezTo>
                    <a:pt x="2363" y="24496"/>
                    <a:pt x="5766" y="26712"/>
                    <a:pt x="9522" y="26733"/>
                  </a:cubicBezTo>
                  <a:cubicBezTo>
                    <a:pt x="10844" y="26702"/>
                    <a:pt x="12155" y="26421"/>
                    <a:pt x="13373" y="25901"/>
                  </a:cubicBezTo>
                  <a:lnTo>
                    <a:pt x="30959" y="17888"/>
                  </a:lnTo>
                  <a:cubicBezTo>
                    <a:pt x="35549" y="15265"/>
                    <a:pt x="37140" y="9417"/>
                    <a:pt x="34518" y="4828"/>
                  </a:cubicBezTo>
                  <a:cubicBezTo>
                    <a:pt x="32188" y="749"/>
                    <a:pt x="27244" y="-1042"/>
                    <a:pt x="22843" y="613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5E0720C3-0869-C840-A20B-DF6C7E3A9AEA}"/>
                </a:ext>
              </a:extLst>
            </p:cNvPr>
            <p:cNvSpPr/>
            <p:nvPr/>
          </p:nvSpPr>
          <p:spPr>
            <a:xfrm>
              <a:off x="9656536" y="3479936"/>
              <a:ext cx="35642" cy="28695"/>
            </a:xfrm>
            <a:custGeom>
              <a:avLst/>
              <a:gdLst>
                <a:gd name="connsiteX0" fmla="*/ 21196 w 35642"/>
                <a:gd name="connsiteY0" fmla="*/ 1430 h 28695"/>
                <a:gd name="connsiteX1" fmla="*/ 4962 w 35642"/>
                <a:gd name="connsiteY1" fmla="*/ 10899 h 28695"/>
                <a:gd name="connsiteX2" fmla="*/ 1143 w 35642"/>
                <a:gd name="connsiteY2" fmla="*/ 23741 h 28695"/>
                <a:gd name="connsiteX3" fmla="*/ 9645 w 35642"/>
                <a:gd name="connsiteY3" fmla="*/ 28694 h 28695"/>
                <a:gd name="connsiteX4" fmla="*/ 14327 w 35642"/>
                <a:gd name="connsiteY4" fmla="*/ 27446 h 28695"/>
                <a:gd name="connsiteX5" fmla="*/ 31081 w 35642"/>
                <a:gd name="connsiteY5" fmla="*/ 17664 h 28695"/>
                <a:gd name="connsiteX6" fmla="*/ 34265 w 35642"/>
                <a:gd name="connsiteY6" fmla="*/ 4656 h 28695"/>
                <a:gd name="connsiteX7" fmla="*/ 34203 w 35642"/>
                <a:gd name="connsiteY7" fmla="*/ 4552 h 28695"/>
                <a:gd name="connsiteX8" fmla="*/ 21352 w 35642"/>
                <a:gd name="connsiteY8" fmla="*/ 1336 h 28695"/>
                <a:gd name="connsiteX9" fmla="*/ 21196 w 35642"/>
                <a:gd name="connsiteY9" fmla="*/ 1430 h 28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642" h="28695">
                  <a:moveTo>
                    <a:pt x="21196" y="1430"/>
                  </a:moveTo>
                  <a:lnTo>
                    <a:pt x="4962" y="10899"/>
                  </a:lnTo>
                  <a:cubicBezTo>
                    <a:pt x="362" y="13387"/>
                    <a:pt x="-1344" y="19141"/>
                    <a:pt x="1143" y="23741"/>
                  </a:cubicBezTo>
                  <a:cubicBezTo>
                    <a:pt x="2828" y="26842"/>
                    <a:pt x="6106" y="28757"/>
                    <a:pt x="9645" y="28694"/>
                  </a:cubicBezTo>
                  <a:cubicBezTo>
                    <a:pt x="11289" y="28705"/>
                    <a:pt x="12902" y="28268"/>
                    <a:pt x="14327" y="27446"/>
                  </a:cubicBezTo>
                  <a:cubicBezTo>
                    <a:pt x="20051" y="24220"/>
                    <a:pt x="25566" y="20994"/>
                    <a:pt x="31081" y="17664"/>
                  </a:cubicBezTo>
                  <a:cubicBezTo>
                    <a:pt x="35556" y="14947"/>
                    <a:pt x="36981" y="9130"/>
                    <a:pt x="34265" y="4656"/>
                  </a:cubicBezTo>
                  <a:cubicBezTo>
                    <a:pt x="34244" y="4624"/>
                    <a:pt x="34224" y="4583"/>
                    <a:pt x="34203" y="4552"/>
                  </a:cubicBezTo>
                  <a:cubicBezTo>
                    <a:pt x="31550" y="118"/>
                    <a:pt x="25795" y="-1328"/>
                    <a:pt x="21352" y="1336"/>
                  </a:cubicBezTo>
                  <a:cubicBezTo>
                    <a:pt x="21300" y="1367"/>
                    <a:pt x="21248" y="1398"/>
                    <a:pt x="21196" y="1430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5BECB391-8B2D-D145-9B6A-BA89A9B1CA15}"/>
                </a:ext>
              </a:extLst>
            </p:cNvPr>
            <p:cNvSpPr/>
            <p:nvPr/>
          </p:nvSpPr>
          <p:spPr>
            <a:xfrm>
              <a:off x="4080364" y="4224708"/>
              <a:ext cx="8017738" cy="2412498"/>
            </a:xfrm>
            <a:custGeom>
              <a:avLst/>
              <a:gdLst>
                <a:gd name="connsiteX0" fmla="*/ 6251916 w 8017738"/>
                <a:gd name="connsiteY0" fmla="*/ 269096 h 2412498"/>
                <a:gd name="connsiteX1" fmla="*/ 6248794 w 8017738"/>
                <a:gd name="connsiteY1" fmla="*/ 267951 h 2412498"/>
                <a:gd name="connsiteX2" fmla="*/ 5888117 w 8017738"/>
                <a:gd name="connsiteY2" fmla="*/ 132668 h 2412498"/>
                <a:gd name="connsiteX3" fmla="*/ 5870842 w 8017738"/>
                <a:gd name="connsiteY3" fmla="*/ 126216 h 2412498"/>
                <a:gd name="connsiteX4" fmla="*/ 5860436 w 8017738"/>
                <a:gd name="connsiteY4" fmla="*/ 126840 h 2412498"/>
                <a:gd name="connsiteX5" fmla="*/ 5853672 w 8017738"/>
                <a:gd name="connsiteY5" fmla="*/ 134853 h 2412498"/>
                <a:gd name="connsiteX6" fmla="*/ 5823390 w 8017738"/>
                <a:gd name="connsiteY6" fmla="*/ 239541 h 2412498"/>
                <a:gd name="connsiteX7" fmla="*/ 5811423 w 8017738"/>
                <a:gd name="connsiteY7" fmla="*/ 234963 h 2412498"/>
                <a:gd name="connsiteX8" fmla="*/ 5794565 w 8017738"/>
                <a:gd name="connsiteY8" fmla="*/ 242039 h 2412498"/>
                <a:gd name="connsiteX9" fmla="*/ 5358755 w 8017738"/>
                <a:gd name="connsiteY9" fmla="*/ 1259680 h 2412498"/>
                <a:gd name="connsiteX10" fmla="*/ 4905254 w 8017738"/>
                <a:gd name="connsiteY10" fmla="*/ 937082 h 2412498"/>
                <a:gd name="connsiteX11" fmla="*/ 4874036 w 8017738"/>
                <a:gd name="connsiteY11" fmla="*/ 917726 h 2412498"/>
                <a:gd name="connsiteX12" fmla="*/ 4872059 w 8017738"/>
                <a:gd name="connsiteY12" fmla="*/ 915852 h 2412498"/>
                <a:gd name="connsiteX13" fmla="*/ 4304090 w 8017738"/>
                <a:gd name="connsiteY13" fmla="*/ 562035 h 2412498"/>
                <a:gd name="connsiteX14" fmla="*/ 4300136 w 8017738"/>
                <a:gd name="connsiteY14" fmla="*/ 559642 h 2412498"/>
                <a:gd name="connsiteX15" fmla="*/ 4219072 w 8017738"/>
                <a:gd name="connsiteY15" fmla="*/ 508858 h 2412498"/>
                <a:gd name="connsiteX16" fmla="*/ 4465490 w 8017738"/>
                <a:gd name="connsiteY16" fmla="*/ 402193 h 2412498"/>
                <a:gd name="connsiteX17" fmla="*/ 4745103 w 8017738"/>
                <a:gd name="connsiteY17" fmla="*/ 19862 h 2412498"/>
                <a:gd name="connsiteX18" fmla="*/ 4737507 w 8017738"/>
                <a:gd name="connsiteY18" fmla="*/ 1131 h 2412498"/>
                <a:gd name="connsiteX19" fmla="*/ 4718776 w 8017738"/>
                <a:gd name="connsiteY19" fmla="*/ 8728 h 2412498"/>
                <a:gd name="connsiteX20" fmla="*/ 4448007 w 8017738"/>
                <a:gd name="connsiteY20" fmla="*/ 380028 h 2412498"/>
                <a:gd name="connsiteX21" fmla="*/ 4014694 w 8017738"/>
                <a:gd name="connsiteY21" fmla="*/ 487213 h 2412498"/>
                <a:gd name="connsiteX22" fmla="*/ 3579405 w 8017738"/>
                <a:gd name="connsiteY22" fmla="*/ 378363 h 2412498"/>
                <a:gd name="connsiteX23" fmla="*/ 3318106 w 8017738"/>
                <a:gd name="connsiteY23" fmla="*/ 13306 h 2412498"/>
                <a:gd name="connsiteX24" fmla="*/ 3300384 w 8017738"/>
                <a:gd name="connsiteY24" fmla="*/ 3701 h 2412498"/>
                <a:gd name="connsiteX25" fmla="*/ 3290769 w 8017738"/>
                <a:gd name="connsiteY25" fmla="*/ 21423 h 2412498"/>
                <a:gd name="connsiteX26" fmla="*/ 3291674 w 8017738"/>
                <a:gd name="connsiteY26" fmla="*/ 23713 h 2412498"/>
                <a:gd name="connsiteX27" fmla="*/ 3561298 w 8017738"/>
                <a:gd name="connsiteY27" fmla="*/ 400216 h 2412498"/>
                <a:gd name="connsiteX28" fmla="*/ 3830922 w 8017738"/>
                <a:gd name="connsiteY28" fmla="*/ 511772 h 2412498"/>
                <a:gd name="connsiteX29" fmla="*/ 3183658 w 8017738"/>
                <a:gd name="connsiteY29" fmla="*/ 932503 h 2412498"/>
                <a:gd name="connsiteX30" fmla="*/ 2721520 w 8017738"/>
                <a:gd name="connsiteY30" fmla="*/ 1261345 h 2412498"/>
                <a:gd name="connsiteX31" fmla="*/ 1689020 w 8017738"/>
                <a:gd name="connsiteY31" fmla="*/ 840926 h 2412498"/>
                <a:gd name="connsiteX32" fmla="*/ 1672059 w 8017738"/>
                <a:gd name="connsiteY32" fmla="*/ 847691 h 2412498"/>
                <a:gd name="connsiteX33" fmla="*/ 1666647 w 8017738"/>
                <a:gd name="connsiteY33" fmla="*/ 859658 h 2412498"/>
                <a:gd name="connsiteX34" fmla="*/ 1569246 w 8017738"/>
                <a:gd name="connsiteY34" fmla="*/ 809707 h 2412498"/>
                <a:gd name="connsiteX35" fmla="*/ 1558839 w 8017738"/>
                <a:gd name="connsiteY35" fmla="*/ 808979 h 2412498"/>
                <a:gd name="connsiteX36" fmla="*/ 1551243 w 8017738"/>
                <a:gd name="connsiteY36" fmla="*/ 815847 h 2412498"/>
                <a:gd name="connsiteX37" fmla="*/ 1545311 w 8017738"/>
                <a:gd name="connsiteY37" fmla="*/ 828751 h 2412498"/>
                <a:gd name="connsiteX38" fmla="*/ 1281203 w 8017738"/>
                <a:gd name="connsiteY38" fmla="*/ 672655 h 2412498"/>
                <a:gd name="connsiteX39" fmla="*/ 1268715 w 8017738"/>
                <a:gd name="connsiteY39" fmla="*/ 672655 h 2412498"/>
                <a:gd name="connsiteX40" fmla="*/ 1176621 w 8017738"/>
                <a:gd name="connsiteY40" fmla="*/ 791496 h 2412498"/>
                <a:gd name="connsiteX41" fmla="*/ 1185778 w 8017738"/>
                <a:gd name="connsiteY41" fmla="*/ 832497 h 2412498"/>
                <a:gd name="connsiteX42" fmla="*/ 1286718 w 8017738"/>
                <a:gd name="connsiteY42" fmla="*/ 855391 h 2412498"/>
                <a:gd name="connsiteX43" fmla="*/ 1349155 w 8017738"/>
                <a:gd name="connsiteY43" fmla="*/ 860595 h 2412498"/>
                <a:gd name="connsiteX44" fmla="*/ 1401186 w 8017738"/>
                <a:gd name="connsiteY44" fmla="*/ 918246 h 2412498"/>
                <a:gd name="connsiteX45" fmla="*/ 1413881 w 8017738"/>
                <a:gd name="connsiteY45" fmla="*/ 928652 h 2412498"/>
                <a:gd name="connsiteX46" fmla="*/ 1417107 w 8017738"/>
                <a:gd name="connsiteY46" fmla="*/ 928652 h 2412498"/>
                <a:gd name="connsiteX47" fmla="*/ 1426691 w 8017738"/>
                <a:gd name="connsiteY47" fmla="*/ 912782 h 2412498"/>
                <a:gd name="connsiteX48" fmla="*/ 1426681 w 8017738"/>
                <a:gd name="connsiteY48" fmla="*/ 912731 h 2412498"/>
                <a:gd name="connsiteX49" fmla="*/ 1357792 w 8017738"/>
                <a:gd name="connsiteY49" fmla="*/ 836868 h 2412498"/>
                <a:gd name="connsiteX50" fmla="*/ 1286510 w 8017738"/>
                <a:gd name="connsiteY50" fmla="*/ 829896 h 2412498"/>
                <a:gd name="connsiteX51" fmla="*/ 1205654 w 8017738"/>
                <a:gd name="connsiteY51" fmla="*/ 816367 h 2412498"/>
                <a:gd name="connsiteX52" fmla="*/ 1202324 w 8017738"/>
                <a:gd name="connsiteY52" fmla="*/ 796699 h 2412498"/>
                <a:gd name="connsiteX53" fmla="*/ 1274231 w 8017738"/>
                <a:gd name="connsiteY53" fmla="*/ 700440 h 2412498"/>
                <a:gd name="connsiteX54" fmla="*/ 1534385 w 8017738"/>
                <a:gd name="connsiteY54" fmla="*/ 853934 h 2412498"/>
                <a:gd name="connsiteX55" fmla="*/ 1395254 w 8017738"/>
                <a:gd name="connsiteY55" fmla="*/ 1155720 h 2412498"/>
                <a:gd name="connsiteX56" fmla="*/ 1190877 w 8017738"/>
                <a:gd name="connsiteY56" fmla="*/ 1075174 h 2412498"/>
                <a:gd name="connsiteX57" fmla="*/ 1061216 w 8017738"/>
                <a:gd name="connsiteY57" fmla="*/ 1005763 h 2412498"/>
                <a:gd name="connsiteX58" fmla="*/ 1042642 w 8017738"/>
                <a:gd name="connsiteY58" fmla="*/ 1006336 h 2412498"/>
                <a:gd name="connsiteX59" fmla="*/ 1043214 w 8017738"/>
                <a:gd name="connsiteY59" fmla="*/ 1024911 h 2412498"/>
                <a:gd name="connsiteX60" fmla="*/ 1174852 w 8017738"/>
                <a:gd name="connsiteY60" fmla="*/ 1095987 h 2412498"/>
                <a:gd name="connsiteX61" fmla="*/ 1179014 w 8017738"/>
                <a:gd name="connsiteY61" fmla="*/ 1098589 h 2412498"/>
                <a:gd name="connsiteX62" fmla="*/ 1384120 w 8017738"/>
                <a:gd name="connsiteY62" fmla="*/ 1179238 h 2412498"/>
                <a:gd name="connsiteX63" fmla="*/ 1376940 w 8017738"/>
                <a:gd name="connsiteY63" fmla="*/ 1194848 h 2412498"/>
                <a:gd name="connsiteX64" fmla="*/ 1376940 w 8017738"/>
                <a:gd name="connsiteY64" fmla="*/ 1205254 h 2412498"/>
                <a:gd name="connsiteX65" fmla="*/ 1384016 w 8017738"/>
                <a:gd name="connsiteY65" fmla="*/ 1212642 h 2412498"/>
                <a:gd name="connsiteX66" fmla="*/ 1487557 w 8017738"/>
                <a:gd name="connsiteY66" fmla="*/ 1257078 h 2412498"/>
                <a:gd name="connsiteX67" fmla="*/ 1484331 w 8017738"/>
                <a:gd name="connsiteY67" fmla="*/ 1264258 h 2412498"/>
                <a:gd name="connsiteX68" fmla="*/ 1490731 w 8017738"/>
                <a:gd name="connsiteY68" fmla="*/ 1281512 h 2412498"/>
                <a:gd name="connsiteX69" fmla="*/ 1490783 w 8017738"/>
                <a:gd name="connsiteY69" fmla="*/ 1281533 h 2412498"/>
                <a:gd name="connsiteX70" fmla="*/ 2741604 w 8017738"/>
                <a:gd name="connsiteY70" fmla="*/ 1797169 h 2412498"/>
                <a:gd name="connsiteX71" fmla="*/ 2744518 w 8017738"/>
                <a:gd name="connsiteY71" fmla="*/ 1797169 h 2412498"/>
                <a:gd name="connsiteX72" fmla="*/ 3337669 w 8017738"/>
                <a:gd name="connsiteY72" fmla="*/ 1441479 h 2412498"/>
                <a:gd name="connsiteX73" fmla="*/ 3331009 w 8017738"/>
                <a:gd name="connsiteY73" fmla="*/ 2259838 h 2412498"/>
                <a:gd name="connsiteX74" fmla="*/ 3313735 w 8017738"/>
                <a:gd name="connsiteY74" fmla="*/ 2259838 h 2412498"/>
                <a:gd name="connsiteX75" fmla="*/ 3289780 w 8017738"/>
                <a:gd name="connsiteY75" fmla="*/ 2280734 h 2412498"/>
                <a:gd name="connsiteX76" fmla="*/ 3310676 w 8017738"/>
                <a:gd name="connsiteY76" fmla="*/ 2304689 h 2412498"/>
                <a:gd name="connsiteX77" fmla="*/ 3313735 w 8017738"/>
                <a:gd name="connsiteY77" fmla="*/ 2304689 h 2412498"/>
                <a:gd name="connsiteX78" fmla="*/ 3330593 w 8017738"/>
                <a:gd name="connsiteY78" fmla="*/ 2304689 h 2412498"/>
                <a:gd name="connsiteX79" fmla="*/ 3330593 w 8017738"/>
                <a:gd name="connsiteY79" fmla="*/ 2337053 h 2412498"/>
                <a:gd name="connsiteX80" fmla="*/ 35793 w 8017738"/>
                <a:gd name="connsiteY80" fmla="*/ 2337053 h 2412498"/>
                <a:gd name="connsiteX81" fmla="*/ 53 w 8017738"/>
                <a:gd name="connsiteY81" fmla="*/ 2376753 h 2412498"/>
                <a:gd name="connsiteX82" fmla="*/ 35793 w 8017738"/>
                <a:gd name="connsiteY82" fmla="*/ 2412499 h 2412498"/>
                <a:gd name="connsiteX83" fmla="*/ 7981941 w 8017738"/>
                <a:gd name="connsiteY83" fmla="*/ 2412499 h 2412498"/>
                <a:gd name="connsiteX84" fmla="*/ 8017686 w 8017738"/>
                <a:gd name="connsiteY84" fmla="*/ 2372799 h 2412498"/>
                <a:gd name="connsiteX85" fmla="*/ 7981941 w 8017738"/>
                <a:gd name="connsiteY85" fmla="*/ 2337053 h 2412498"/>
                <a:gd name="connsiteX86" fmla="*/ 6685853 w 8017738"/>
                <a:gd name="connsiteY86" fmla="*/ 2337053 h 2412498"/>
                <a:gd name="connsiteX87" fmla="*/ 6775867 w 8017738"/>
                <a:gd name="connsiteY87" fmla="*/ 1689151 h 2412498"/>
                <a:gd name="connsiteX88" fmla="*/ 6772537 w 8017738"/>
                <a:gd name="connsiteY88" fmla="*/ 1677808 h 2412498"/>
                <a:gd name="connsiteX89" fmla="*/ 6762130 w 8017738"/>
                <a:gd name="connsiteY89" fmla="*/ 1672813 h 2412498"/>
                <a:gd name="connsiteX90" fmla="*/ 6693658 w 8017738"/>
                <a:gd name="connsiteY90" fmla="*/ 1672813 h 2412498"/>
                <a:gd name="connsiteX91" fmla="*/ 6733409 w 8017738"/>
                <a:gd name="connsiteY91" fmla="*/ 1436900 h 2412498"/>
                <a:gd name="connsiteX92" fmla="*/ 6733409 w 8017738"/>
                <a:gd name="connsiteY92" fmla="*/ 1433362 h 2412498"/>
                <a:gd name="connsiteX93" fmla="*/ 6708434 w 8017738"/>
                <a:gd name="connsiteY93" fmla="*/ 1290378 h 2412498"/>
                <a:gd name="connsiteX94" fmla="*/ 6699798 w 8017738"/>
                <a:gd name="connsiteY94" fmla="*/ 1281741 h 2412498"/>
                <a:gd name="connsiteX95" fmla="*/ 6688559 w 8017738"/>
                <a:gd name="connsiteY95" fmla="*/ 1286944 h 2412498"/>
                <a:gd name="connsiteX96" fmla="*/ 6610928 w 8017738"/>
                <a:gd name="connsiteY96" fmla="*/ 1422227 h 2412498"/>
                <a:gd name="connsiteX97" fmla="*/ 6610928 w 8017738"/>
                <a:gd name="connsiteY97" fmla="*/ 1423476 h 2412498"/>
                <a:gd name="connsiteX98" fmla="*/ 6610928 w 8017738"/>
                <a:gd name="connsiteY98" fmla="*/ 1425037 h 2412498"/>
                <a:gd name="connsiteX99" fmla="*/ 6610928 w 8017738"/>
                <a:gd name="connsiteY99" fmla="*/ 1425765 h 2412498"/>
                <a:gd name="connsiteX100" fmla="*/ 6570865 w 8017738"/>
                <a:gd name="connsiteY100" fmla="*/ 1646381 h 2412498"/>
                <a:gd name="connsiteX101" fmla="*/ 6570865 w 8017738"/>
                <a:gd name="connsiteY101" fmla="*/ 1464373 h 2412498"/>
                <a:gd name="connsiteX102" fmla="*/ 6570241 w 8017738"/>
                <a:gd name="connsiteY102" fmla="*/ 1460731 h 2412498"/>
                <a:gd name="connsiteX103" fmla="*/ 6521436 w 8017738"/>
                <a:gd name="connsiteY103" fmla="*/ 1324095 h 2412498"/>
                <a:gd name="connsiteX104" fmla="*/ 6511030 w 8017738"/>
                <a:gd name="connsiteY104" fmla="*/ 1317019 h 2412498"/>
                <a:gd name="connsiteX105" fmla="*/ 6511030 w 8017738"/>
                <a:gd name="connsiteY105" fmla="*/ 1317019 h 2412498"/>
                <a:gd name="connsiteX106" fmla="*/ 6500623 w 8017738"/>
                <a:gd name="connsiteY106" fmla="*/ 1323991 h 2412498"/>
                <a:gd name="connsiteX107" fmla="*/ 6447968 w 8017738"/>
                <a:gd name="connsiteY107" fmla="*/ 1470617 h 2412498"/>
                <a:gd name="connsiteX108" fmla="*/ 6447968 w 8017738"/>
                <a:gd name="connsiteY108" fmla="*/ 1471970 h 2412498"/>
                <a:gd name="connsiteX109" fmla="*/ 6447968 w 8017738"/>
                <a:gd name="connsiteY109" fmla="*/ 1473635 h 2412498"/>
                <a:gd name="connsiteX110" fmla="*/ 6447968 w 8017738"/>
                <a:gd name="connsiteY110" fmla="*/ 1474363 h 2412498"/>
                <a:gd name="connsiteX111" fmla="*/ 6447968 w 8017738"/>
                <a:gd name="connsiteY111" fmla="*/ 1593724 h 2412498"/>
                <a:gd name="connsiteX112" fmla="*/ 6407488 w 8017738"/>
                <a:gd name="connsiteY112" fmla="*/ 1406409 h 2412498"/>
                <a:gd name="connsiteX113" fmla="*/ 6406031 w 8017738"/>
                <a:gd name="connsiteY113" fmla="*/ 1402975 h 2412498"/>
                <a:gd name="connsiteX114" fmla="*/ 6329442 w 8017738"/>
                <a:gd name="connsiteY114" fmla="*/ 1279764 h 2412498"/>
                <a:gd name="connsiteX115" fmla="*/ 6315446 w 8017738"/>
                <a:gd name="connsiteY115" fmla="*/ 1275216 h 2412498"/>
                <a:gd name="connsiteX116" fmla="*/ 6309774 w 8017738"/>
                <a:gd name="connsiteY116" fmla="*/ 1284030 h 2412498"/>
                <a:gd name="connsiteX117" fmla="*/ 6288234 w 8017738"/>
                <a:gd name="connsiteY117" fmla="*/ 1438461 h 2412498"/>
                <a:gd name="connsiteX118" fmla="*/ 6288234 w 8017738"/>
                <a:gd name="connsiteY118" fmla="*/ 1439814 h 2412498"/>
                <a:gd name="connsiteX119" fmla="*/ 6288234 w 8017738"/>
                <a:gd name="connsiteY119" fmla="*/ 1441375 h 2412498"/>
                <a:gd name="connsiteX120" fmla="*/ 6288234 w 8017738"/>
                <a:gd name="connsiteY120" fmla="*/ 1442104 h 2412498"/>
                <a:gd name="connsiteX121" fmla="*/ 6337246 w 8017738"/>
                <a:gd name="connsiteY121" fmla="*/ 1672605 h 2412498"/>
                <a:gd name="connsiteX122" fmla="*/ 6276891 w 8017738"/>
                <a:gd name="connsiteY122" fmla="*/ 1672605 h 2412498"/>
                <a:gd name="connsiteX123" fmla="*/ 6262603 w 8017738"/>
                <a:gd name="connsiteY123" fmla="*/ 1687038 h 2412498"/>
                <a:gd name="connsiteX124" fmla="*/ 6262739 w 8017738"/>
                <a:gd name="connsiteY124" fmla="*/ 1688943 h 2412498"/>
                <a:gd name="connsiteX125" fmla="*/ 6354000 w 8017738"/>
                <a:gd name="connsiteY125" fmla="*/ 2336324 h 2412498"/>
                <a:gd name="connsiteX126" fmla="*/ 4733240 w 8017738"/>
                <a:gd name="connsiteY126" fmla="*/ 2336324 h 2412498"/>
                <a:gd name="connsiteX127" fmla="*/ 4733240 w 8017738"/>
                <a:gd name="connsiteY127" fmla="*/ 2303961 h 2412498"/>
                <a:gd name="connsiteX128" fmla="*/ 4755613 w 8017738"/>
                <a:gd name="connsiteY128" fmla="*/ 2281587 h 2412498"/>
                <a:gd name="connsiteX129" fmla="*/ 4733240 w 8017738"/>
                <a:gd name="connsiteY129" fmla="*/ 2259213 h 2412498"/>
                <a:gd name="connsiteX130" fmla="*/ 4739796 w 8017738"/>
                <a:gd name="connsiteY130" fmla="*/ 1457921 h 2412498"/>
                <a:gd name="connsiteX131" fmla="*/ 5125448 w 8017738"/>
                <a:gd name="connsiteY131" fmla="*/ 1711213 h 2412498"/>
                <a:gd name="connsiteX132" fmla="*/ 5574162 w 8017738"/>
                <a:gd name="connsiteY132" fmla="*/ 1938904 h 2412498"/>
                <a:gd name="connsiteX133" fmla="*/ 5594038 w 8017738"/>
                <a:gd name="connsiteY133" fmla="*/ 1933701 h 2412498"/>
                <a:gd name="connsiteX134" fmla="*/ 6244735 w 8017738"/>
                <a:gd name="connsiteY134" fmla="*/ 415409 h 2412498"/>
                <a:gd name="connsiteX135" fmla="*/ 6237441 w 8017738"/>
                <a:gd name="connsiteY135" fmla="*/ 398520 h 2412498"/>
                <a:gd name="connsiteX136" fmla="*/ 6237243 w 8017738"/>
                <a:gd name="connsiteY136" fmla="*/ 398447 h 2412498"/>
                <a:gd name="connsiteX137" fmla="*/ 6211748 w 8017738"/>
                <a:gd name="connsiteY137" fmla="*/ 388665 h 2412498"/>
                <a:gd name="connsiteX138" fmla="*/ 6259200 w 8017738"/>
                <a:gd name="connsiteY138" fmla="*/ 286682 h 2412498"/>
                <a:gd name="connsiteX139" fmla="*/ 6259200 w 8017738"/>
                <a:gd name="connsiteY139" fmla="*/ 276276 h 2412498"/>
                <a:gd name="connsiteX140" fmla="*/ 6691785 w 8017738"/>
                <a:gd name="connsiteY140" fmla="*/ 1322950 h 2412498"/>
                <a:gd name="connsiteX141" fmla="*/ 6697508 w 8017738"/>
                <a:gd name="connsiteY141" fmla="*/ 1355418 h 2412498"/>
                <a:gd name="connsiteX142" fmla="*/ 6675343 w 8017738"/>
                <a:gd name="connsiteY142" fmla="*/ 1351568 h 2412498"/>
                <a:gd name="connsiteX143" fmla="*/ 6664520 w 8017738"/>
                <a:gd name="connsiteY143" fmla="*/ 1371444 h 2412498"/>
                <a:gd name="connsiteX144" fmla="*/ 6701879 w 8017738"/>
                <a:gd name="connsiteY144" fmla="*/ 1377896 h 2412498"/>
                <a:gd name="connsiteX145" fmla="*/ 6712285 w 8017738"/>
                <a:gd name="connsiteY145" fmla="*/ 1435027 h 2412498"/>
                <a:gd name="connsiteX146" fmla="*/ 6708747 w 8017738"/>
                <a:gd name="connsiteY146" fmla="*/ 1455840 h 2412498"/>
                <a:gd name="connsiteX147" fmla="*/ 6700734 w 8017738"/>
                <a:gd name="connsiteY147" fmla="*/ 1432842 h 2412498"/>
                <a:gd name="connsiteX148" fmla="*/ 6692305 w 8017738"/>
                <a:gd name="connsiteY148" fmla="*/ 1425765 h 2412498"/>
                <a:gd name="connsiteX149" fmla="*/ 6681899 w 8017738"/>
                <a:gd name="connsiteY149" fmla="*/ 1429928 h 2412498"/>
                <a:gd name="connsiteX150" fmla="*/ 6653698 w 8017738"/>
                <a:gd name="connsiteY150" fmla="*/ 1466975 h 2412498"/>
                <a:gd name="connsiteX151" fmla="*/ 6632886 w 8017738"/>
                <a:gd name="connsiteY151" fmla="*/ 1427014 h 2412498"/>
                <a:gd name="connsiteX152" fmla="*/ 6624977 w 8017738"/>
                <a:gd name="connsiteY152" fmla="*/ 1460211 h 2412498"/>
                <a:gd name="connsiteX153" fmla="*/ 6642147 w 8017738"/>
                <a:gd name="connsiteY153" fmla="*/ 1492366 h 2412498"/>
                <a:gd name="connsiteX154" fmla="*/ 6650680 w 8017738"/>
                <a:gd name="connsiteY154" fmla="*/ 1498090 h 2412498"/>
                <a:gd name="connsiteX155" fmla="*/ 6660046 w 8017738"/>
                <a:gd name="connsiteY155" fmla="*/ 1493823 h 2412498"/>
                <a:gd name="connsiteX156" fmla="*/ 6686373 w 8017738"/>
                <a:gd name="connsiteY156" fmla="*/ 1459378 h 2412498"/>
                <a:gd name="connsiteX157" fmla="*/ 6698028 w 8017738"/>
                <a:gd name="connsiteY157" fmla="*/ 1493199 h 2412498"/>
                <a:gd name="connsiteX158" fmla="*/ 6701046 w 8017738"/>
                <a:gd name="connsiteY158" fmla="*/ 1497569 h 2412498"/>
                <a:gd name="connsiteX159" fmla="*/ 6671492 w 8017738"/>
                <a:gd name="connsiteY159" fmla="*/ 1672813 h 2412498"/>
                <a:gd name="connsiteX160" fmla="*/ 6588243 w 8017738"/>
                <a:gd name="connsiteY160" fmla="*/ 1672813 h 2412498"/>
                <a:gd name="connsiteX161" fmla="*/ 6511654 w 8017738"/>
                <a:gd name="connsiteY161" fmla="*/ 1359373 h 2412498"/>
                <a:gd name="connsiteX162" fmla="*/ 6522684 w 8017738"/>
                <a:gd name="connsiteY162" fmla="*/ 1390592 h 2412498"/>
                <a:gd name="connsiteX163" fmla="*/ 6500207 w 8017738"/>
                <a:gd name="connsiteY163" fmla="*/ 1390592 h 2412498"/>
                <a:gd name="connsiteX164" fmla="*/ 6492403 w 8017738"/>
                <a:gd name="connsiteY164" fmla="*/ 1411405 h 2412498"/>
                <a:gd name="connsiteX165" fmla="*/ 6530281 w 8017738"/>
                <a:gd name="connsiteY165" fmla="*/ 1411405 h 2412498"/>
                <a:gd name="connsiteX166" fmla="*/ 6549844 w 8017738"/>
                <a:gd name="connsiteY166" fmla="*/ 1466038 h 2412498"/>
                <a:gd name="connsiteX167" fmla="*/ 6549844 w 8017738"/>
                <a:gd name="connsiteY167" fmla="*/ 1487371 h 2412498"/>
                <a:gd name="connsiteX168" fmla="*/ 6538189 w 8017738"/>
                <a:gd name="connsiteY168" fmla="*/ 1466558 h 2412498"/>
                <a:gd name="connsiteX169" fmla="*/ 6528720 w 8017738"/>
                <a:gd name="connsiteY169" fmla="*/ 1460939 h 2412498"/>
                <a:gd name="connsiteX170" fmla="*/ 6519354 w 8017738"/>
                <a:gd name="connsiteY170" fmla="*/ 1466767 h 2412498"/>
                <a:gd name="connsiteX171" fmla="*/ 6497813 w 8017738"/>
                <a:gd name="connsiteY171" fmla="*/ 1508392 h 2412498"/>
                <a:gd name="connsiteX172" fmla="*/ 6470133 w 8017738"/>
                <a:gd name="connsiteY172" fmla="*/ 1472698 h 2412498"/>
                <a:gd name="connsiteX173" fmla="*/ 6468781 w 8017738"/>
                <a:gd name="connsiteY173" fmla="*/ 1505062 h 2412498"/>
                <a:gd name="connsiteX174" fmla="*/ 6491050 w 8017738"/>
                <a:gd name="connsiteY174" fmla="*/ 1533888 h 2412498"/>
                <a:gd name="connsiteX175" fmla="*/ 6499583 w 8017738"/>
                <a:gd name="connsiteY175" fmla="*/ 1538050 h 2412498"/>
                <a:gd name="connsiteX176" fmla="*/ 6500519 w 8017738"/>
                <a:gd name="connsiteY176" fmla="*/ 1538050 h 2412498"/>
                <a:gd name="connsiteX177" fmla="*/ 6509052 w 8017738"/>
                <a:gd name="connsiteY177" fmla="*/ 1532327 h 2412498"/>
                <a:gd name="connsiteX178" fmla="*/ 6529032 w 8017738"/>
                <a:gd name="connsiteY178" fmla="*/ 1493927 h 2412498"/>
                <a:gd name="connsiteX179" fmla="*/ 6546307 w 8017738"/>
                <a:gd name="connsiteY179" fmla="*/ 1525146 h 2412498"/>
                <a:gd name="connsiteX180" fmla="*/ 6549844 w 8017738"/>
                <a:gd name="connsiteY180" fmla="*/ 1528789 h 2412498"/>
                <a:gd name="connsiteX181" fmla="*/ 6549844 w 8017738"/>
                <a:gd name="connsiteY181" fmla="*/ 1672084 h 2412498"/>
                <a:gd name="connsiteX182" fmla="*/ 6468781 w 8017738"/>
                <a:gd name="connsiteY182" fmla="*/ 1672084 h 2412498"/>
                <a:gd name="connsiteX183" fmla="*/ 6326320 w 8017738"/>
                <a:gd name="connsiteY183" fmla="*/ 1316290 h 2412498"/>
                <a:gd name="connsiteX184" fmla="*/ 6343594 w 8017738"/>
                <a:gd name="connsiteY184" fmla="*/ 1344179 h 2412498"/>
                <a:gd name="connsiteX185" fmla="*/ 6321741 w 8017738"/>
                <a:gd name="connsiteY185" fmla="*/ 1348966 h 2412498"/>
                <a:gd name="connsiteX186" fmla="*/ 6318620 w 8017738"/>
                <a:gd name="connsiteY186" fmla="*/ 1371548 h 2412498"/>
                <a:gd name="connsiteX187" fmla="*/ 6355666 w 8017738"/>
                <a:gd name="connsiteY187" fmla="*/ 1363535 h 2412498"/>
                <a:gd name="connsiteX188" fmla="*/ 6386260 w 8017738"/>
                <a:gd name="connsiteY188" fmla="*/ 1412757 h 2412498"/>
                <a:gd name="connsiteX189" fmla="*/ 6390838 w 8017738"/>
                <a:gd name="connsiteY189" fmla="*/ 1433570 h 2412498"/>
                <a:gd name="connsiteX190" fmla="*/ 6375021 w 8017738"/>
                <a:gd name="connsiteY190" fmla="*/ 1415359 h 2412498"/>
                <a:gd name="connsiteX191" fmla="*/ 6364615 w 8017738"/>
                <a:gd name="connsiteY191" fmla="*/ 1412029 h 2412498"/>
                <a:gd name="connsiteX192" fmla="*/ 6356706 w 8017738"/>
                <a:gd name="connsiteY192" fmla="*/ 1419626 h 2412498"/>
                <a:gd name="connsiteX193" fmla="*/ 6344323 w 8017738"/>
                <a:gd name="connsiteY193" fmla="*/ 1464477 h 2412498"/>
                <a:gd name="connsiteX194" fmla="*/ 6309774 w 8017738"/>
                <a:gd name="connsiteY194" fmla="*/ 1435443 h 2412498"/>
                <a:gd name="connsiteX195" fmla="*/ 6315290 w 8017738"/>
                <a:gd name="connsiteY195" fmla="*/ 1468223 h 2412498"/>
                <a:gd name="connsiteX196" fmla="*/ 6343282 w 8017738"/>
                <a:gd name="connsiteY196" fmla="*/ 1491742 h 2412498"/>
                <a:gd name="connsiteX197" fmla="*/ 6350150 w 8017738"/>
                <a:gd name="connsiteY197" fmla="*/ 1494343 h 2412498"/>
                <a:gd name="connsiteX198" fmla="*/ 6353376 w 8017738"/>
                <a:gd name="connsiteY198" fmla="*/ 1494343 h 2412498"/>
                <a:gd name="connsiteX199" fmla="*/ 6360453 w 8017738"/>
                <a:gd name="connsiteY199" fmla="*/ 1486955 h 2412498"/>
                <a:gd name="connsiteX200" fmla="*/ 6371899 w 8017738"/>
                <a:gd name="connsiteY200" fmla="*/ 1445329 h 2412498"/>
                <a:gd name="connsiteX201" fmla="*/ 6395417 w 8017738"/>
                <a:gd name="connsiteY201" fmla="*/ 1472178 h 2412498"/>
                <a:gd name="connsiteX202" fmla="*/ 6399579 w 8017738"/>
                <a:gd name="connsiteY202" fmla="*/ 1475092 h 2412498"/>
                <a:gd name="connsiteX203" fmla="*/ 6442557 w 8017738"/>
                <a:gd name="connsiteY203" fmla="*/ 1672813 h 2412498"/>
                <a:gd name="connsiteX204" fmla="*/ 6359307 w 8017738"/>
                <a:gd name="connsiteY204" fmla="*/ 1672813 h 2412498"/>
                <a:gd name="connsiteX205" fmla="*/ 6298223 w 8017738"/>
                <a:gd name="connsiteY205" fmla="*/ 1738789 h 2412498"/>
                <a:gd name="connsiteX206" fmla="*/ 6292916 w 8017738"/>
                <a:gd name="connsiteY206" fmla="*/ 1701535 h 2412498"/>
                <a:gd name="connsiteX207" fmla="*/ 6745272 w 8017738"/>
                <a:gd name="connsiteY207" fmla="*/ 1701535 h 2412498"/>
                <a:gd name="connsiteX208" fmla="*/ 6740173 w 8017738"/>
                <a:gd name="connsiteY208" fmla="*/ 1738477 h 2412498"/>
                <a:gd name="connsiteX209" fmla="*/ 6739445 w 8017738"/>
                <a:gd name="connsiteY209" fmla="*/ 1738477 h 2412498"/>
                <a:gd name="connsiteX210" fmla="*/ 6300825 w 8017738"/>
                <a:gd name="connsiteY210" fmla="*/ 1738477 h 2412498"/>
                <a:gd name="connsiteX211" fmla="*/ 6298223 w 8017738"/>
                <a:gd name="connsiteY211" fmla="*/ 1738477 h 2412498"/>
                <a:gd name="connsiteX212" fmla="*/ 6301449 w 8017738"/>
                <a:gd name="connsiteY212" fmla="*/ 1761684 h 2412498"/>
                <a:gd name="connsiteX213" fmla="*/ 6737364 w 8017738"/>
                <a:gd name="connsiteY213" fmla="*/ 1761684 h 2412498"/>
                <a:gd name="connsiteX214" fmla="*/ 6657340 w 8017738"/>
                <a:gd name="connsiteY214" fmla="*/ 2336636 h 2412498"/>
                <a:gd name="connsiteX215" fmla="*/ 6382409 w 8017738"/>
                <a:gd name="connsiteY215" fmla="*/ 2336636 h 2412498"/>
                <a:gd name="connsiteX216" fmla="*/ 6224131 w 8017738"/>
                <a:gd name="connsiteY216" fmla="*/ 259001 h 2412498"/>
                <a:gd name="connsiteX217" fmla="*/ 5912883 w 8017738"/>
                <a:gd name="connsiteY217" fmla="*/ 142346 h 2412498"/>
                <a:gd name="connsiteX218" fmla="*/ 5875005 w 8017738"/>
                <a:gd name="connsiteY218" fmla="*/ 156186 h 2412498"/>
                <a:gd name="connsiteX219" fmla="*/ 6223611 w 8017738"/>
                <a:gd name="connsiteY219" fmla="*/ 286890 h 2412498"/>
                <a:gd name="connsiteX220" fmla="*/ 6225484 w 8017738"/>
                <a:gd name="connsiteY220" fmla="*/ 288139 h 2412498"/>
                <a:gd name="connsiteX221" fmla="*/ 6229335 w 8017738"/>
                <a:gd name="connsiteY221" fmla="*/ 289180 h 2412498"/>
                <a:gd name="connsiteX222" fmla="*/ 6187710 w 8017738"/>
                <a:gd name="connsiteY222" fmla="*/ 379716 h 2412498"/>
                <a:gd name="connsiteX223" fmla="*/ 5848469 w 8017738"/>
                <a:gd name="connsiteY223" fmla="*/ 249427 h 2412498"/>
                <a:gd name="connsiteX224" fmla="*/ 5358651 w 8017738"/>
                <a:gd name="connsiteY224" fmla="*/ 1292043 h 2412498"/>
                <a:gd name="connsiteX225" fmla="*/ 5366247 w 8017738"/>
                <a:gd name="connsiteY225" fmla="*/ 1294437 h 2412498"/>
                <a:gd name="connsiteX226" fmla="*/ 5379390 w 8017738"/>
                <a:gd name="connsiteY226" fmla="*/ 1281356 h 2412498"/>
                <a:gd name="connsiteX227" fmla="*/ 5379151 w 8017738"/>
                <a:gd name="connsiteY227" fmla="*/ 1278827 h 2412498"/>
                <a:gd name="connsiteX228" fmla="*/ 5813816 w 8017738"/>
                <a:gd name="connsiteY228" fmla="*/ 264100 h 2412498"/>
                <a:gd name="connsiteX229" fmla="*/ 6182091 w 8017738"/>
                <a:gd name="connsiteY229" fmla="*/ 405523 h 2412498"/>
                <a:gd name="connsiteX230" fmla="*/ 6187294 w 8017738"/>
                <a:gd name="connsiteY230" fmla="*/ 410310 h 2412498"/>
                <a:gd name="connsiteX231" fmla="*/ 6196347 w 8017738"/>
                <a:gd name="connsiteY231" fmla="*/ 411039 h 2412498"/>
                <a:gd name="connsiteX232" fmla="*/ 6215494 w 8017738"/>
                <a:gd name="connsiteY232" fmla="*/ 418427 h 2412498"/>
                <a:gd name="connsiteX233" fmla="*/ 5580718 w 8017738"/>
                <a:gd name="connsiteY233" fmla="*/ 1911223 h 2412498"/>
                <a:gd name="connsiteX234" fmla="*/ 4747080 w 8017738"/>
                <a:gd name="connsiteY234" fmla="*/ 1430240 h 2412498"/>
                <a:gd name="connsiteX235" fmla="*/ 4740524 w 8017738"/>
                <a:gd name="connsiteY235" fmla="*/ 1428159 h 2412498"/>
                <a:gd name="connsiteX236" fmla="*/ 4741565 w 8017738"/>
                <a:gd name="connsiteY236" fmla="*/ 1297142 h 2412498"/>
                <a:gd name="connsiteX237" fmla="*/ 4728662 w 8017738"/>
                <a:gd name="connsiteY237" fmla="*/ 1283822 h 2412498"/>
                <a:gd name="connsiteX238" fmla="*/ 4728557 w 8017738"/>
                <a:gd name="connsiteY238" fmla="*/ 1283822 h 2412498"/>
                <a:gd name="connsiteX239" fmla="*/ 4728557 w 8017738"/>
                <a:gd name="connsiteY239" fmla="*/ 1283822 h 2412498"/>
                <a:gd name="connsiteX240" fmla="*/ 4715446 w 8017738"/>
                <a:gd name="connsiteY240" fmla="*/ 1296934 h 2412498"/>
                <a:gd name="connsiteX241" fmla="*/ 4708161 w 8017738"/>
                <a:gd name="connsiteY241" fmla="*/ 2259109 h 2412498"/>
                <a:gd name="connsiteX242" fmla="*/ 4000542 w 8017738"/>
                <a:gd name="connsiteY242" fmla="*/ 2259109 h 2412498"/>
                <a:gd name="connsiteX243" fmla="*/ 4000542 w 8017738"/>
                <a:gd name="connsiteY243" fmla="*/ 2147865 h 2412498"/>
                <a:gd name="connsiteX244" fmla="*/ 4126353 w 8017738"/>
                <a:gd name="connsiteY244" fmla="*/ 2002175 h 2412498"/>
                <a:gd name="connsiteX245" fmla="*/ 4129475 w 8017738"/>
                <a:gd name="connsiteY245" fmla="*/ 1992705 h 2412498"/>
                <a:gd name="connsiteX246" fmla="*/ 4059025 w 8017738"/>
                <a:gd name="connsiteY246" fmla="*/ 910441 h 2412498"/>
                <a:gd name="connsiteX247" fmla="*/ 4098880 w 8017738"/>
                <a:gd name="connsiteY247" fmla="*/ 857369 h 2412498"/>
                <a:gd name="connsiteX248" fmla="*/ 4159028 w 8017738"/>
                <a:gd name="connsiteY248" fmla="*/ 919807 h 2412498"/>
                <a:gd name="connsiteX249" fmla="*/ 4168602 w 8017738"/>
                <a:gd name="connsiteY249" fmla="*/ 924074 h 2412498"/>
                <a:gd name="connsiteX250" fmla="*/ 4168602 w 8017738"/>
                <a:gd name="connsiteY250" fmla="*/ 924074 h 2412498"/>
                <a:gd name="connsiteX251" fmla="*/ 4178071 w 8017738"/>
                <a:gd name="connsiteY251" fmla="*/ 919911 h 2412498"/>
                <a:gd name="connsiteX252" fmla="*/ 4271727 w 8017738"/>
                <a:gd name="connsiteY252" fmla="*/ 821154 h 2412498"/>
                <a:gd name="connsiteX253" fmla="*/ 4275265 w 8017738"/>
                <a:gd name="connsiteY253" fmla="*/ 813870 h 2412498"/>
                <a:gd name="connsiteX254" fmla="*/ 4306483 w 8017738"/>
                <a:gd name="connsiteY254" fmla="*/ 593983 h 2412498"/>
                <a:gd name="connsiteX255" fmla="*/ 4813888 w 8017738"/>
                <a:gd name="connsiteY255" fmla="*/ 910233 h 2412498"/>
                <a:gd name="connsiteX256" fmla="*/ 4814929 w 8017738"/>
                <a:gd name="connsiteY256" fmla="*/ 911274 h 2412498"/>
                <a:gd name="connsiteX257" fmla="*/ 4891206 w 8017738"/>
                <a:gd name="connsiteY257" fmla="*/ 959247 h 2412498"/>
                <a:gd name="connsiteX258" fmla="*/ 3891381 w 8017738"/>
                <a:gd name="connsiteY258" fmla="*/ 1977408 h 2412498"/>
                <a:gd name="connsiteX259" fmla="*/ 3995443 w 8017738"/>
                <a:gd name="connsiteY259" fmla="*/ 938330 h 2412498"/>
                <a:gd name="connsiteX260" fmla="*/ 4005849 w 8017738"/>
                <a:gd name="connsiteY260" fmla="*/ 952379 h 2412498"/>
                <a:gd name="connsiteX261" fmla="*/ 4016255 w 8017738"/>
                <a:gd name="connsiteY261" fmla="*/ 957894 h 2412498"/>
                <a:gd name="connsiteX262" fmla="*/ 4016255 w 8017738"/>
                <a:gd name="connsiteY262" fmla="*/ 957894 h 2412498"/>
                <a:gd name="connsiteX263" fmla="*/ 4026662 w 8017738"/>
                <a:gd name="connsiteY263" fmla="*/ 952587 h 2412498"/>
                <a:gd name="connsiteX264" fmla="*/ 4034466 w 8017738"/>
                <a:gd name="connsiteY264" fmla="*/ 942181 h 2412498"/>
                <a:gd name="connsiteX265" fmla="*/ 4102627 w 8017738"/>
                <a:gd name="connsiteY265" fmla="*/ 1988647 h 2412498"/>
                <a:gd name="connsiteX266" fmla="*/ 3988159 w 8017738"/>
                <a:gd name="connsiteY266" fmla="*/ 2121849 h 2412498"/>
                <a:gd name="connsiteX267" fmla="*/ 3891069 w 8017738"/>
                <a:gd name="connsiteY267" fmla="*/ 1977408 h 2412498"/>
                <a:gd name="connsiteX268" fmla="*/ 3849757 w 8017738"/>
                <a:gd name="connsiteY268" fmla="*/ 659439 h 2412498"/>
                <a:gd name="connsiteX269" fmla="*/ 3992113 w 8017738"/>
                <a:gd name="connsiteY269" fmla="*/ 766104 h 2412498"/>
                <a:gd name="connsiteX270" fmla="*/ 3869008 w 8017738"/>
                <a:gd name="connsiteY270" fmla="*/ 891814 h 2412498"/>
                <a:gd name="connsiteX271" fmla="*/ 3795124 w 8017738"/>
                <a:gd name="connsiteY271" fmla="*/ 815015 h 2412498"/>
                <a:gd name="connsiteX272" fmla="*/ 3754332 w 8017738"/>
                <a:gd name="connsiteY272" fmla="*/ 593046 h 2412498"/>
                <a:gd name="connsiteX273" fmla="*/ 3844450 w 8017738"/>
                <a:gd name="connsiteY273" fmla="*/ 534042 h 2412498"/>
                <a:gd name="connsiteX274" fmla="*/ 3844450 w 8017738"/>
                <a:gd name="connsiteY274" fmla="*/ 648512 h 2412498"/>
                <a:gd name="connsiteX275" fmla="*/ 3849965 w 8017738"/>
                <a:gd name="connsiteY275" fmla="*/ 659439 h 2412498"/>
                <a:gd name="connsiteX276" fmla="*/ 4033946 w 8017738"/>
                <a:gd name="connsiteY276" fmla="*/ 762983 h 2412498"/>
                <a:gd name="connsiteX277" fmla="*/ 4192120 w 8017738"/>
                <a:gd name="connsiteY277" fmla="*/ 670262 h 2412498"/>
                <a:gd name="connsiteX278" fmla="*/ 4198259 w 8017738"/>
                <a:gd name="connsiteY278" fmla="*/ 658919 h 2412498"/>
                <a:gd name="connsiteX279" fmla="*/ 4198259 w 8017738"/>
                <a:gd name="connsiteY279" fmla="*/ 526862 h 2412498"/>
                <a:gd name="connsiteX280" fmla="*/ 4281509 w 8017738"/>
                <a:gd name="connsiteY280" fmla="*/ 578894 h 2412498"/>
                <a:gd name="connsiteX281" fmla="*/ 4249249 w 8017738"/>
                <a:gd name="connsiteY281" fmla="*/ 806169 h 2412498"/>
                <a:gd name="connsiteX282" fmla="*/ 4167769 w 8017738"/>
                <a:gd name="connsiteY282" fmla="*/ 891814 h 2412498"/>
                <a:gd name="connsiteX283" fmla="*/ 4033946 w 8017738"/>
                <a:gd name="connsiteY283" fmla="*/ 762983 h 2412498"/>
                <a:gd name="connsiteX284" fmla="*/ 4014590 w 8017738"/>
                <a:gd name="connsiteY284" fmla="*/ 780882 h 2412498"/>
                <a:gd name="connsiteX285" fmla="*/ 4079108 w 8017738"/>
                <a:gd name="connsiteY285" fmla="*/ 838429 h 2412498"/>
                <a:gd name="connsiteX286" fmla="*/ 4015839 w 8017738"/>
                <a:gd name="connsiteY286" fmla="*/ 922512 h 2412498"/>
                <a:gd name="connsiteX287" fmla="*/ 3957565 w 8017738"/>
                <a:gd name="connsiteY287" fmla="*/ 841030 h 2412498"/>
                <a:gd name="connsiteX288" fmla="*/ 3957565 w 8017738"/>
                <a:gd name="connsiteY288" fmla="*/ 841030 h 2412498"/>
                <a:gd name="connsiteX289" fmla="*/ 4014590 w 8017738"/>
                <a:gd name="connsiteY289" fmla="*/ 780882 h 2412498"/>
                <a:gd name="connsiteX290" fmla="*/ 4172348 w 8017738"/>
                <a:gd name="connsiteY290" fmla="*/ 513229 h 2412498"/>
                <a:gd name="connsiteX291" fmla="*/ 4172348 w 8017738"/>
                <a:gd name="connsiteY291" fmla="*/ 651842 h 2412498"/>
                <a:gd name="connsiteX292" fmla="*/ 4010012 w 8017738"/>
                <a:gd name="connsiteY292" fmla="*/ 747061 h 2412498"/>
                <a:gd name="connsiteX293" fmla="*/ 3870985 w 8017738"/>
                <a:gd name="connsiteY293" fmla="*/ 642997 h 2412498"/>
                <a:gd name="connsiteX294" fmla="*/ 3870985 w 8017738"/>
                <a:gd name="connsiteY294" fmla="*/ 514062 h 2412498"/>
                <a:gd name="connsiteX295" fmla="*/ 4014590 w 8017738"/>
                <a:gd name="connsiteY295" fmla="*/ 515831 h 2412498"/>
                <a:gd name="connsiteX296" fmla="*/ 4172348 w 8017738"/>
                <a:gd name="connsiteY296" fmla="*/ 513229 h 2412498"/>
                <a:gd name="connsiteX297" fmla="*/ 1406389 w 8017738"/>
                <a:gd name="connsiteY297" fmla="*/ 1193599 h 2412498"/>
                <a:gd name="connsiteX298" fmla="*/ 1412425 w 8017738"/>
                <a:gd name="connsiteY298" fmla="*/ 1180487 h 2412498"/>
                <a:gd name="connsiteX299" fmla="*/ 1414506 w 8017738"/>
                <a:gd name="connsiteY299" fmla="*/ 1176949 h 2412498"/>
                <a:gd name="connsiteX300" fmla="*/ 1414506 w 8017738"/>
                <a:gd name="connsiteY300" fmla="*/ 1175388 h 2412498"/>
                <a:gd name="connsiteX301" fmla="*/ 1569037 w 8017738"/>
                <a:gd name="connsiteY301" fmla="*/ 839990 h 2412498"/>
                <a:gd name="connsiteX302" fmla="*/ 1655409 w 8017738"/>
                <a:gd name="connsiteY302" fmla="*/ 884321 h 2412498"/>
                <a:gd name="connsiteX303" fmla="*/ 1497755 w 8017738"/>
                <a:gd name="connsiteY303" fmla="*/ 1232935 h 2412498"/>
                <a:gd name="connsiteX304" fmla="*/ 3352342 w 8017738"/>
                <a:gd name="connsiteY304" fmla="*/ 1297663 h 2412498"/>
                <a:gd name="connsiteX305" fmla="*/ 3352342 w 8017738"/>
                <a:gd name="connsiteY305" fmla="*/ 1297663 h 2412498"/>
                <a:gd name="connsiteX306" fmla="*/ 3339230 w 8017738"/>
                <a:gd name="connsiteY306" fmla="*/ 1310671 h 2412498"/>
                <a:gd name="connsiteX307" fmla="*/ 3338398 w 8017738"/>
                <a:gd name="connsiteY307" fmla="*/ 1409219 h 2412498"/>
                <a:gd name="connsiteX308" fmla="*/ 3336212 w 8017738"/>
                <a:gd name="connsiteY308" fmla="*/ 1410156 h 2412498"/>
                <a:gd name="connsiteX309" fmla="*/ 2742541 w 8017738"/>
                <a:gd name="connsiteY309" fmla="*/ 1770529 h 2412498"/>
                <a:gd name="connsiteX310" fmla="*/ 2740252 w 8017738"/>
                <a:gd name="connsiteY310" fmla="*/ 1770529 h 2412498"/>
                <a:gd name="connsiteX311" fmla="*/ 1513468 w 8017738"/>
                <a:gd name="connsiteY311" fmla="*/ 1262489 h 2412498"/>
                <a:gd name="connsiteX312" fmla="*/ 1690373 w 8017738"/>
                <a:gd name="connsiteY312" fmla="*/ 870272 h 2412498"/>
                <a:gd name="connsiteX313" fmla="*/ 2717878 w 8017738"/>
                <a:gd name="connsiteY313" fmla="*/ 1288713 h 2412498"/>
                <a:gd name="connsiteX314" fmla="*/ 2730470 w 8017738"/>
                <a:gd name="connsiteY314" fmla="*/ 1287256 h 2412498"/>
                <a:gd name="connsiteX315" fmla="*/ 3198019 w 8017738"/>
                <a:gd name="connsiteY315" fmla="*/ 954252 h 2412498"/>
                <a:gd name="connsiteX316" fmla="*/ 3729982 w 8017738"/>
                <a:gd name="connsiteY316" fmla="*/ 608656 h 2412498"/>
                <a:gd name="connsiteX317" fmla="*/ 3769525 w 8017738"/>
                <a:gd name="connsiteY317" fmla="*/ 823756 h 2412498"/>
                <a:gd name="connsiteX318" fmla="*/ 3773063 w 8017738"/>
                <a:gd name="connsiteY318" fmla="*/ 830520 h 2412498"/>
                <a:gd name="connsiteX319" fmla="*/ 3859226 w 8017738"/>
                <a:gd name="connsiteY319" fmla="*/ 919703 h 2412498"/>
                <a:gd name="connsiteX320" fmla="*/ 3868592 w 8017738"/>
                <a:gd name="connsiteY320" fmla="*/ 923761 h 2412498"/>
                <a:gd name="connsiteX321" fmla="*/ 3868592 w 8017738"/>
                <a:gd name="connsiteY321" fmla="*/ 923761 h 2412498"/>
                <a:gd name="connsiteX322" fmla="*/ 3877853 w 8017738"/>
                <a:gd name="connsiteY322" fmla="*/ 919911 h 2412498"/>
                <a:gd name="connsiteX323" fmla="*/ 3938001 w 8017738"/>
                <a:gd name="connsiteY323" fmla="*/ 859554 h 2412498"/>
                <a:gd name="connsiteX324" fmla="*/ 3971925 w 8017738"/>
                <a:gd name="connsiteY324" fmla="*/ 907007 h 2412498"/>
                <a:gd name="connsiteX325" fmla="*/ 3970989 w 8017738"/>
                <a:gd name="connsiteY325" fmla="*/ 909921 h 2412498"/>
                <a:gd name="connsiteX326" fmla="*/ 3865262 w 8017738"/>
                <a:gd name="connsiteY326" fmla="*/ 1984901 h 2412498"/>
                <a:gd name="connsiteX327" fmla="*/ 3972757 w 8017738"/>
                <a:gd name="connsiteY327" fmla="*/ 2147240 h 2412498"/>
                <a:gd name="connsiteX328" fmla="*/ 3972757 w 8017738"/>
                <a:gd name="connsiteY328" fmla="*/ 2259109 h 2412498"/>
                <a:gd name="connsiteX329" fmla="*/ 3356713 w 8017738"/>
                <a:gd name="connsiteY329" fmla="*/ 2259109 h 2412498"/>
                <a:gd name="connsiteX330" fmla="*/ 3364413 w 8017738"/>
                <a:gd name="connsiteY330" fmla="*/ 1310671 h 2412498"/>
                <a:gd name="connsiteX331" fmla="*/ 3351926 w 8017738"/>
                <a:gd name="connsiteY331" fmla="*/ 1297454 h 2412498"/>
                <a:gd name="connsiteX332" fmla="*/ 3357233 w 8017738"/>
                <a:gd name="connsiteY332" fmla="*/ 2304168 h 2412498"/>
                <a:gd name="connsiteX333" fmla="*/ 4707225 w 8017738"/>
                <a:gd name="connsiteY333" fmla="*/ 2304168 h 2412498"/>
                <a:gd name="connsiteX334" fmla="*/ 4707225 w 8017738"/>
                <a:gd name="connsiteY334" fmla="*/ 2336533 h 2412498"/>
                <a:gd name="connsiteX335" fmla="*/ 3356608 w 8017738"/>
                <a:gd name="connsiteY335" fmla="*/ 2336533 h 2412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</a:cxnLst>
              <a:rect l="l" t="t" r="r" b="b"/>
              <a:pathLst>
                <a:path w="8017738" h="2412498">
                  <a:moveTo>
                    <a:pt x="6251916" y="269096"/>
                  </a:moveTo>
                  <a:lnTo>
                    <a:pt x="6248794" y="267951"/>
                  </a:lnTo>
                  <a:moveTo>
                    <a:pt x="5888117" y="132668"/>
                  </a:moveTo>
                  <a:lnTo>
                    <a:pt x="5870842" y="126216"/>
                  </a:lnTo>
                  <a:cubicBezTo>
                    <a:pt x="5867440" y="124967"/>
                    <a:pt x="5863662" y="125186"/>
                    <a:pt x="5860436" y="126840"/>
                  </a:cubicBezTo>
                  <a:cubicBezTo>
                    <a:pt x="5857127" y="128411"/>
                    <a:pt x="5854671" y="131336"/>
                    <a:pt x="5853672" y="134853"/>
                  </a:cubicBezTo>
                  <a:lnTo>
                    <a:pt x="5823390" y="239541"/>
                  </a:lnTo>
                  <a:lnTo>
                    <a:pt x="5811423" y="234963"/>
                  </a:lnTo>
                  <a:cubicBezTo>
                    <a:pt x="5804815" y="232423"/>
                    <a:pt x="5797385" y="235545"/>
                    <a:pt x="5794565" y="242039"/>
                  </a:cubicBezTo>
                  <a:lnTo>
                    <a:pt x="5358755" y="1259680"/>
                  </a:lnTo>
                  <a:lnTo>
                    <a:pt x="4905254" y="937082"/>
                  </a:lnTo>
                  <a:lnTo>
                    <a:pt x="4874036" y="917726"/>
                  </a:lnTo>
                  <a:cubicBezTo>
                    <a:pt x="4873453" y="917028"/>
                    <a:pt x="4872787" y="916394"/>
                    <a:pt x="4872059" y="915852"/>
                  </a:cubicBezTo>
                  <a:lnTo>
                    <a:pt x="4304090" y="562035"/>
                  </a:lnTo>
                  <a:cubicBezTo>
                    <a:pt x="4302914" y="561026"/>
                    <a:pt x="4301582" y="560214"/>
                    <a:pt x="4300136" y="559642"/>
                  </a:cubicBezTo>
                  <a:lnTo>
                    <a:pt x="4219072" y="508858"/>
                  </a:lnTo>
                  <a:cubicBezTo>
                    <a:pt x="4315225" y="498452"/>
                    <a:pt x="4381096" y="470875"/>
                    <a:pt x="4465490" y="402193"/>
                  </a:cubicBezTo>
                  <a:cubicBezTo>
                    <a:pt x="4582975" y="306559"/>
                    <a:pt x="4679752" y="174293"/>
                    <a:pt x="4745103" y="19862"/>
                  </a:cubicBezTo>
                  <a:cubicBezTo>
                    <a:pt x="4748173" y="12588"/>
                    <a:pt x="4744781" y="4201"/>
                    <a:pt x="4737507" y="1131"/>
                  </a:cubicBezTo>
                  <a:cubicBezTo>
                    <a:pt x="4730233" y="-1939"/>
                    <a:pt x="4721846" y="1454"/>
                    <a:pt x="4718776" y="8728"/>
                  </a:cubicBezTo>
                  <a:cubicBezTo>
                    <a:pt x="4656131" y="159412"/>
                    <a:pt x="4561747" y="287307"/>
                    <a:pt x="4448007" y="380028"/>
                  </a:cubicBezTo>
                  <a:cubicBezTo>
                    <a:pt x="4322197" y="482322"/>
                    <a:pt x="4243734" y="487213"/>
                    <a:pt x="4014694" y="487213"/>
                  </a:cubicBezTo>
                  <a:cubicBezTo>
                    <a:pt x="3746528" y="487213"/>
                    <a:pt x="3704903" y="481178"/>
                    <a:pt x="3579405" y="378363"/>
                  </a:cubicBezTo>
                  <a:cubicBezTo>
                    <a:pt x="3462855" y="282936"/>
                    <a:pt x="3382312" y="170235"/>
                    <a:pt x="3318106" y="13306"/>
                  </a:cubicBezTo>
                  <a:cubicBezTo>
                    <a:pt x="3315868" y="5762"/>
                    <a:pt x="3307928" y="1454"/>
                    <a:pt x="3300384" y="3701"/>
                  </a:cubicBezTo>
                  <a:cubicBezTo>
                    <a:pt x="3292829" y="5939"/>
                    <a:pt x="3288531" y="13869"/>
                    <a:pt x="3290769" y="21423"/>
                  </a:cubicBezTo>
                  <a:cubicBezTo>
                    <a:pt x="3291008" y="22214"/>
                    <a:pt x="3291310" y="22974"/>
                    <a:pt x="3291674" y="23713"/>
                  </a:cubicBezTo>
                  <a:cubicBezTo>
                    <a:pt x="3356817" y="183243"/>
                    <a:pt x="3442564" y="302916"/>
                    <a:pt x="3561298" y="400216"/>
                  </a:cubicBezTo>
                  <a:cubicBezTo>
                    <a:pt x="3656306" y="478056"/>
                    <a:pt x="3707817" y="503551"/>
                    <a:pt x="3830922" y="511772"/>
                  </a:cubicBezTo>
                  <a:lnTo>
                    <a:pt x="3183658" y="932503"/>
                  </a:lnTo>
                  <a:lnTo>
                    <a:pt x="2721520" y="1261345"/>
                  </a:lnTo>
                  <a:lnTo>
                    <a:pt x="1689020" y="840926"/>
                  </a:lnTo>
                  <a:cubicBezTo>
                    <a:pt x="1682465" y="838221"/>
                    <a:pt x="1674951" y="841218"/>
                    <a:pt x="1672059" y="847691"/>
                  </a:cubicBezTo>
                  <a:lnTo>
                    <a:pt x="1666647" y="859658"/>
                  </a:lnTo>
                  <a:lnTo>
                    <a:pt x="1569246" y="809707"/>
                  </a:lnTo>
                  <a:cubicBezTo>
                    <a:pt x="1566030" y="808032"/>
                    <a:pt x="1562263" y="807772"/>
                    <a:pt x="1558839" y="808979"/>
                  </a:cubicBezTo>
                  <a:cubicBezTo>
                    <a:pt x="1555478" y="810134"/>
                    <a:pt x="1552731" y="812611"/>
                    <a:pt x="1551243" y="815847"/>
                  </a:cubicBezTo>
                  <a:lnTo>
                    <a:pt x="1545311" y="828751"/>
                  </a:lnTo>
                  <a:lnTo>
                    <a:pt x="1281203" y="672655"/>
                  </a:lnTo>
                  <a:cubicBezTo>
                    <a:pt x="1277311" y="670522"/>
                    <a:pt x="1272607" y="670522"/>
                    <a:pt x="1268715" y="672655"/>
                  </a:cubicBezTo>
                  <a:cubicBezTo>
                    <a:pt x="1265490" y="674320"/>
                    <a:pt x="1189733" y="712928"/>
                    <a:pt x="1176621" y="791496"/>
                  </a:cubicBezTo>
                  <a:cubicBezTo>
                    <a:pt x="1173270" y="805846"/>
                    <a:pt x="1176642" y="820936"/>
                    <a:pt x="1185778" y="832497"/>
                  </a:cubicBezTo>
                  <a:cubicBezTo>
                    <a:pt x="1205238" y="855391"/>
                    <a:pt x="1246654" y="855391"/>
                    <a:pt x="1286718" y="855391"/>
                  </a:cubicBezTo>
                  <a:cubicBezTo>
                    <a:pt x="1310340" y="855391"/>
                    <a:pt x="1334899" y="855391"/>
                    <a:pt x="1349155" y="860595"/>
                  </a:cubicBezTo>
                  <a:cubicBezTo>
                    <a:pt x="1374359" y="870907"/>
                    <a:pt x="1393506" y="892115"/>
                    <a:pt x="1401186" y="918246"/>
                  </a:cubicBezTo>
                  <a:cubicBezTo>
                    <a:pt x="1402528" y="924219"/>
                    <a:pt x="1407763" y="928517"/>
                    <a:pt x="1413881" y="928652"/>
                  </a:cubicBezTo>
                  <a:cubicBezTo>
                    <a:pt x="1414953" y="928808"/>
                    <a:pt x="1416036" y="928808"/>
                    <a:pt x="1417107" y="928652"/>
                  </a:cubicBezTo>
                  <a:cubicBezTo>
                    <a:pt x="1424142" y="926914"/>
                    <a:pt x="1428429" y="919807"/>
                    <a:pt x="1426691" y="912782"/>
                  </a:cubicBezTo>
                  <a:cubicBezTo>
                    <a:pt x="1426691" y="912762"/>
                    <a:pt x="1426681" y="912751"/>
                    <a:pt x="1426681" y="912731"/>
                  </a:cubicBezTo>
                  <a:cubicBezTo>
                    <a:pt x="1416660" y="878160"/>
                    <a:pt x="1391238" y="850167"/>
                    <a:pt x="1357792" y="836868"/>
                  </a:cubicBezTo>
                  <a:cubicBezTo>
                    <a:pt x="1339373" y="829896"/>
                    <a:pt x="1313670" y="829896"/>
                    <a:pt x="1286510" y="829896"/>
                  </a:cubicBezTo>
                  <a:cubicBezTo>
                    <a:pt x="1253939" y="829896"/>
                    <a:pt x="1217101" y="829896"/>
                    <a:pt x="1205654" y="816367"/>
                  </a:cubicBezTo>
                  <a:cubicBezTo>
                    <a:pt x="1201460" y="810727"/>
                    <a:pt x="1200222" y="803412"/>
                    <a:pt x="1202324" y="796699"/>
                  </a:cubicBezTo>
                  <a:cubicBezTo>
                    <a:pt x="1211169" y="743211"/>
                    <a:pt x="1257477" y="710534"/>
                    <a:pt x="1274231" y="700440"/>
                  </a:cubicBezTo>
                  <a:lnTo>
                    <a:pt x="1534385" y="853934"/>
                  </a:lnTo>
                  <a:lnTo>
                    <a:pt x="1395254" y="1155720"/>
                  </a:lnTo>
                  <a:lnTo>
                    <a:pt x="1190877" y="1075174"/>
                  </a:lnTo>
                  <a:lnTo>
                    <a:pt x="1061216" y="1005763"/>
                  </a:lnTo>
                  <a:cubicBezTo>
                    <a:pt x="1055930" y="1000789"/>
                    <a:pt x="1047616" y="1001050"/>
                    <a:pt x="1042642" y="1006336"/>
                  </a:cubicBezTo>
                  <a:cubicBezTo>
                    <a:pt x="1037667" y="1011622"/>
                    <a:pt x="1037928" y="1019937"/>
                    <a:pt x="1043214" y="1024911"/>
                  </a:cubicBezTo>
                  <a:lnTo>
                    <a:pt x="1174852" y="1095987"/>
                  </a:lnTo>
                  <a:cubicBezTo>
                    <a:pt x="1176017" y="1097173"/>
                    <a:pt x="1177443" y="1098068"/>
                    <a:pt x="1179014" y="1098589"/>
                  </a:cubicBezTo>
                  <a:lnTo>
                    <a:pt x="1384120" y="1179238"/>
                  </a:lnTo>
                  <a:lnTo>
                    <a:pt x="1376940" y="1194848"/>
                  </a:lnTo>
                  <a:cubicBezTo>
                    <a:pt x="1375420" y="1198146"/>
                    <a:pt x="1375420" y="1201955"/>
                    <a:pt x="1376940" y="1205254"/>
                  </a:cubicBezTo>
                  <a:cubicBezTo>
                    <a:pt x="1378157" y="1208605"/>
                    <a:pt x="1380727" y="1211279"/>
                    <a:pt x="1384016" y="1212642"/>
                  </a:cubicBezTo>
                  <a:lnTo>
                    <a:pt x="1487557" y="1257078"/>
                  </a:lnTo>
                  <a:lnTo>
                    <a:pt x="1484331" y="1264258"/>
                  </a:lnTo>
                  <a:cubicBezTo>
                    <a:pt x="1481334" y="1270783"/>
                    <a:pt x="1484196" y="1278515"/>
                    <a:pt x="1490731" y="1281512"/>
                  </a:cubicBezTo>
                  <a:cubicBezTo>
                    <a:pt x="1490741" y="1281512"/>
                    <a:pt x="1490762" y="1281523"/>
                    <a:pt x="1490783" y="1281533"/>
                  </a:cubicBezTo>
                  <a:cubicBezTo>
                    <a:pt x="1607332" y="1334710"/>
                    <a:pt x="2624431" y="1797169"/>
                    <a:pt x="2741604" y="1797169"/>
                  </a:cubicBezTo>
                  <a:lnTo>
                    <a:pt x="2744518" y="1797169"/>
                  </a:lnTo>
                  <a:cubicBezTo>
                    <a:pt x="2840047" y="1789365"/>
                    <a:pt x="3256189" y="1499026"/>
                    <a:pt x="3337669" y="1441479"/>
                  </a:cubicBezTo>
                  <a:lnTo>
                    <a:pt x="3331009" y="2259838"/>
                  </a:lnTo>
                  <a:lnTo>
                    <a:pt x="3313735" y="2259838"/>
                  </a:lnTo>
                  <a:cubicBezTo>
                    <a:pt x="3301352" y="2258994"/>
                    <a:pt x="3290623" y="2268350"/>
                    <a:pt x="3289780" y="2280734"/>
                  </a:cubicBezTo>
                  <a:cubicBezTo>
                    <a:pt x="3288937" y="2293117"/>
                    <a:pt x="3298292" y="2303846"/>
                    <a:pt x="3310676" y="2304689"/>
                  </a:cubicBezTo>
                  <a:cubicBezTo>
                    <a:pt x="3311695" y="2304761"/>
                    <a:pt x="3312715" y="2304761"/>
                    <a:pt x="3313735" y="2304689"/>
                  </a:cubicBezTo>
                  <a:lnTo>
                    <a:pt x="3330593" y="2304689"/>
                  </a:lnTo>
                  <a:lnTo>
                    <a:pt x="3330593" y="2337053"/>
                  </a:lnTo>
                  <a:lnTo>
                    <a:pt x="35793" y="2337053"/>
                  </a:lnTo>
                  <a:cubicBezTo>
                    <a:pt x="14960" y="2338145"/>
                    <a:pt x="-1042" y="2355919"/>
                    <a:pt x="53" y="2376753"/>
                  </a:cubicBezTo>
                  <a:cubicBezTo>
                    <a:pt x="1067" y="2396057"/>
                    <a:pt x="16490" y="2411490"/>
                    <a:pt x="35793" y="2412499"/>
                  </a:cubicBezTo>
                  <a:lnTo>
                    <a:pt x="7981941" y="2412499"/>
                  </a:lnTo>
                  <a:cubicBezTo>
                    <a:pt x="8002774" y="2411407"/>
                    <a:pt x="8018779" y="2393632"/>
                    <a:pt x="8017686" y="2372799"/>
                  </a:cubicBezTo>
                  <a:cubicBezTo>
                    <a:pt x="8016666" y="2353495"/>
                    <a:pt x="8001245" y="2338062"/>
                    <a:pt x="7981941" y="2337053"/>
                  </a:cubicBezTo>
                  <a:lnTo>
                    <a:pt x="6685853" y="2337053"/>
                  </a:lnTo>
                  <a:lnTo>
                    <a:pt x="6775867" y="1689151"/>
                  </a:lnTo>
                  <a:cubicBezTo>
                    <a:pt x="6776439" y="1685072"/>
                    <a:pt x="6775221" y="1680940"/>
                    <a:pt x="6772537" y="1677808"/>
                  </a:cubicBezTo>
                  <a:cubicBezTo>
                    <a:pt x="6769904" y="1674780"/>
                    <a:pt x="6766137" y="1672969"/>
                    <a:pt x="6762130" y="1672813"/>
                  </a:cubicBezTo>
                  <a:lnTo>
                    <a:pt x="6693658" y="1672813"/>
                  </a:lnTo>
                  <a:lnTo>
                    <a:pt x="6733409" y="1436900"/>
                  </a:lnTo>
                  <a:cubicBezTo>
                    <a:pt x="6733607" y="1435735"/>
                    <a:pt x="6733607" y="1434538"/>
                    <a:pt x="6733409" y="1433362"/>
                  </a:cubicBezTo>
                  <a:lnTo>
                    <a:pt x="6708434" y="1290378"/>
                  </a:lnTo>
                  <a:cubicBezTo>
                    <a:pt x="6707727" y="1285935"/>
                    <a:pt x="6704241" y="1282449"/>
                    <a:pt x="6699798" y="1281741"/>
                  </a:cubicBezTo>
                  <a:cubicBezTo>
                    <a:pt x="6695312" y="1280815"/>
                    <a:pt x="6690754" y="1282927"/>
                    <a:pt x="6688559" y="1286944"/>
                  </a:cubicBezTo>
                  <a:lnTo>
                    <a:pt x="6610928" y="1422227"/>
                  </a:lnTo>
                  <a:lnTo>
                    <a:pt x="6610928" y="1423476"/>
                  </a:lnTo>
                  <a:cubicBezTo>
                    <a:pt x="6610887" y="1423996"/>
                    <a:pt x="6610887" y="1424517"/>
                    <a:pt x="6610928" y="1425037"/>
                  </a:cubicBezTo>
                  <a:cubicBezTo>
                    <a:pt x="6610866" y="1425276"/>
                    <a:pt x="6610866" y="1425526"/>
                    <a:pt x="6610928" y="1425765"/>
                  </a:cubicBezTo>
                  <a:lnTo>
                    <a:pt x="6570865" y="1646381"/>
                  </a:lnTo>
                  <a:lnTo>
                    <a:pt x="6570865" y="1464373"/>
                  </a:lnTo>
                  <a:cubicBezTo>
                    <a:pt x="6570875" y="1463135"/>
                    <a:pt x="6570667" y="1461896"/>
                    <a:pt x="6570241" y="1460731"/>
                  </a:cubicBezTo>
                  <a:lnTo>
                    <a:pt x="6521436" y="1324095"/>
                  </a:lnTo>
                  <a:cubicBezTo>
                    <a:pt x="6519948" y="1319672"/>
                    <a:pt x="6515691" y="1316779"/>
                    <a:pt x="6511030" y="1317019"/>
                  </a:cubicBezTo>
                  <a:lnTo>
                    <a:pt x="6511030" y="1317019"/>
                  </a:lnTo>
                  <a:cubicBezTo>
                    <a:pt x="6506399" y="1316758"/>
                    <a:pt x="6502153" y="1319610"/>
                    <a:pt x="6500623" y="1323991"/>
                  </a:cubicBezTo>
                  <a:lnTo>
                    <a:pt x="6447968" y="1470617"/>
                  </a:lnTo>
                  <a:cubicBezTo>
                    <a:pt x="6447968" y="1470617"/>
                    <a:pt x="6447968" y="1471553"/>
                    <a:pt x="6447968" y="1471970"/>
                  </a:cubicBezTo>
                  <a:lnTo>
                    <a:pt x="6447968" y="1473635"/>
                  </a:lnTo>
                  <a:cubicBezTo>
                    <a:pt x="6447968" y="1473635"/>
                    <a:pt x="6447968" y="1473635"/>
                    <a:pt x="6447968" y="1474363"/>
                  </a:cubicBezTo>
                  <a:lnTo>
                    <a:pt x="6447968" y="1593724"/>
                  </a:lnTo>
                  <a:lnTo>
                    <a:pt x="6407488" y="1406409"/>
                  </a:lnTo>
                  <a:cubicBezTo>
                    <a:pt x="6407217" y="1405182"/>
                    <a:pt x="6406718" y="1404027"/>
                    <a:pt x="6406031" y="1402975"/>
                  </a:cubicBezTo>
                  <a:lnTo>
                    <a:pt x="6329442" y="1279764"/>
                  </a:lnTo>
                  <a:cubicBezTo>
                    <a:pt x="6326830" y="1274644"/>
                    <a:pt x="6320566" y="1272604"/>
                    <a:pt x="6315446" y="1275216"/>
                  </a:cubicBezTo>
                  <a:cubicBezTo>
                    <a:pt x="6312105" y="1276923"/>
                    <a:pt x="6309941" y="1280284"/>
                    <a:pt x="6309774" y="1284030"/>
                  </a:cubicBezTo>
                  <a:lnTo>
                    <a:pt x="6288234" y="1438461"/>
                  </a:lnTo>
                  <a:cubicBezTo>
                    <a:pt x="6288234" y="1438461"/>
                    <a:pt x="6288234" y="1439294"/>
                    <a:pt x="6288234" y="1439814"/>
                  </a:cubicBezTo>
                  <a:lnTo>
                    <a:pt x="6288234" y="1441375"/>
                  </a:lnTo>
                  <a:cubicBezTo>
                    <a:pt x="6288234" y="1441375"/>
                    <a:pt x="6288234" y="1441895"/>
                    <a:pt x="6288234" y="1442104"/>
                  </a:cubicBezTo>
                  <a:lnTo>
                    <a:pt x="6337246" y="1672605"/>
                  </a:lnTo>
                  <a:lnTo>
                    <a:pt x="6276891" y="1672605"/>
                  </a:lnTo>
                  <a:cubicBezTo>
                    <a:pt x="6268961" y="1672647"/>
                    <a:pt x="6262561" y="1679109"/>
                    <a:pt x="6262603" y="1687038"/>
                  </a:cubicBezTo>
                  <a:cubicBezTo>
                    <a:pt x="6262603" y="1687673"/>
                    <a:pt x="6262655" y="1688308"/>
                    <a:pt x="6262739" y="1688943"/>
                  </a:cubicBezTo>
                  <a:lnTo>
                    <a:pt x="6354000" y="2336324"/>
                  </a:lnTo>
                  <a:lnTo>
                    <a:pt x="4733240" y="2336324"/>
                  </a:lnTo>
                  <a:lnTo>
                    <a:pt x="4733240" y="2303961"/>
                  </a:lnTo>
                  <a:cubicBezTo>
                    <a:pt x="4745592" y="2303961"/>
                    <a:pt x="4755613" y="2293939"/>
                    <a:pt x="4755613" y="2281587"/>
                  </a:cubicBezTo>
                  <a:cubicBezTo>
                    <a:pt x="4755613" y="2269234"/>
                    <a:pt x="4745592" y="2259213"/>
                    <a:pt x="4733240" y="2259213"/>
                  </a:cubicBezTo>
                  <a:lnTo>
                    <a:pt x="4739796" y="1457921"/>
                  </a:lnTo>
                  <a:cubicBezTo>
                    <a:pt x="4778195" y="1484249"/>
                    <a:pt x="4948856" y="1600593"/>
                    <a:pt x="5125448" y="1711213"/>
                  </a:cubicBezTo>
                  <a:cubicBezTo>
                    <a:pt x="5439923" y="1907685"/>
                    <a:pt x="5538261" y="1938904"/>
                    <a:pt x="5574162" y="1938904"/>
                  </a:cubicBezTo>
                  <a:cubicBezTo>
                    <a:pt x="5581166" y="1939248"/>
                    <a:pt x="5588107" y="1937437"/>
                    <a:pt x="5594038" y="1933701"/>
                  </a:cubicBezTo>
                  <a:cubicBezTo>
                    <a:pt x="5677288" y="1885311"/>
                    <a:pt x="6187190" y="565678"/>
                    <a:pt x="6244735" y="415409"/>
                  </a:cubicBezTo>
                  <a:cubicBezTo>
                    <a:pt x="6247379" y="408728"/>
                    <a:pt x="6244111" y="401173"/>
                    <a:pt x="6237441" y="398520"/>
                  </a:cubicBezTo>
                  <a:cubicBezTo>
                    <a:pt x="6237379" y="398499"/>
                    <a:pt x="6237306" y="398468"/>
                    <a:pt x="6237243" y="398447"/>
                  </a:cubicBezTo>
                  <a:lnTo>
                    <a:pt x="6211748" y="388665"/>
                  </a:lnTo>
                  <a:lnTo>
                    <a:pt x="6259200" y="286682"/>
                  </a:lnTo>
                  <a:cubicBezTo>
                    <a:pt x="6260678" y="283373"/>
                    <a:pt x="6260678" y="279585"/>
                    <a:pt x="6259200" y="276276"/>
                  </a:cubicBezTo>
                  <a:moveTo>
                    <a:pt x="6691785" y="1322950"/>
                  </a:moveTo>
                  <a:lnTo>
                    <a:pt x="6697508" y="1355418"/>
                  </a:lnTo>
                  <a:lnTo>
                    <a:pt x="6675343" y="1351568"/>
                  </a:lnTo>
                  <a:close/>
                  <a:moveTo>
                    <a:pt x="6664520" y="1371444"/>
                  </a:moveTo>
                  <a:lnTo>
                    <a:pt x="6701879" y="1377896"/>
                  </a:lnTo>
                  <a:lnTo>
                    <a:pt x="6712285" y="1435027"/>
                  </a:lnTo>
                  <a:lnTo>
                    <a:pt x="6708747" y="1455840"/>
                  </a:lnTo>
                  <a:lnTo>
                    <a:pt x="6700734" y="1432842"/>
                  </a:lnTo>
                  <a:cubicBezTo>
                    <a:pt x="6699506" y="1429064"/>
                    <a:pt x="6696238" y="1426327"/>
                    <a:pt x="6692305" y="1425765"/>
                  </a:cubicBezTo>
                  <a:cubicBezTo>
                    <a:pt x="6688319" y="1425006"/>
                    <a:pt x="6684261" y="1426629"/>
                    <a:pt x="6681899" y="1429928"/>
                  </a:cubicBezTo>
                  <a:lnTo>
                    <a:pt x="6653698" y="1466975"/>
                  </a:lnTo>
                  <a:lnTo>
                    <a:pt x="6632886" y="1427014"/>
                  </a:lnTo>
                  <a:close/>
                  <a:moveTo>
                    <a:pt x="6624977" y="1460211"/>
                  </a:moveTo>
                  <a:lnTo>
                    <a:pt x="6642147" y="1492366"/>
                  </a:lnTo>
                  <a:cubicBezTo>
                    <a:pt x="6643781" y="1495644"/>
                    <a:pt x="6647027" y="1497819"/>
                    <a:pt x="6650680" y="1498090"/>
                  </a:cubicBezTo>
                  <a:cubicBezTo>
                    <a:pt x="6654333" y="1498423"/>
                    <a:pt x="6657891" y="1496799"/>
                    <a:pt x="6660046" y="1493823"/>
                  </a:cubicBezTo>
                  <a:lnTo>
                    <a:pt x="6686373" y="1459378"/>
                  </a:lnTo>
                  <a:lnTo>
                    <a:pt x="6698028" y="1493199"/>
                  </a:lnTo>
                  <a:cubicBezTo>
                    <a:pt x="6698590" y="1494916"/>
                    <a:pt x="6699631" y="1496435"/>
                    <a:pt x="6701046" y="1497569"/>
                  </a:cubicBezTo>
                  <a:lnTo>
                    <a:pt x="6671492" y="1672813"/>
                  </a:lnTo>
                  <a:lnTo>
                    <a:pt x="6588243" y="1672813"/>
                  </a:lnTo>
                  <a:close/>
                  <a:moveTo>
                    <a:pt x="6511654" y="1359373"/>
                  </a:moveTo>
                  <a:lnTo>
                    <a:pt x="6522684" y="1390592"/>
                  </a:lnTo>
                  <a:lnTo>
                    <a:pt x="6500207" y="1390592"/>
                  </a:lnTo>
                  <a:close/>
                  <a:moveTo>
                    <a:pt x="6492403" y="1411405"/>
                  </a:moveTo>
                  <a:lnTo>
                    <a:pt x="6530281" y="1411405"/>
                  </a:lnTo>
                  <a:lnTo>
                    <a:pt x="6549844" y="1466038"/>
                  </a:lnTo>
                  <a:lnTo>
                    <a:pt x="6549844" y="1487371"/>
                  </a:lnTo>
                  <a:lnTo>
                    <a:pt x="6538189" y="1466558"/>
                  </a:lnTo>
                  <a:cubicBezTo>
                    <a:pt x="6536202" y="1463187"/>
                    <a:pt x="6532633" y="1461074"/>
                    <a:pt x="6528720" y="1460939"/>
                  </a:cubicBezTo>
                  <a:cubicBezTo>
                    <a:pt x="6524745" y="1460929"/>
                    <a:pt x="6521103" y="1463197"/>
                    <a:pt x="6519354" y="1466767"/>
                  </a:cubicBezTo>
                  <a:lnTo>
                    <a:pt x="6497813" y="1508392"/>
                  </a:lnTo>
                  <a:lnTo>
                    <a:pt x="6470133" y="1472698"/>
                  </a:lnTo>
                  <a:close/>
                  <a:moveTo>
                    <a:pt x="6468781" y="1505062"/>
                  </a:moveTo>
                  <a:lnTo>
                    <a:pt x="6491050" y="1533888"/>
                  </a:lnTo>
                  <a:cubicBezTo>
                    <a:pt x="6493058" y="1536562"/>
                    <a:pt x="6496232" y="1538113"/>
                    <a:pt x="6499583" y="1538050"/>
                  </a:cubicBezTo>
                  <a:lnTo>
                    <a:pt x="6500519" y="1538050"/>
                  </a:lnTo>
                  <a:cubicBezTo>
                    <a:pt x="6504172" y="1537780"/>
                    <a:pt x="6507419" y="1535605"/>
                    <a:pt x="6509052" y="1532327"/>
                  </a:cubicBezTo>
                  <a:lnTo>
                    <a:pt x="6529032" y="1493927"/>
                  </a:lnTo>
                  <a:lnTo>
                    <a:pt x="6546307" y="1525146"/>
                  </a:lnTo>
                  <a:cubicBezTo>
                    <a:pt x="6547170" y="1526634"/>
                    <a:pt x="6548388" y="1527883"/>
                    <a:pt x="6549844" y="1528789"/>
                  </a:cubicBezTo>
                  <a:lnTo>
                    <a:pt x="6549844" y="1672084"/>
                  </a:lnTo>
                  <a:lnTo>
                    <a:pt x="6468781" y="1672084"/>
                  </a:lnTo>
                  <a:close/>
                  <a:moveTo>
                    <a:pt x="6326320" y="1316290"/>
                  </a:moveTo>
                  <a:lnTo>
                    <a:pt x="6343594" y="1344179"/>
                  </a:lnTo>
                  <a:lnTo>
                    <a:pt x="6321741" y="1348966"/>
                  </a:lnTo>
                  <a:close/>
                  <a:moveTo>
                    <a:pt x="6318620" y="1371548"/>
                  </a:moveTo>
                  <a:lnTo>
                    <a:pt x="6355666" y="1363535"/>
                  </a:lnTo>
                  <a:lnTo>
                    <a:pt x="6386260" y="1412757"/>
                  </a:lnTo>
                  <a:lnTo>
                    <a:pt x="6390838" y="1433570"/>
                  </a:lnTo>
                  <a:lnTo>
                    <a:pt x="6375021" y="1415359"/>
                  </a:lnTo>
                  <a:cubicBezTo>
                    <a:pt x="6372461" y="1412373"/>
                    <a:pt x="6368434" y="1411082"/>
                    <a:pt x="6364615" y="1412029"/>
                  </a:cubicBezTo>
                  <a:cubicBezTo>
                    <a:pt x="6360754" y="1412851"/>
                    <a:pt x="6357684" y="1415796"/>
                    <a:pt x="6356706" y="1419626"/>
                  </a:cubicBezTo>
                  <a:lnTo>
                    <a:pt x="6344323" y="1464477"/>
                  </a:lnTo>
                  <a:lnTo>
                    <a:pt x="6309774" y="1435443"/>
                  </a:lnTo>
                  <a:close/>
                  <a:moveTo>
                    <a:pt x="6315290" y="1468223"/>
                  </a:moveTo>
                  <a:lnTo>
                    <a:pt x="6343282" y="1491742"/>
                  </a:lnTo>
                  <a:cubicBezTo>
                    <a:pt x="6345176" y="1493417"/>
                    <a:pt x="6347621" y="1494343"/>
                    <a:pt x="6350150" y="1494343"/>
                  </a:cubicBezTo>
                  <a:cubicBezTo>
                    <a:pt x="6351222" y="1494489"/>
                    <a:pt x="6352304" y="1494489"/>
                    <a:pt x="6353376" y="1494343"/>
                  </a:cubicBezTo>
                  <a:cubicBezTo>
                    <a:pt x="6356862" y="1493292"/>
                    <a:pt x="6359547" y="1490483"/>
                    <a:pt x="6360453" y="1486955"/>
                  </a:cubicBezTo>
                  <a:lnTo>
                    <a:pt x="6371899" y="1445329"/>
                  </a:lnTo>
                  <a:lnTo>
                    <a:pt x="6395417" y="1472178"/>
                  </a:lnTo>
                  <a:cubicBezTo>
                    <a:pt x="6396541" y="1473479"/>
                    <a:pt x="6397977" y="1474478"/>
                    <a:pt x="6399579" y="1475092"/>
                  </a:cubicBezTo>
                  <a:lnTo>
                    <a:pt x="6442557" y="1672813"/>
                  </a:lnTo>
                  <a:lnTo>
                    <a:pt x="6359307" y="1672813"/>
                  </a:lnTo>
                  <a:close/>
                  <a:moveTo>
                    <a:pt x="6298223" y="1738789"/>
                  </a:moveTo>
                  <a:lnTo>
                    <a:pt x="6292916" y="1701535"/>
                  </a:lnTo>
                  <a:lnTo>
                    <a:pt x="6745272" y="1701535"/>
                  </a:lnTo>
                  <a:lnTo>
                    <a:pt x="6740173" y="1738477"/>
                  </a:lnTo>
                  <a:lnTo>
                    <a:pt x="6739445" y="1738477"/>
                  </a:lnTo>
                  <a:lnTo>
                    <a:pt x="6300825" y="1738477"/>
                  </a:lnTo>
                  <a:cubicBezTo>
                    <a:pt x="6299961" y="1738373"/>
                    <a:pt x="6299087" y="1738373"/>
                    <a:pt x="6298223" y="1738477"/>
                  </a:cubicBezTo>
                  <a:close/>
                  <a:moveTo>
                    <a:pt x="6301449" y="1761684"/>
                  </a:moveTo>
                  <a:lnTo>
                    <a:pt x="6737364" y="1761684"/>
                  </a:lnTo>
                  <a:lnTo>
                    <a:pt x="6657340" y="2336636"/>
                  </a:lnTo>
                  <a:lnTo>
                    <a:pt x="6382409" y="2336636"/>
                  </a:lnTo>
                  <a:close/>
                  <a:moveTo>
                    <a:pt x="6224131" y="259001"/>
                  </a:moveTo>
                  <a:lnTo>
                    <a:pt x="5912883" y="142346"/>
                  </a:lnTo>
                  <a:moveTo>
                    <a:pt x="5875005" y="156186"/>
                  </a:moveTo>
                  <a:lnTo>
                    <a:pt x="6223611" y="286890"/>
                  </a:lnTo>
                  <a:cubicBezTo>
                    <a:pt x="6224194" y="287369"/>
                    <a:pt x="6224818" y="287785"/>
                    <a:pt x="6225484" y="288139"/>
                  </a:cubicBezTo>
                  <a:cubicBezTo>
                    <a:pt x="6226712" y="288680"/>
                    <a:pt x="6228003" y="289034"/>
                    <a:pt x="6229335" y="289180"/>
                  </a:cubicBezTo>
                  <a:lnTo>
                    <a:pt x="6187710" y="379716"/>
                  </a:lnTo>
                  <a:lnTo>
                    <a:pt x="5848469" y="249427"/>
                  </a:lnTo>
                  <a:close/>
                  <a:moveTo>
                    <a:pt x="5358651" y="1292043"/>
                  </a:moveTo>
                  <a:cubicBezTo>
                    <a:pt x="5360888" y="1293584"/>
                    <a:pt x="5363531" y="1294416"/>
                    <a:pt x="5366247" y="1294437"/>
                  </a:cubicBezTo>
                  <a:cubicBezTo>
                    <a:pt x="5373490" y="1294457"/>
                    <a:pt x="5379369" y="1288599"/>
                    <a:pt x="5379390" y="1281356"/>
                  </a:cubicBezTo>
                  <a:cubicBezTo>
                    <a:pt x="5379390" y="1280513"/>
                    <a:pt x="5379317" y="1279660"/>
                    <a:pt x="5379151" y="1278827"/>
                  </a:cubicBezTo>
                  <a:lnTo>
                    <a:pt x="5813816" y="264100"/>
                  </a:lnTo>
                  <a:lnTo>
                    <a:pt x="6182091" y="405523"/>
                  </a:lnTo>
                  <a:cubicBezTo>
                    <a:pt x="6183339" y="407573"/>
                    <a:pt x="6185139" y="409238"/>
                    <a:pt x="6187294" y="410310"/>
                  </a:cubicBezTo>
                  <a:cubicBezTo>
                    <a:pt x="6190114" y="411673"/>
                    <a:pt x="6193340" y="411933"/>
                    <a:pt x="6196347" y="411039"/>
                  </a:cubicBezTo>
                  <a:lnTo>
                    <a:pt x="6215494" y="418427"/>
                  </a:lnTo>
                  <a:cubicBezTo>
                    <a:pt x="5806428" y="1480399"/>
                    <a:pt x="5611937" y="1893220"/>
                    <a:pt x="5580718" y="1911223"/>
                  </a:cubicBezTo>
                  <a:cubicBezTo>
                    <a:pt x="5544401" y="1932557"/>
                    <a:pt x="5222434" y="1758458"/>
                    <a:pt x="4747080" y="1430240"/>
                  </a:cubicBezTo>
                  <a:cubicBezTo>
                    <a:pt x="4745103" y="1429002"/>
                    <a:pt x="4742845" y="1428294"/>
                    <a:pt x="4740524" y="1428159"/>
                  </a:cubicBezTo>
                  <a:lnTo>
                    <a:pt x="4741565" y="1297142"/>
                  </a:lnTo>
                  <a:cubicBezTo>
                    <a:pt x="4741680" y="1289900"/>
                    <a:pt x="4735904" y="1283937"/>
                    <a:pt x="4728662" y="1283822"/>
                  </a:cubicBezTo>
                  <a:cubicBezTo>
                    <a:pt x="4728630" y="1283822"/>
                    <a:pt x="4728589" y="1283822"/>
                    <a:pt x="4728557" y="1283822"/>
                  </a:cubicBezTo>
                  <a:lnTo>
                    <a:pt x="4728557" y="1283822"/>
                  </a:lnTo>
                  <a:cubicBezTo>
                    <a:pt x="4721315" y="1283822"/>
                    <a:pt x="4715446" y="1289692"/>
                    <a:pt x="4715446" y="1296934"/>
                  </a:cubicBezTo>
                  <a:lnTo>
                    <a:pt x="4708161" y="2259109"/>
                  </a:lnTo>
                  <a:lnTo>
                    <a:pt x="4000542" y="2259109"/>
                  </a:lnTo>
                  <a:lnTo>
                    <a:pt x="4000542" y="2147865"/>
                  </a:lnTo>
                  <a:lnTo>
                    <a:pt x="4126353" y="2002175"/>
                  </a:lnTo>
                  <a:cubicBezTo>
                    <a:pt x="4128559" y="1999532"/>
                    <a:pt x="4129683" y="1996139"/>
                    <a:pt x="4129475" y="1992705"/>
                  </a:cubicBezTo>
                  <a:lnTo>
                    <a:pt x="4059025" y="910441"/>
                  </a:lnTo>
                  <a:lnTo>
                    <a:pt x="4098880" y="857369"/>
                  </a:lnTo>
                  <a:cubicBezTo>
                    <a:pt x="4118756" y="877349"/>
                    <a:pt x="4139672" y="898994"/>
                    <a:pt x="4159028" y="919807"/>
                  </a:cubicBezTo>
                  <a:cubicBezTo>
                    <a:pt x="4161484" y="922512"/>
                    <a:pt x="4164949" y="924053"/>
                    <a:pt x="4168602" y="924074"/>
                  </a:cubicBezTo>
                  <a:lnTo>
                    <a:pt x="4168602" y="924074"/>
                  </a:lnTo>
                  <a:cubicBezTo>
                    <a:pt x="4172202" y="924063"/>
                    <a:pt x="4175636" y="922554"/>
                    <a:pt x="4178071" y="919911"/>
                  </a:cubicBezTo>
                  <a:lnTo>
                    <a:pt x="4271727" y="821154"/>
                  </a:lnTo>
                  <a:cubicBezTo>
                    <a:pt x="4273652" y="819167"/>
                    <a:pt x="4274890" y="816617"/>
                    <a:pt x="4275265" y="813870"/>
                  </a:cubicBezTo>
                  <a:lnTo>
                    <a:pt x="4306483" y="593983"/>
                  </a:lnTo>
                  <a:lnTo>
                    <a:pt x="4813888" y="910233"/>
                  </a:lnTo>
                  <a:lnTo>
                    <a:pt x="4814929" y="911274"/>
                  </a:lnTo>
                  <a:lnTo>
                    <a:pt x="4891206" y="959247"/>
                  </a:lnTo>
                  <a:close/>
                  <a:moveTo>
                    <a:pt x="3891381" y="1977408"/>
                  </a:moveTo>
                  <a:cubicBezTo>
                    <a:pt x="3888156" y="1939529"/>
                    <a:pt x="3950488" y="1346260"/>
                    <a:pt x="3995443" y="938330"/>
                  </a:cubicBezTo>
                  <a:lnTo>
                    <a:pt x="4005849" y="952379"/>
                  </a:lnTo>
                  <a:cubicBezTo>
                    <a:pt x="4008253" y="955761"/>
                    <a:pt x="4012114" y="957801"/>
                    <a:pt x="4016255" y="957894"/>
                  </a:cubicBezTo>
                  <a:lnTo>
                    <a:pt x="4016255" y="957894"/>
                  </a:lnTo>
                  <a:cubicBezTo>
                    <a:pt x="4020366" y="957853"/>
                    <a:pt x="4024216" y="955886"/>
                    <a:pt x="4026662" y="952587"/>
                  </a:cubicBezTo>
                  <a:lnTo>
                    <a:pt x="4034466" y="942181"/>
                  </a:lnTo>
                  <a:lnTo>
                    <a:pt x="4102627" y="1988647"/>
                  </a:lnTo>
                  <a:lnTo>
                    <a:pt x="3988159" y="2121849"/>
                  </a:lnTo>
                  <a:cubicBezTo>
                    <a:pt x="3949760" y="2069713"/>
                    <a:pt x="3897625" y="1994579"/>
                    <a:pt x="3891069" y="1977408"/>
                  </a:cubicBezTo>
                  <a:close/>
                  <a:moveTo>
                    <a:pt x="3849757" y="659439"/>
                  </a:moveTo>
                  <a:lnTo>
                    <a:pt x="3992113" y="766104"/>
                  </a:lnTo>
                  <a:cubicBezTo>
                    <a:pt x="3964328" y="796283"/>
                    <a:pt x="3894503" y="866318"/>
                    <a:pt x="3869008" y="891814"/>
                  </a:cubicBezTo>
                  <a:lnTo>
                    <a:pt x="3795124" y="815015"/>
                  </a:lnTo>
                  <a:lnTo>
                    <a:pt x="3754332" y="593046"/>
                  </a:lnTo>
                  <a:lnTo>
                    <a:pt x="3844450" y="534042"/>
                  </a:lnTo>
                  <a:lnTo>
                    <a:pt x="3844450" y="648512"/>
                  </a:lnTo>
                  <a:cubicBezTo>
                    <a:pt x="3844366" y="652841"/>
                    <a:pt x="3846437" y="656931"/>
                    <a:pt x="3849965" y="659439"/>
                  </a:cubicBezTo>
                  <a:close/>
                  <a:moveTo>
                    <a:pt x="4033946" y="762983"/>
                  </a:moveTo>
                  <a:lnTo>
                    <a:pt x="4192120" y="670262"/>
                  </a:lnTo>
                  <a:cubicBezTo>
                    <a:pt x="4196012" y="667816"/>
                    <a:pt x="4198343" y="663518"/>
                    <a:pt x="4198259" y="658919"/>
                  </a:cubicBezTo>
                  <a:lnTo>
                    <a:pt x="4198259" y="526862"/>
                  </a:lnTo>
                  <a:lnTo>
                    <a:pt x="4281509" y="578894"/>
                  </a:lnTo>
                  <a:lnTo>
                    <a:pt x="4249249" y="806169"/>
                  </a:lnTo>
                  <a:lnTo>
                    <a:pt x="4167769" y="891814"/>
                  </a:lnTo>
                  <a:cubicBezTo>
                    <a:pt x="4136342" y="857889"/>
                    <a:pt x="4072553" y="791704"/>
                    <a:pt x="4033946" y="762983"/>
                  </a:cubicBezTo>
                  <a:close/>
                  <a:moveTo>
                    <a:pt x="4014590" y="780882"/>
                  </a:moveTo>
                  <a:cubicBezTo>
                    <a:pt x="4037297" y="798666"/>
                    <a:pt x="4058848" y="817897"/>
                    <a:pt x="4079108" y="838429"/>
                  </a:cubicBezTo>
                  <a:lnTo>
                    <a:pt x="4015839" y="922512"/>
                  </a:lnTo>
                  <a:lnTo>
                    <a:pt x="3957565" y="841030"/>
                  </a:lnTo>
                  <a:cubicBezTo>
                    <a:pt x="3957565" y="841030"/>
                    <a:pt x="3957565" y="841030"/>
                    <a:pt x="3957565" y="841030"/>
                  </a:cubicBezTo>
                  <a:cubicBezTo>
                    <a:pt x="3979730" y="817304"/>
                    <a:pt x="4002311" y="794202"/>
                    <a:pt x="4014590" y="780882"/>
                  </a:cubicBezTo>
                  <a:close/>
                  <a:moveTo>
                    <a:pt x="4172348" y="513229"/>
                  </a:moveTo>
                  <a:lnTo>
                    <a:pt x="4172348" y="651842"/>
                  </a:lnTo>
                  <a:lnTo>
                    <a:pt x="4010012" y="747061"/>
                  </a:lnTo>
                  <a:lnTo>
                    <a:pt x="3870985" y="642997"/>
                  </a:lnTo>
                  <a:lnTo>
                    <a:pt x="3870985" y="514062"/>
                  </a:lnTo>
                  <a:cubicBezTo>
                    <a:pt x="3911049" y="515519"/>
                    <a:pt x="3957877" y="515831"/>
                    <a:pt x="4014590" y="515831"/>
                  </a:cubicBezTo>
                  <a:cubicBezTo>
                    <a:pt x="4076299" y="515831"/>
                    <a:pt x="4127601" y="515415"/>
                    <a:pt x="4172348" y="513229"/>
                  </a:cubicBezTo>
                  <a:close/>
                  <a:moveTo>
                    <a:pt x="1406389" y="1193599"/>
                  </a:moveTo>
                  <a:lnTo>
                    <a:pt x="1412425" y="1180487"/>
                  </a:lnTo>
                  <a:cubicBezTo>
                    <a:pt x="1413299" y="1179425"/>
                    <a:pt x="1413996" y="1178229"/>
                    <a:pt x="1414506" y="1176949"/>
                  </a:cubicBezTo>
                  <a:cubicBezTo>
                    <a:pt x="1414558" y="1176428"/>
                    <a:pt x="1414558" y="1175908"/>
                    <a:pt x="1414506" y="1175388"/>
                  </a:cubicBezTo>
                  <a:lnTo>
                    <a:pt x="1569037" y="839990"/>
                  </a:lnTo>
                  <a:lnTo>
                    <a:pt x="1655409" y="884321"/>
                  </a:lnTo>
                  <a:lnTo>
                    <a:pt x="1497755" y="1232935"/>
                  </a:lnTo>
                  <a:close/>
                  <a:moveTo>
                    <a:pt x="3352342" y="1297663"/>
                  </a:moveTo>
                  <a:lnTo>
                    <a:pt x="3352342" y="1297663"/>
                  </a:lnTo>
                  <a:cubicBezTo>
                    <a:pt x="3345141" y="1297663"/>
                    <a:pt x="3339282" y="1303469"/>
                    <a:pt x="3339230" y="1310671"/>
                  </a:cubicBezTo>
                  <a:lnTo>
                    <a:pt x="3338398" y="1409219"/>
                  </a:lnTo>
                  <a:cubicBezTo>
                    <a:pt x="3337638" y="1409448"/>
                    <a:pt x="3336899" y="1409760"/>
                    <a:pt x="3336212" y="1410156"/>
                  </a:cubicBezTo>
                  <a:cubicBezTo>
                    <a:pt x="3198331" y="1508184"/>
                    <a:pt x="2822876" y="1763973"/>
                    <a:pt x="2742541" y="1770529"/>
                  </a:cubicBezTo>
                  <a:lnTo>
                    <a:pt x="2740252" y="1770529"/>
                  </a:lnTo>
                  <a:cubicBezTo>
                    <a:pt x="2647741" y="1770425"/>
                    <a:pt x="1836892" y="1409844"/>
                    <a:pt x="1513468" y="1262489"/>
                  </a:cubicBezTo>
                  <a:lnTo>
                    <a:pt x="1690373" y="870272"/>
                  </a:lnTo>
                  <a:lnTo>
                    <a:pt x="2717878" y="1288713"/>
                  </a:lnTo>
                  <a:cubicBezTo>
                    <a:pt x="2722041" y="1290441"/>
                    <a:pt x="2726807" y="1289889"/>
                    <a:pt x="2730470" y="1287256"/>
                  </a:cubicBezTo>
                  <a:lnTo>
                    <a:pt x="3198019" y="954252"/>
                  </a:lnTo>
                  <a:lnTo>
                    <a:pt x="3729982" y="608656"/>
                  </a:lnTo>
                  <a:lnTo>
                    <a:pt x="3769525" y="823756"/>
                  </a:lnTo>
                  <a:cubicBezTo>
                    <a:pt x="3769973" y="826326"/>
                    <a:pt x="3771211" y="828688"/>
                    <a:pt x="3773063" y="830520"/>
                  </a:cubicBezTo>
                  <a:lnTo>
                    <a:pt x="3859226" y="919703"/>
                  </a:lnTo>
                  <a:cubicBezTo>
                    <a:pt x="3861672" y="922263"/>
                    <a:pt x="3865054" y="923730"/>
                    <a:pt x="3868592" y="923761"/>
                  </a:cubicBezTo>
                  <a:lnTo>
                    <a:pt x="3868592" y="923761"/>
                  </a:lnTo>
                  <a:cubicBezTo>
                    <a:pt x="3872067" y="923751"/>
                    <a:pt x="3875397" y="922367"/>
                    <a:pt x="3877853" y="919911"/>
                  </a:cubicBezTo>
                  <a:cubicBezTo>
                    <a:pt x="3880247" y="917517"/>
                    <a:pt x="3907615" y="890253"/>
                    <a:pt x="3938001" y="859554"/>
                  </a:cubicBezTo>
                  <a:lnTo>
                    <a:pt x="3971925" y="907007"/>
                  </a:lnTo>
                  <a:cubicBezTo>
                    <a:pt x="3971509" y="907943"/>
                    <a:pt x="3971186" y="908922"/>
                    <a:pt x="3970989" y="909921"/>
                  </a:cubicBezTo>
                  <a:cubicBezTo>
                    <a:pt x="3944037" y="1155616"/>
                    <a:pt x="3856521" y="1959197"/>
                    <a:pt x="3865262" y="1984901"/>
                  </a:cubicBezTo>
                  <a:cubicBezTo>
                    <a:pt x="3874003" y="2010604"/>
                    <a:pt x="3951529" y="2117894"/>
                    <a:pt x="3972757" y="2147240"/>
                  </a:cubicBezTo>
                  <a:lnTo>
                    <a:pt x="3972757" y="2259109"/>
                  </a:lnTo>
                  <a:lnTo>
                    <a:pt x="3356713" y="2259109"/>
                  </a:lnTo>
                  <a:lnTo>
                    <a:pt x="3364413" y="1310671"/>
                  </a:lnTo>
                  <a:cubicBezTo>
                    <a:pt x="3364476" y="1303626"/>
                    <a:pt x="3358960" y="1297788"/>
                    <a:pt x="3351926" y="1297454"/>
                  </a:cubicBezTo>
                  <a:close/>
                  <a:moveTo>
                    <a:pt x="3357233" y="2304168"/>
                  </a:moveTo>
                  <a:lnTo>
                    <a:pt x="4707225" y="2304168"/>
                  </a:lnTo>
                  <a:lnTo>
                    <a:pt x="4707225" y="2336533"/>
                  </a:lnTo>
                  <a:lnTo>
                    <a:pt x="3356608" y="2336533"/>
                  </a:ln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FD4B06EB-D67B-5D47-BAA1-AD5B2E96530A}"/>
                </a:ext>
              </a:extLst>
            </p:cNvPr>
            <p:cNvSpPr/>
            <p:nvPr/>
          </p:nvSpPr>
          <p:spPr>
            <a:xfrm>
              <a:off x="10432955" y="6123907"/>
              <a:ext cx="214382" cy="404086"/>
            </a:xfrm>
            <a:custGeom>
              <a:avLst/>
              <a:gdLst>
                <a:gd name="connsiteX0" fmla="*/ 201832 w 214382"/>
                <a:gd name="connsiteY0" fmla="*/ 380410 h 404086"/>
                <a:gd name="connsiteX1" fmla="*/ 74773 w 214382"/>
                <a:gd name="connsiteY1" fmla="*/ 380410 h 404086"/>
                <a:gd name="connsiteX2" fmla="*/ 22742 w 214382"/>
                <a:gd name="connsiteY2" fmla="*/ 7966 h 404086"/>
                <a:gd name="connsiteX3" fmla="*/ 8173 w 214382"/>
                <a:gd name="connsiteY3" fmla="*/ 577 h 404086"/>
                <a:gd name="connsiteX4" fmla="*/ 473 w 214382"/>
                <a:gd name="connsiteY4" fmla="*/ 15250 h 404086"/>
                <a:gd name="connsiteX5" fmla="*/ 52504 w 214382"/>
                <a:gd name="connsiteY5" fmla="*/ 393627 h 404086"/>
                <a:gd name="connsiteX6" fmla="*/ 64158 w 214382"/>
                <a:gd name="connsiteY6" fmla="*/ 404033 h 404086"/>
                <a:gd name="connsiteX7" fmla="*/ 201520 w 214382"/>
                <a:gd name="connsiteY7" fmla="*/ 404033 h 404086"/>
                <a:gd name="connsiteX8" fmla="*/ 214329 w 214382"/>
                <a:gd name="connsiteY8" fmla="*/ 393429 h 404086"/>
                <a:gd name="connsiteX9" fmla="*/ 203726 w 214382"/>
                <a:gd name="connsiteY9" fmla="*/ 380619 h 404086"/>
                <a:gd name="connsiteX10" fmla="*/ 201520 w 214382"/>
                <a:gd name="connsiteY10" fmla="*/ 380619 h 404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4382" h="404086">
                  <a:moveTo>
                    <a:pt x="201832" y="380410"/>
                  </a:moveTo>
                  <a:lnTo>
                    <a:pt x="74773" y="380410"/>
                  </a:lnTo>
                  <a:cubicBezTo>
                    <a:pt x="64367" y="301426"/>
                    <a:pt x="27841" y="23263"/>
                    <a:pt x="22742" y="7966"/>
                  </a:cubicBezTo>
                  <a:cubicBezTo>
                    <a:pt x="20754" y="1899"/>
                    <a:pt x="14240" y="-1410"/>
                    <a:pt x="8173" y="577"/>
                  </a:cubicBezTo>
                  <a:cubicBezTo>
                    <a:pt x="2085" y="2617"/>
                    <a:pt x="-1307" y="9090"/>
                    <a:pt x="473" y="15250"/>
                  </a:cubicBezTo>
                  <a:cubicBezTo>
                    <a:pt x="4531" y="29195"/>
                    <a:pt x="33980" y="249186"/>
                    <a:pt x="52504" y="393627"/>
                  </a:cubicBezTo>
                  <a:cubicBezTo>
                    <a:pt x="53232" y="399527"/>
                    <a:pt x="58217" y="403971"/>
                    <a:pt x="64158" y="404033"/>
                  </a:cubicBezTo>
                  <a:lnTo>
                    <a:pt x="201520" y="404033"/>
                  </a:lnTo>
                  <a:cubicBezTo>
                    <a:pt x="207982" y="404647"/>
                    <a:pt x="213726" y="399891"/>
                    <a:pt x="214329" y="393429"/>
                  </a:cubicBezTo>
                  <a:cubicBezTo>
                    <a:pt x="214944" y="386966"/>
                    <a:pt x="210199" y="381232"/>
                    <a:pt x="203726" y="380619"/>
                  </a:cubicBezTo>
                  <a:cubicBezTo>
                    <a:pt x="202997" y="380546"/>
                    <a:pt x="202259" y="380546"/>
                    <a:pt x="201520" y="380619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9C6A2953-14AF-314B-BE34-E15D553F91B6}"/>
                </a:ext>
              </a:extLst>
            </p:cNvPr>
            <p:cNvSpPr/>
            <p:nvPr/>
          </p:nvSpPr>
          <p:spPr>
            <a:xfrm>
              <a:off x="8797402" y="4582570"/>
              <a:ext cx="240870" cy="290234"/>
            </a:xfrm>
            <a:custGeom>
              <a:avLst/>
              <a:gdLst>
                <a:gd name="connsiteX0" fmla="*/ 202992 w 240870"/>
                <a:gd name="connsiteY0" fmla="*/ 75550 h 290234"/>
                <a:gd name="connsiteX1" fmla="*/ 240871 w 240870"/>
                <a:gd name="connsiteY1" fmla="*/ 37879 h 290234"/>
                <a:gd name="connsiteX2" fmla="*/ 203200 w 240870"/>
                <a:gd name="connsiteY2" fmla="*/ 0 h 290234"/>
                <a:gd name="connsiteX3" fmla="*/ 165322 w 240870"/>
                <a:gd name="connsiteY3" fmla="*/ 37671 h 290234"/>
                <a:gd name="connsiteX4" fmla="*/ 165322 w 240870"/>
                <a:gd name="connsiteY4" fmla="*/ 37775 h 290234"/>
                <a:gd name="connsiteX5" fmla="*/ 166362 w 240870"/>
                <a:gd name="connsiteY5" fmla="*/ 46413 h 290234"/>
                <a:gd name="connsiteX6" fmla="*/ 60636 w 240870"/>
                <a:gd name="connsiteY6" fmla="*/ 115199 h 290234"/>
                <a:gd name="connsiteX7" fmla="*/ 7700 w 240870"/>
                <a:gd name="connsiteY7" fmla="*/ 122411 h 290234"/>
                <a:gd name="connsiteX8" fmla="*/ 14921 w 240870"/>
                <a:gd name="connsiteY8" fmla="*/ 175348 h 290234"/>
                <a:gd name="connsiteX9" fmla="*/ 60636 w 240870"/>
                <a:gd name="connsiteY9" fmla="*/ 175348 h 290234"/>
                <a:gd name="connsiteX10" fmla="*/ 166467 w 240870"/>
                <a:gd name="connsiteY10" fmla="*/ 244238 h 290234"/>
                <a:gd name="connsiteX11" fmla="*/ 165530 w 240870"/>
                <a:gd name="connsiteY11" fmla="*/ 252563 h 290234"/>
                <a:gd name="connsiteX12" fmla="*/ 203200 w 240870"/>
                <a:gd name="connsiteY12" fmla="*/ 290234 h 290234"/>
                <a:gd name="connsiteX13" fmla="*/ 240871 w 240870"/>
                <a:gd name="connsiteY13" fmla="*/ 252563 h 290234"/>
                <a:gd name="connsiteX14" fmla="*/ 203200 w 240870"/>
                <a:gd name="connsiteY14" fmla="*/ 214892 h 290234"/>
                <a:gd name="connsiteX15" fmla="*/ 180307 w 240870"/>
                <a:gd name="connsiteY15" fmla="*/ 222697 h 290234"/>
                <a:gd name="connsiteX16" fmla="*/ 74372 w 240870"/>
                <a:gd name="connsiteY16" fmla="*/ 153910 h 290234"/>
                <a:gd name="connsiteX17" fmla="*/ 75413 w 240870"/>
                <a:gd name="connsiteY17" fmla="*/ 145169 h 290234"/>
                <a:gd name="connsiteX18" fmla="*/ 74372 w 240870"/>
                <a:gd name="connsiteY18" fmla="*/ 136740 h 290234"/>
                <a:gd name="connsiteX19" fmla="*/ 180099 w 240870"/>
                <a:gd name="connsiteY19" fmla="*/ 67850 h 290234"/>
                <a:gd name="connsiteX20" fmla="*/ 202992 w 240870"/>
                <a:gd name="connsiteY20" fmla="*/ 75550 h 290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0870" h="290234">
                  <a:moveTo>
                    <a:pt x="202992" y="75550"/>
                  </a:moveTo>
                  <a:cubicBezTo>
                    <a:pt x="223856" y="75613"/>
                    <a:pt x="240808" y="58744"/>
                    <a:pt x="240871" y="37879"/>
                  </a:cubicBezTo>
                  <a:cubicBezTo>
                    <a:pt x="240923" y="17014"/>
                    <a:pt x="224065" y="62"/>
                    <a:pt x="203200" y="0"/>
                  </a:cubicBezTo>
                  <a:cubicBezTo>
                    <a:pt x="182336" y="-62"/>
                    <a:pt x="165384" y="16806"/>
                    <a:pt x="165322" y="37671"/>
                  </a:cubicBezTo>
                  <a:cubicBezTo>
                    <a:pt x="165322" y="37702"/>
                    <a:pt x="165322" y="37744"/>
                    <a:pt x="165322" y="37775"/>
                  </a:cubicBezTo>
                  <a:cubicBezTo>
                    <a:pt x="165291" y="40689"/>
                    <a:pt x="165644" y="43592"/>
                    <a:pt x="166362" y="46413"/>
                  </a:cubicBezTo>
                  <a:lnTo>
                    <a:pt x="60636" y="115199"/>
                  </a:lnTo>
                  <a:cubicBezTo>
                    <a:pt x="44028" y="102576"/>
                    <a:pt x="20333" y="105802"/>
                    <a:pt x="7700" y="122411"/>
                  </a:cubicBezTo>
                  <a:cubicBezTo>
                    <a:pt x="-4923" y="139029"/>
                    <a:pt x="-1687" y="162725"/>
                    <a:pt x="14921" y="175348"/>
                  </a:cubicBezTo>
                  <a:cubicBezTo>
                    <a:pt x="28429" y="185619"/>
                    <a:pt x="47129" y="185619"/>
                    <a:pt x="60636" y="175348"/>
                  </a:cubicBezTo>
                  <a:lnTo>
                    <a:pt x="166467" y="244238"/>
                  </a:lnTo>
                  <a:cubicBezTo>
                    <a:pt x="165842" y="246964"/>
                    <a:pt x="165530" y="249764"/>
                    <a:pt x="165530" y="252563"/>
                  </a:cubicBezTo>
                  <a:cubicBezTo>
                    <a:pt x="165530" y="273365"/>
                    <a:pt x="182399" y="290234"/>
                    <a:pt x="203200" y="290234"/>
                  </a:cubicBezTo>
                  <a:cubicBezTo>
                    <a:pt x="224002" y="290234"/>
                    <a:pt x="240871" y="273365"/>
                    <a:pt x="240871" y="252563"/>
                  </a:cubicBezTo>
                  <a:cubicBezTo>
                    <a:pt x="240871" y="231761"/>
                    <a:pt x="224002" y="214892"/>
                    <a:pt x="203200" y="214892"/>
                  </a:cubicBezTo>
                  <a:cubicBezTo>
                    <a:pt x="194917" y="214882"/>
                    <a:pt x="186863" y="217629"/>
                    <a:pt x="180307" y="222697"/>
                  </a:cubicBezTo>
                  <a:lnTo>
                    <a:pt x="74372" y="153910"/>
                  </a:lnTo>
                  <a:cubicBezTo>
                    <a:pt x="75038" y="151049"/>
                    <a:pt x="75392" y="148114"/>
                    <a:pt x="75413" y="145169"/>
                  </a:cubicBezTo>
                  <a:cubicBezTo>
                    <a:pt x="75392" y="142328"/>
                    <a:pt x="75038" y="139498"/>
                    <a:pt x="74372" y="136740"/>
                  </a:cubicBezTo>
                  <a:lnTo>
                    <a:pt x="180099" y="67850"/>
                  </a:lnTo>
                  <a:cubicBezTo>
                    <a:pt x="186686" y="72855"/>
                    <a:pt x="194719" y="75561"/>
                    <a:pt x="202992" y="75550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25949D60-A3D4-7C45-84C3-84B74E122169}"/>
                </a:ext>
              </a:extLst>
            </p:cNvPr>
            <p:cNvSpPr/>
            <p:nvPr/>
          </p:nvSpPr>
          <p:spPr>
            <a:xfrm>
              <a:off x="9054194" y="1698643"/>
              <a:ext cx="1564671" cy="1204979"/>
            </a:xfrm>
            <a:custGeom>
              <a:avLst/>
              <a:gdLst>
                <a:gd name="connsiteX0" fmla="*/ 175448 w 1564671"/>
                <a:gd name="connsiteY0" fmla="*/ 798071 h 1204979"/>
                <a:gd name="connsiteX1" fmla="*/ 494397 w 1564671"/>
                <a:gd name="connsiteY1" fmla="*/ 1081437 h 1204979"/>
                <a:gd name="connsiteX2" fmla="*/ 503971 w 1564671"/>
                <a:gd name="connsiteY2" fmla="*/ 1081437 h 1204979"/>
                <a:gd name="connsiteX3" fmla="*/ 650906 w 1564671"/>
                <a:gd name="connsiteY3" fmla="*/ 1185500 h 1204979"/>
                <a:gd name="connsiteX4" fmla="*/ 766518 w 1564671"/>
                <a:gd name="connsiteY4" fmla="*/ 1204960 h 1204979"/>
                <a:gd name="connsiteX5" fmla="*/ 1001073 w 1564671"/>
                <a:gd name="connsiteY5" fmla="*/ 1114113 h 1204979"/>
                <a:gd name="connsiteX6" fmla="*/ 1003154 w 1564671"/>
                <a:gd name="connsiteY6" fmla="*/ 1114113 h 1204979"/>
                <a:gd name="connsiteX7" fmla="*/ 1322208 w 1564671"/>
                <a:gd name="connsiteY7" fmla="*/ 828665 h 1204979"/>
                <a:gd name="connsiteX8" fmla="*/ 1322208 w 1564671"/>
                <a:gd name="connsiteY8" fmla="*/ 820653 h 1204979"/>
                <a:gd name="connsiteX9" fmla="*/ 1564671 w 1564671"/>
                <a:gd name="connsiteY9" fmla="*/ 543530 h 1204979"/>
                <a:gd name="connsiteX10" fmla="*/ 1284745 w 1564671"/>
                <a:gd name="connsiteY10" fmla="*/ 260165 h 1204979"/>
                <a:gd name="connsiteX11" fmla="*/ 967045 w 1564671"/>
                <a:gd name="connsiteY11" fmla="*/ 5 h 1204979"/>
                <a:gd name="connsiteX12" fmla="*/ 791389 w 1564671"/>
                <a:gd name="connsiteY12" fmla="*/ 47250 h 1204979"/>
                <a:gd name="connsiteX13" fmla="*/ 615733 w 1564671"/>
                <a:gd name="connsiteY13" fmla="*/ 5 h 1204979"/>
                <a:gd name="connsiteX14" fmla="*/ 298241 w 1564671"/>
                <a:gd name="connsiteY14" fmla="*/ 258916 h 1204979"/>
                <a:gd name="connsiteX15" fmla="*/ 0 w 1564671"/>
                <a:gd name="connsiteY15" fmla="*/ 543843 h 1204979"/>
                <a:gd name="connsiteX16" fmla="*/ 175448 w 1564671"/>
                <a:gd name="connsiteY16" fmla="*/ 798071 h 1204979"/>
                <a:gd name="connsiteX17" fmla="*/ 316139 w 1564671"/>
                <a:gd name="connsiteY17" fmla="*/ 295962 h 1204979"/>
                <a:gd name="connsiteX18" fmla="*/ 335183 w 1564671"/>
                <a:gd name="connsiteY18" fmla="*/ 277439 h 1204979"/>
                <a:gd name="connsiteX19" fmla="*/ 615525 w 1564671"/>
                <a:gd name="connsiteY19" fmla="*/ 38092 h 1204979"/>
                <a:gd name="connsiteX20" fmla="*/ 780775 w 1564671"/>
                <a:gd name="connsiteY20" fmla="*/ 85545 h 1204979"/>
                <a:gd name="connsiteX21" fmla="*/ 801587 w 1564671"/>
                <a:gd name="connsiteY21" fmla="*/ 85545 h 1204979"/>
                <a:gd name="connsiteX22" fmla="*/ 966837 w 1564671"/>
                <a:gd name="connsiteY22" fmla="*/ 38092 h 1204979"/>
                <a:gd name="connsiteX23" fmla="*/ 1247283 w 1564671"/>
                <a:gd name="connsiteY23" fmla="*/ 278480 h 1204979"/>
                <a:gd name="connsiteX24" fmla="*/ 1265286 w 1564671"/>
                <a:gd name="connsiteY24" fmla="*/ 297003 h 1204979"/>
                <a:gd name="connsiteX25" fmla="*/ 1526064 w 1564671"/>
                <a:gd name="connsiteY25" fmla="*/ 543530 h 1204979"/>
                <a:gd name="connsiteX26" fmla="*/ 1298586 w 1564671"/>
                <a:gd name="connsiteY26" fmla="*/ 786103 h 1204979"/>
                <a:gd name="connsiteX27" fmla="*/ 1282664 w 1564671"/>
                <a:gd name="connsiteY27" fmla="*/ 806916 h 1204979"/>
                <a:gd name="connsiteX28" fmla="*/ 1283809 w 1564671"/>
                <a:gd name="connsiteY28" fmla="*/ 828665 h 1204979"/>
                <a:gd name="connsiteX29" fmla="*/ 1002843 w 1564671"/>
                <a:gd name="connsiteY29" fmla="*/ 1075713 h 1204979"/>
                <a:gd name="connsiteX30" fmla="*/ 993477 w 1564671"/>
                <a:gd name="connsiteY30" fmla="*/ 1075713 h 1204979"/>
                <a:gd name="connsiteX31" fmla="*/ 979220 w 1564671"/>
                <a:gd name="connsiteY31" fmla="*/ 1081541 h 1204979"/>
                <a:gd name="connsiteX32" fmla="*/ 663081 w 1564671"/>
                <a:gd name="connsiteY32" fmla="*/ 1150015 h 1204979"/>
                <a:gd name="connsiteX33" fmla="*/ 528634 w 1564671"/>
                <a:gd name="connsiteY33" fmla="*/ 1051154 h 1204979"/>
                <a:gd name="connsiteX34" fmla="*/ 512920 w 1564671"/>
                <a:gd name="connsiteY34" fmla="*/ 1043141 h 1204979"/>
                <a:gd name="connsiteX35" fmla="*/ 511879 w 1564671"/>
                <a:gd name="connsiteY35" fmla="*/ 1043141 h 1204979"/>
                <a:gd name="connsiteX36" fmla="*/ 493981 w 1564671"/>
                <a:gd name="connsiteY36" fmla="*/ 1043141 h 1204979"/>
                <a:gd name="connsiteX37" fmla="*/ 213014 w 1564671"/>
                <a:gd name="connsiteY37" fmla="*/ 795989 h 1204979"/>
                <a:gd name="connsiteX38" fmla="*/ 213014 w 1564671"/>
                <a:gd name="connsiteY38" fmla="*/ 786520 h 1204979"/>
                <a:gd name="connsiteX39" fmla="*/ 201047 w 1564671"/>
                <a:gd name="connsiteY39" fmla="*/ 767892 h 1204979"/>
                <a:gd name="connsiteX40" fmla="*/ 37150 w 1564671"/>
                <a:gd name="connsiteY40" fmla="*/ 543218 h 1204979"/>
                <a:gd name="connsiteX41" fmla="*/ 316139 w 1564671"/>
                <a:gd name="connsiteY41" fmla="*/ 295962 h 1204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564671" h="1204979">
                  <a:moveTo>
                    <a:pt x="175448" y="798071"/>
                  </a:moveTo>
                  <a:cubicBezTo>
                    <a:pt x="176801" y="954166"/>
                    <a:pt x="319365" y="1081437"/>
                    <a:pt x="494397" y="1081437"/>
                  </a:cubicBezTo>
                  <a:lnTo>
                    <a:pt x="503971" y="1081437"/>
                  </a:lnTo>
                  <a:cubicBezTo>
                    <a:pt x="541662" y="1129805"/>
                    <a:pt x="592766" y="1165999"/>
                    <a:pt x="650906" y="1185500"/>
                  </a:cubicBezTo>
                  <a:cubicBezTo>
                    <a:pt x="688076" y="1198425"/>
                    <a:pt x="727162" y="1205002"/>
                    <a:pt x="766518" y="1204960"/>
                  </a:cubicBezTo>
                  <a:cubicBezTo>
                    <a:pt x="853462" y="1205887"/>
                    <a:pt x="937439" y="1173356"/>
                    <a:pt x="1001073" y="1114113"/>
                  </a:cubicBezTo>
                  <a:lnTo>
                    <a:pt x="1003154" y="1114113"/>
                  </a:lnTo>
                  <a:cubicBezTo>
                    <a:pt x="1179123" y="1114113"/>
                    <a:pt x="1322208" y="986010"/>
                    <a:pt x="1322208" y="828665"/>
                  </a:cubicBezTo>
                  <a:cubicBezTo>
                    <a:pt x="1322208" y="825960"/>
                    <a:pt x="1322208" y="823358"/>
                    <a:pt x="1322208" y="820653"/>
                  </a:cubicBezTo>
                  <a:cubicBezTo>
                    <a:pt x="1463731" y="789433"/>
                    <a:pt x="1564671" y="674963"/>
                    <a:pt x="1564671" y="543530"/>
                  </a:cubicBezTo>
                  <a:cubicBezTo>
                    <a:pt x="1564671" y="399194"/>
                    <a:pt x="1443023" y="277543"/>
                    <a:pt x="1284745" y="260165"/>
                  </a:cubicBezTo>
                  <a:cubicBezTo>
                    <a:pt x="1270697" y="112810"/>
                    <a:pt x="1134584" y="5"/>
                    <a:pt x="967045" y="5"/>
                  </a:cubicBezTo>
                  <a:cubicBezTo>
                    <a:pt x="905316" y="-287"/>
                    <a:pt x="844648" y="16032"/>
                    <a:pt x="791389" y="47250"/>
                  </a:cubicBezTo>
                  <a:cubicBezTo>
                    <a:pt x="738151" y="15998"/>
                    <a:pt x="677473" y="-323"/>
                    <a:pt x="615733" y="5"/>
                  </a:cubicBezTo>
                  <a:cubicBezTo>
                    <a:pt x="449234" y="5"/>
                    <a:pt x="313122" y="112394"/>
                    <a:pt x="298241" y="258916"/>
                  </a:cubicBezTo>
                  <a:cubicBezTo>
                    <a:pt x="132262" y="268594"/>
                    <a:pt x="0" y="393158"/>
                    <a:pt x="0" y="543843"/>
                  </a:cubicBezTo>
                  <a:cubicBezTo>
                    <a:pt x="-208" y="651028"/>
                    <a:pt x="68265" y="749889"/>
                    <a:pt x="175448" y="798071"/>
                  </a:cubicBezTo>
                  <a:close/>
                  <a:moveTo>
                    <a:pt x="316139" y="295962"/>
                  </a:moveTo>
                  <a:cubicBezTo>
                    <a:pt x="326410" y="295858"/>
                    <a:pt x="334798" y="287706"/>
                    <a:pt x="335183" y="277439"/>
                  </a:cubicBezTo>
                  <a:cubicBezTo>
                    <a:pt x="339657" y="142989"/>
                    <a:pt x="462762" y="38092"/>
                    <a:pt x="615525" y="38092"/>
                  </a:cubicBezTo>
                  <a:cubicBezTo>
                    <a:pt x="674018" y="37725"/>
                    <a:pt x="731387" y="54197"/>
                    <a:pt x="780775" y="85545"/>
                  </a:cubicBezTo>
                  <a:cubicBezTo>
                    <a:pt x="787122" y="89592"/>
                    <a:pt x="795239" y="89592"/>
                    <a:pt x="801587" y="85545"/>
                  </a:cubicBezTo>
                  <a:cubicBezTo>
                    <a:pt x="850975" y="54197"/>
                    <a:pt x="908344" y="37725"/>
                    <a:pt x="966837" y="38092"/>
                  </a:cubicBezTo>
                  <a:cubicBezTo>
                    <a:pt x="1120016" y="38092"/>
                    <a:pt x="1243121" y="143717"/>
                    <a:pt x="1247283" y="278480"/>
                  </a:cubicBezTo>
                  <a:cubicBezTo>
                    <a:pt x="1247585" y="288381"/>
                    <a:pt x="1255400" y="296420"/>
                    <a:pt x="1265286" y="297003"/>
                  </a:cubicBezTo>
                  <a:cubicBezTo>
                    <a:pt x="1410972" y="306057"/>
                    <a:pt x="1526064" y="414283"/>
                    <a:pt x="1526064" y="543530"/>
                  </a:cubicBezTo>
                  <a:cubicBezTo>
                    <a:pt x="1526064" y="661851"/>
                    <a:pt x="1430432" y="763834"/>
                    <a:pt x="1298586" y="786103"/>
                  </a:cubicBezTo>
                  <a:cubicBezTo>
                    <a:pt x="1288648" y="787800"/>
                    <a:pt x="1281707" y="796884"/>
                    <a:pt x="1282664" y="806916"/>
                  </a:cubicBezTo>
                  <a:cubicBezTo>
                    <a:pt x="1283434" y="814138"/>
                    <a:pt x="1283819" y="821402"/>
                    <a:pt x="1283809" y="828665"/>
                  </a:cubicBezTo>
                  <a:cubicBezTo>
                    <a:pt x="1283809" y="964885"/>
                    <a:pt x="1157894" y="1075713"/>
                    <a:pt x="1002843" y="1075713"/>
                  </a:cubicBezTo>
                  <a:lnTo>
                    <a:pt x="993477" y="1075713"/>
                  </a:lnTo>
                  <a:cubicBezTo>
                    <a:pt x="988097" y="1075453"/>
                    <a:pt x="982873" y="1077586"/>
                    <a:pt x="979220" y="1081541"/>
                  </a:cubicBezTo>
                  <a:cubicBezTo>
                    <a:pt x="901278" y="1161254"/>
                    <a:pt x="774219" y="1188830"/>
                    <a:pt x="663081" y="1150015"/>
                  </a:cubicBezTo>
                  <a:cubicBezTo>
                    <a:pt x="609032" y="1131939"/>
                    <a:pt x="562006" y="1097358"/>
                    <a:pt x="528634" y="1051154"/>
                  </a:cubicBezTo>
                  <a:cubicBezTo>
                    <a:pt x="524981" y="1046128"/>
                    <a:pt x="519132" y="1043151"/>
                    <a:pt x="512920" y="1043141"/>
                  </a:cubicBezTo>
                  <a:lnTo>
                    <a:pt x="511879" y="1043141"/>
                  </a:lnTo>
                  <a:cubicBezTo>
                    <a:pt x="505948" y="1043141"/>
                    <a:pt x="500017" y="1043141"/>
                    <a:pt x="493981" y="1043141"/>
                  </a:cubicBezTo>
                  <a:cubicBezTo>
                    <a:pt x="339241" y="1043141"/>
                    <a:pt x="213014" y="932313"/>
                    <a:pt x="213014" y="795989"/>
                  </a:cubicBezTo>
                  <a:cubicBezTo>
                    <a:pt x="213014" y="792867"/>
                    <a:pt x="213014" y="789642"/>
                    <a:pt x="213014" y="786520"/>
                  </a:cubicBezTo>
                  <a:cubicBezTo>
                    <a:pt x="213451" y="778382"/>
                    <a:pt x="208623" y="770879"/>
                    <a:pt x="201047" y="767892"/>
                  </a:cubicBezTo>
                  <a:cubicBezTo>
                    <a:pt x="101461" y="727723"/>
                    <a:pt x="37150" y="639477"/>
                    <a:pt x="37150" y="543218"/>
                  </a:cubicBezTo>
                  <a:cubicBezTo>
                    <a:pt x="38191" y="408039"/>
                    <a:pt x="162857" y="297211"/>
                    <a:pt x="316139" y="295962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500E11F7-CAF6-6648-A72A-7A8A6FA90387}"/>
                </a:ext>
              </a:extLst>
            </p:cNvPr>
            <p:cNvSpPr/>
            <p:nvPr/>
          </p:nvSpPr>
          <p:spPr>
            <a:xfrm>
              <a:off x="6780135" y="950006"/>
              <a:ext cx="1646151" cy="1257533"/>
            </a:xfrm>
            <a:custGeom>
              <a:avLst/>
              <a:gdLst>
                <a:gd name="connsiteX0" fmla="*/ 185958 w 1646151"/>
                <a:gd name="connsiteY0" fmla="*/ 830852 h 1257533"/>
                <a:gd name="connsiteX1" fmla="*/ 185958 w 1646151"/>
                <a:gd name="connsiteY1" fmla="*/ 832517 h 1257533"/>
                <a:gd name="connsiteX2" fmla="*/ 517915 w 1646151"/>
                <a:gd name="connsiteY2" fmla="*/ 1127122 h 1257533"/>
                <a:gd name="connsiteX3" fmla="*/ 531027 w 1646151"/>
                <a:gd name="connsiteY3" fmla="*/ 1127122 h 1257533"/>
                <a:gd name="connsiteX4" fmla="*/ 685766 w 1646151"/>
                <a:gd name="connsiteY4" fmla="*/ 1237326 h 1257533"/>
                <a:gd name="connsiteX5" fmla="*/ 806270 w 1646151"/>
                <a:gd name="connsiteY5" fmla="*/ 1257514 h 1257533"/>
                <a:gd name="connsiteX6" fmla="*/ 1052376 w 1646151"/>
                <a:gd name="connsiteY6" fmla="*/ 1161255 h 1257533"/>
                <a:gd name="connsiteX7" fmla="*/ 1057058 w 1646151"/>
                <a:gd name="connsiteY7" fmla="*/ 1161255 h 1257533"/>
                <a:gd name="connsiteX8" fmla="*/ 1389119 w 1646151"/>
                <a:gd name="connsiteY8" fmla="*/ 866754 h 1257533"/>
                <a:gd name="connsiteX9" fmla="*/ 1389119 w 1646151"/>
                <a:gd name="connsiteY9" fmla="*/ 853642 h 1257533"/>
                <a:gd name="connsiteX10" fmla="*/ 1646151 w 1646151"/>
                <a:gd name="connsiteY10" fmla="*/ 566634 h 1257533"/>
                <a:gd name="connsiteX11" fmla="*/ 1349992 w 1646151"/>
                <a:gd name="connsiteY11" fmla="*/ 273902 h 1257533"/>
                <a:gd name="connsiteX12" fmla="*/ 1018556 w 1646151"/>
                <a:gd name="connsiteY12" fmla="*/ 6 h 1257533"/>
                <a:gd name="connsiteX13" fmla="*/ 832493 w 1646151"/>
                <a:gd name="connsiteY13" fmla="*/ 50685 h 1257533"/>
                <a:gd name="connsiteX14" fmla="*/ 646327 w 1646151"/>
                <a:gd name="connsiteY14" fmla="*/ 6 h 1257533"/>
                <a:gd name="connsiteX15" fmla="*/ 315307 w 1646151"/>
                <a:gd name="connsiteY15" fmla="*/ 272133 h 1257533"/>
                <a:gd name="connsiteX16" fmla="*/ 0 w 1646151"/>
                <a:gd name="connsiteY16" fmla="*/ 566218 h 1257533"/>
                <a:gd name="connsiteX17" fmla="*/ 185958 w 1646151"/>
                <a:gd name="connsiteY17" fmla="*/ 830852 h 1257533"/>
                <a:gd name="connsiteX18" fmla="*/ 328939 w 1646151"/>
                <a:gd name="connsiteY18" fmla="*/ 300126 h 1257533"/>
                <a:gd name="connsiteX19" fmla="*/ 343403 w 1646151"/>
                <a:gd name="connsiteY19" fmla="*/ 286598 h 1257533"/>
                <a:gd name="connsiteX20" fmla="*/ 646639 w 1646151"/>
                <a:gd name="connsiteY20" fmla="*/ 28624 h 1257533"/>
                <a:gd name="connsiteX21" fmla="*/ 825105 w 1646151"/>
                <a:gd name="connsiteY21" fmla="*/ 79511 h 1257533"/>
                <a:gd name="connsiteX22" fmla="*/ 840506 w 1646151"/>
                <a:gd name="connsiteY22" fmla="*/ 79511 h 1257533"/>
                <a:gd name="connsiteX23" fmla="*/ 1018868 w 1646151"/>
                <a:gd name="connsiteY23" fmla="*/ 28624 h 1257533"/>
                <a:gd name="connsiteX24" fmla="*/ 1322103 w 1646151"/>
                <a:gd name="connsiteY24" fmla="*/ 287222 h 1257533"/>
                <a:gd name="connsiteX25" fmla="*/ 1335527 w 1646151"/>
                <a:gd name="connsiteY25" fmla="*/ 301063 h 1257533"/>
                <a:gd name="connsiteX26" fmla="*/ 1617639 w 1646151"/>
                <a:gd name="connsiteY26" fmla="*/ 566218 h 1257533"/>
                <a:gd name="connsiteX27" fmla="*/ 1371429 w 1646151"/>
                <a:gd name="connsiteY27" fmla="*/ 827418 h 1257533"/>
                <a:gd name="connsiteX28" fmla="*/ 1359357 w 1646151"/>
                <a:gd name="connsiteY28" fmla="*/ 842923 h 1257533"/>
                <a:gd name="connsiteX29" fmla="*/ 1360502 w 1646151"/>
                <a:gd name="connsiteY29" fmla="*/ 866338 h 1257533"/>
                <a:gd name="connsiteX30" fmla="*/ 1057058 w 1646151"/>
                <a:gd name="connsiteY30" fmla="*/ 1132221 h 1257533"/>
                <a:gd name="connsiteX31" fmla="*/ 1046652 w 1646151"/>
                <a:gd name="connsiteY31" fmla="*/ 1132221 h 1257533"/>
                <a:gd name="connsiteX32" fmla="*/ 1036246 w 1646151"/>
                <a:gd name="connsiteY32" fmla="*/ 1136488 h 1257533"/>
                <a:gd name="connsiteX33" fmla="*/ 694924 w 1646151"/>
                <a:gd name="connsiteY33" fmla="*/ 1210061 h 1257533"/>
                <a:gd name="connsiteX34" fmla="*/ 549237 w 1646151"/>
                <a:gd name="connsiteY34" fmla="*/ 1103916 h 1257533"/>
                <a:gd name="connsiteX35" fmla="*/ 537583 w 1646151"/>
                <a:gd name="connsiteY35" fmla="*/ 1097880 h 1257533"/>
                <a:gd name="connsiteX36" fmla="*/ 536854 w 1646151"/>
                <a:gd name="connsiteY36" fmla="*/ 1097880 h 1257533"/>
                <a:gd name="connsiteX37" fmla="*/ 517499 w 1646151"/>
                <a:gd name="connsiteY37" fmla="*/ 1098504 h 1257533"/>
                <a:gd name="connsiteX38" fmla="*/ 214055 w 1646151"/>
                <a:gd name="connsiteY38" fmla="*/ 832517 h 1257533"/>
                <a:gd name="connsiteX39" fmla="*/ 214055 w 1646151"/>
                <a:gd name="connsiteY39" fmla="*/ 822111 h 1257533"/>
                <a:gd name="connsiteX40" fmla="*/ 205105 w 1646151"/>
                <a:gd name="connsiteY40" fmla="*/ 808166 h 1257533"/>
                <a:gd name="connsiteX41" fmla="*/ 27576 w 1646151"/>
                <a:gd name="connsiteY41" fmla="*/ 566218 h 1257533"/>
                <a:gd name="connsiteX42" fmla="*/ 328939 w 1646151"/>
                <a:gd name="connsiteY42" fmla="*/ 300439 h 1257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646151" h="1257533">
                  <a:moveTo>
                    <a:pt x="185958" y="830852"/>
                  </a:moveTo>
                  <a:lnTo>
                    <a:pt x="185958" y="832517"/>
                  </a:lnTo>
                  <a:cubicBezTo>
                    <a:pt x="185958" y="994961"/>
                    <a:pt x="334870" y="1127122"/>
                    <a:pt x="517915" y="1127122"/>
                  </a:cubicBezTo>
                  <a:cubicBezTo>
                    <a:pt x="522285" y="1127122"/>
                    <a:pt x="526656" y="1127122"/>
                    <a:pt x="531027" y="1127122"/>
                  </a:cubicBezTo>
                  <a:cubicBezTo>
                    <a:pt x="570466" y="1178457"/>
                    <a:pt x="624359" y="1216835"/>
                    <a:pt x="685766" y="1237326"/>
                  </a:cubicBezTo>
                  <a:cubicBezTo>
                    <a:pt x="724519" y="1250750"/>
                    <a:pt x="765259" y="1257576"/>
                    <a:pt x="806270" y="1257514"/>
                  </a:cubicBezTo>
                  <a:cubicBezTo>
                    <a:pt x="897667" y="1258482"/>
                    <a:pt x="985891" y="1223984"/>
                    <a:pt x="1052376" y="1161255"/>
                  </a:cubicBezTo>
                  <a:lnTo>
                    <a:pt x="1057058" y="1161255"/>
                  </a:lnTo>
                  <a:cubicBezTo>
                    <a:pt x="1240207" y="1161255"/>
                    <a:pt x="1389119" y="1029094"/>
                    <a:pt x="1389119" y="866754"/>
                  </a:cubicBezTo>
                  <a:cubicBezTo>
                    <a:pt x="1389119" y="862522"/>
                    <a:pt x="1389119" y="858151"/>
                    <a:pt x="1389119" y="853642"/>
                  </a:cubicBezTo>
                  <a:cubicBezTo>
                    <a:pt x="1538864" y="823047"/>
                    <a:pt x="1646151" y="704206"/>
                    <a:pt x="1646151" y="566634"/>
                  </a:cubicBezTo>
                  <a:cubicBezTo>
                    <a:pt x="1646151" y="416366"/>
                    <a:pt x="1517115" y="289928"/>
                    <a:pt x="1349992" y="273902"/>
                  </a:cubicBezTo>
                  <a:cubicBezTo>
                    <a:pt x="1337609" y="119159"/>
                    <a:pt x="1194836" y="6"/>
                    <a:pt x="1018556" y="6"/>
                  </a:cubicBezTo>
                  <a:cubicBezTo>
                    <a:pt x="953080" y="-375"/>
                    <a:pt x="888739" y="17149"/>
                    <a:pt x="832493" y="50685"/>
                  </a:cubicBezTo>
                  <a:cubicBezTo>
                    <a:pt x="776206" y="17160"/>
                    <a:pt x="711834" y="-363"/>
                    <a:pt x="646327" y="6"/>
                  </a:cubicBezTo>
                  <a:cubicBezTo>
                    <a:pt x="470775" y="6"/>
                    <a:pt x="328211" y="118535"/>
                    <a:pt x="315307" y="272133"/>
                  </a:cubicBezTo>
                  <a:cubicBezTo>
                    <a:pt x="140171" y="279834"/>
                    <a:pt x="0" y="409289"/>
                    <a:pt x="0" y="566218"/>
                  </a:cubicBezTo>
                  <a:cubicBezTo>
                    <a:pt x="0" y="678711"/>
                    <a:pt x="72843" y="781526"/>
                    <a:pt x="185958" y="830852"/>
                  </a:cubicBezTo>
                  <a:close/>
                  <a:moveTo>
                    <a:pt x="328939" y="300126"/>
                  </a:moveTo>
                  <a:cubicBezTo>
                    <a:pt x="336598" y="300195"/>
                    <a:pt x="342956" y="294243"/>
                    <a:pt x="343403" y="286598"/>
                  </a:cubicBezTo>
                  <a:cubicBezTo>
                    <a:pt x="348294" y="141949"/>
                    <a:pt x="481493" y="28624"/>
                    <a:pt x="646639" y="28624"/>
                  </a:cubicBezTo>
                  <a:cubicBezTo>
                    <a:pt x="709763" y="28222"/>
                    <a:pt x="771690" y="45879"/>
                    <a:pt x="825105" y="79511"/>
                  </a:cubicBezTo>
                  <a:cubicBezTo>
                    <a:pt x="829798" y="82523"/>
                    <a:pt x="835813" y="82523"/>
                    <a:pt x="840506" y="79511"/>
                  </a:cubicBezTo>
                  <a:cubicBezTo>
                    <a:pt x="893879" y="45866"/>
                    <a:pt x="955775" y="28207"/>
                    <a:pt x="1018868" y="28624"/>
                  </a:cubicBezTo>
                  <a:cubicBezTo>
                    <a:pt x="1184430" y="28624"/>
                    <a:pt x="1317629" y="142157"/>
                    <a:pt x="1322103" y="287222"/>
                  </a:cubicBezTo>
                  <a:cubicBezTo>
                    <a:pt x="1322312" y="294621"/>
                    <a:pt x="1328139" y="300633"/>
                    <a:pt x="1335527" y="301063"/>
                  </a:cubicBezTo>
                  <a:cubicBezTo>
                    <a:pt x="1493701" y="310741"/>
                    <a:pt x="1617639" y="427188"/>
                    <a:pt x="1617639" y="566218"/>
                  </a:cubicBezTo>
                  <a:cubicBezTo>
                    <a:pt x="1617639" y="693696"/>
                    <a:pt x="1514097" y="803483"/>
                    <a:pt x="1371429" y="827418"/>
                  </a:cubicBezTo>
                  <a:cubicBezTo>
                    <a:pt x="1363884" y="828496"/>
                    <a:pt x="1358556" y="835349"/>
                    <a:pt x="1359357" y="842923"/>
                  </a:cubicBezTo>
                  <a:cubicBezTo>
                    <a:pt x="1360128" y="850704"/>
                    <a:pt x="1360512" y="858518"/>
                    <a:pt x="1360502" y="866338"/>
                  </a:cubicBezTo>
                  <a:cubicBezTo>
                    <a:pt x="1360502" y="1012964"/>
                    <a:pt x="1224390" y="1132221"/>
                    <a:pt x="1057058" y="1132221"/>
                  </a:cubicBezTo>
                  <a:lnTo>
                    <a:pt x="1046652" y="1132221"/>
                  </a:lnTo>
                  <a:cubicBezTo>
                    <a:pt x="1042740" y="1132117"/>
                    <a:pt x="1038962" y="1133668"/>
                    <a:pt x="1036246" y="1136488"/>
                  </a:cubicBezTo>
                  <a:cubicBezTo>
                    <a:pt x="952060" y="1222028"/>
                    <a:pt x="814803" y="1251686"/>
                    <a:pt x="694924" y="1210061"/>
                  </a:cubicBezTo>
                  <a:cubicBezTo>
                    <a:pt x="636503" y="1190705"/>
                    <a:pt x="585576" y="1153596"/>
                    <a:pt x="549237" y="1103916"/>
                  </a:cubicBezTo>
                  <a:cubicBezTo>
                    <a:pt x="546563" y="1100128"/>
                    <a:pt x="542213" y="1097880"/>
                    <a:pt x="537583" y="1097880"/>
                  </a:cubicBezTo>
                  <a:lnTo>
                    <a:pt x="536854" y="1097880"/>
                  </a:lnTo>
                  <a:cubicBezTo>
                    <a:pt x="530402" y="1097880"/>
                    <a:pt x="524054" y="1098504"/>
                    <a:pt x="517499" y="1098504"/>
                  </a:cubicBezTo>
                  <a:cubicBezTo>
                    <a:pt x="350167" y="1098504"/>
                    <a:pt x="214055" y="979143"/>
                    <a:pt x="214055" y="832517"/>
                  </a:cubicBezTo>
                  <a:cubicBezTo>
                    <a:pt x="214055" y="829083"/>
                    <a:pt x="214055" y="825649"/>
                    <a:pt x="214055" y="822111"/>
                  </a:cubicBezTo>
                  <a:cubicBezTo>
                    <a:pt x="214357" y="816028"/>
                    <a:pt x="210756" y="810425"/>
                    <a:pt x="205105" y="808166"/>
                  </a:cubicBezTo>
                  <a:cubicBezTo>
                    <a:pt x="97298" y="764980"/>
                    <a:pt x="27576" y="669969"/>
                    <a:pt x="27576" y="566218"/>
                  </a:cubicBezTo>
                  <a:cubicBezTo>
                    <a:pt x="28305" y="420944"/>
                    <a:pt x="163169" y="301791"/>
                    <a:pt x="328939" y="300439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B74FA9F2-6A5D-DE4F-80D9-25552A3D7D64}"/>
                </a:ext>
              </a:extLst>
            </p:cNvPr>
            <p:cNvSpPr/>
            <p:nvPr/>
          </p:nvSpPr>
          <p:spPr>
            <a:xfrm>
              <a:off x="6067999" y="2605669"/>
              <a:ext cx="576856" cy="96883"/>
            </a:xfrm>
            <a:custGeom>
              <a:avLst/>
              <a:gdLst>
                <a:gd name="connsiteX0" fmla="*/ 444074 w 576856"/>
                <a:gd name="connsiteY0" fmla="*/ 96883 h 96883"/>
                <a:gd name="connsiteX1" fmla="*/ 576856 w 576856"/>
                <a:gd name="connsiteY1" fmla="*/ 48390 h 96883"/>
                <a:gd name="connsiteX2" fmla="*/ 443761 w 576856"/>
                <a:gd name="connsiteY2" fmla="*/ 0 h 96883"/>
                <a:gd name="connsiteX3" fmla="*/ 438558 w 576856"/>
                <a:gd name="connsiteY3" fmla="*/ 14257 h 96883"/>
                <a:gd name="connsiteX4" fmla="*/ 506198 w 576856"/>
                <a:gd name="connsiteY4" fmla="*/ 38920 h 96883"/>
                <a:gd name="connsiteX5" fmla="*/ 8576 w 576856"/>
                <a:gd name="connsiteY5" fmla="*/ 38920 h 96883"/>
                <a:gd name="connsiteX6" fmla="*/ 53 w 576856"/>
                <a:gd name="connsiteY6" fmla="*/ 49441 h 96883"/>
                <a:gd name="connsiteX7" fmla="*/ 8576 w 576856"/>
                <a:gd name="connsiteY7" fmla="*/ 57963 h 96883"/>
                <a:gd name="connsiteX8" fmla="*/ 506511 w 576856"/>
                <a:gd name="connsiteY8" fmla="*/ 57963 h 96883"/>
                <a:gd name="connsiteX9" fmla="*/ 438870 w 576856"/>
                <a:gd name="connsiteY9" fmla="*/ 82523 h 96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6856" h="96883">
                  <a:moveTo>
                    <a:pt x="444074" y="96883"/>
                  </a:moveTo>
                  <a:lnTo>
                    <a:pt x="576856" y="48390"/>
                  </a:lnTo>
                  <a:lnTo>
                    <a:pt x="443761" y="0"/>
                  </a:lnTo>
                  <a:lnTo>
                    <a:pt x="438558" y="14257"/>
                  </a:lnTo>
                  <a:lnTo>
                    <a:pt x="506198" y="38920"/>
                  </a:lnTo>
                  <a:lnTo>
                    <a:pt x="8576" y="38920"/>
                  </a:lnTo>
                  <a:cubicBezTo>
                    <a:pt x="3320" y="39471"/>
                    <a:pt x="-499" y="44175"/>
                    <a:pt x="53" y="49441"/>
                  </a:cubicBezTo>
                  <a:cubicBezTo>
                    <a:pt x="521" y="53936"/>
                    <a:pt x="4080" y="57495"/>
                    <a:pt x="8576" y="57963"/>
                  </a:cubicBezTo>
                  <a:lnTo>
                    <a:pt x="506511" y="57963"/>
                  </a:lnTo>
                  <a:lnTo>
                    <a:pt x="438870" y="82523"/>
                  </a:ln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F61CC8C9-ACA6-F448-BFAD-7EB7C5B07446}"/>
                </a:ext>
              </a:extLst>
            </p:cNvPr>
            <p:cNvSpPr/>
            <p:nvPr/>
          </p:nvSpPr>
          <p:spPr>
            <a:xfrm>
              <a:off x="5799354" y="2508681"/>
              <a:ext cx="579166" cy="96987"/>
            </a:xfrm>
            <a:custGeom>
              <a:avLst/>
              <a:gdLst>
                <a:gd name="connsiteX0" fmla="*/ 138402 w 579166"/>
                <a:gd name="connsiteY0" fmla="*/ 82627 h 96987"/>
                <a:gd name="connsiteX1" fmla="*/ 70762 w 579166"/>
                <a:gd name="connsiteY1" fmla="*/ 58068 h 96987"/>
                <a:gd name="connsiteX2" fmla="*/ 568593 w 579166"/>
                <a:gd name="connsiteY2" fmla="*/ 58068 h 96987"/>
                <a:gd name="connsiteX3" fmla="*/ 579114 w 579166"/>
                <a:gd name="connsiteY3" fmla="*/ 49545 h 96987"/>
                <a:gd name="connsiteX4" fmla="*/ 570591 w 579166"/>
                <a:gd name="connsiteY4" fmla="*/ 39024 h 96987"/>
                <a:gd name="connsiteX5" fmla="*/ 568593 w 579166"/>
                <a:gd name="connsiteY5" fmla="*/ 39024 h 96987"/>
                <a:gd name="connsiteX6" fmla="*/ 70762 w 579166"/>
                <a:gd name="connsiteY6" fmla="*/ 39024 h 96987"/>
                <a:gd name="connsiteX7" fmla="*/ 138402 w 579166"/>
                <a:gd name="connsiteY7" fmla="*/ 14361 h 96987"/>
                <a:gd name="connsiteX8" fmla="*/ 133199 w 579166"/>
                <a:gd name="connsiteY8" fmla="*/ 0 h 96987"/>
                <a:gd name="connsiteX9" fmla="*/ 0 w 579166"/>
                <a:gd name="connsiteY9" fmla="*/ 48494 h 96987"/>
                <a:gd name="connsiteX10" fmla="*/ 133199 w 579166"/>
                <a:gd name="connsiteY10" fmla="*/ 96988 h 96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79166" h="96987">
                  <a:moveTo>
                    <a:pt x="138402" y="82627"/>
                  </a:moveTo>
                  <a:lnTo>
                    <a:pt x="70762" y="58068"/>
                  </a:lnTo>
                  <a:lnTo>
                    <a:pt x="568593" y="58068"/>
                  </a:lnTo>
                  <a:cubicBezTo>
                    <a:pt x="573848" y="58619"/>
                    <a:pt x="578562" y="54800"/>
                    <a:pt x="579114" y="49545"/>
                  </a:cubicBezTo>
                  <a:cubicBezTo>
                    <a:pt x="579665" y="44279"/>
                    <a:pt x="575846" y="39575"/>
                    <a:pt x="570591" y="39024"/>
                  </a:cubicBezTo>
                  <a:cubicBezTo>
                    <a:pt x="569925" y="38951"/>
                    <a:pt x="569259" y="38951"/>
                    <a:pt x="568593" y="39024"/>
                  </a:cubicBezTo>
                  <a:lnTo>
                    <a:pt x="70762" y="39024"/>
                  </a:lnTo>
                  <a:lnTo>
                    <a:pt x="138402" y="14361"/>
                  </a:lnTo>
                  <a:lnTo>
                    <a:pt x="133199" y="0"/>
                  </a:lnTo>
                  <a:lnTo>
                    <a:pt x="0" y="48494"/>
                  </a:lnTo>
                  <a:lnTo>
                    <a:pt x="133199" y="96988"/>
                  </a:ln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 42">
              <a:extLst>
                <a:ext uri="{FF2B5EF4-FFF2-40B4-BE49-F238E27FC236}">
                  <a16:creationId xmlns:a16="http://schemas.microsoft.com/office/drawing/2014/main" id="{17A8F82B-0D47-164F-ADB2-CA4CDA91DFA6}"/>
                </a:ext>
              </a:extLst>
            </p:cNvPr>
            <p:cNvSpPr/>
            <p:nvPr/>
          </p:nvSpPr>
          <p:spPr>
            <a:xfrm>
              <a:off x="8806505" y="3290855"/>
              <a:ext cx="100209" cy="408941"/>
            </a:xfrm>
            <a:custGeom>
              <a:avLst/>
              <a:gdLst>
                <a:gd name="connsiteX0" fmla="*/ 70056 w 100209"/>
                <a:gd name="connsiteY0" fmla="*/ 393644 h 408941"/>
                <a:gd name="connsiteX1" fmla="*/ 82991 w 100209"/>
                <a:gd name="connsiteY1" fmla="*/ 408921 h 408941"/>
                <a:gd name="connsiteX2" fmla="*/ 83272 w 100209"/>
                <a:gd name="connsiteY2" fmla="*/ 408941 h 408941"/>
                <a:gd name="connsiteX3" fmla="*/ 84312 w 100209"/>
                <a:gd name="connsiteY3" fmla="*/ 408941 h 408941"/>
                <a:gd name="connsiteX4" fmla="*/ 98569 w 100209"/>
                <a:gd name="connsiteY4" fmla="*/ 396037 h 408941"/>
                <a:gd name="connsiteX5" fmla="*/ 27391 w 100209"/>
                <a:gd name="connsiteY5" fmla="*/ 8712 h 408941"/>
                <a:gd name="connsiteX6" fmla="*/ 8712 w 100209"/>
                <a:gd name="connsiteY6" fmla="*/ 1125 h 408941"/>
                <a:gd name="connsiteX7" fmla="*/ 855 w 100209"/>
                <a:gd name="connsiteY7" fmla="*/ 19118 h 408941"/>
                <a:gd name="connsiteX8" fmla="*/ 30721 w 100209"/>
                <a:gd name="connsiteY8" fmla="*/ 104034 h 408941"/>
                <a:gd name="connsiteX9" fmla="*/ 70785 w 100209"/>
                <a:gd name="connsiteY9" fmla="*/ 321632 h 408941"/>
                <a:gd name="connsiteX10" fmla="*/ 70056 w 100209"/>
                <a:gd name="connsiteY10" fmla="*/ 393644 h 408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0209" h="408941">
                  <a:moveTo>
                    <a:pt x="70056" y="393644"/>
                  </a:moveTo>
                  <a:cubicBezTo>
                    <a:pt x="69411" y="401438"/>
                    <a:pt x="75197" y="408275"/>
                    <a:pt x="82991" y="408921"/>
                  </a:cubicBezTo>
                  <a:cubicBezTo>
                    <a:pt x="83085" y="408931"/>
                    <a:pt x="83178" y="408931"/>
                    <a:pt x="83272" y="408941"/>
                  </a:cubicBezTo>
                  <a:lnTo>
                    <a:pt x="84312" y="408941"/>
                  </a:lnTo>
                  <a:cubicBezTo>
                    <a:pt x="91670" y="408931"/>
                    <a:pt x="97820" y="403353"/>
                    <a:pt x="98569" y="396037"/>
                  </a:cubicBezTo>
                  <a:cubicBezTo>
                    <a:pt x="110016" y="242855"/>
                    <a:pt x="58922" y="87696"/>
                    <a:pt x="27391" y="8712"/>
                  </a:cubicBezTo>
                  <a:cubicBezTo>
                    <a:pt x="24321" y="1458"/>
                    <a:pt x="15965" y="-1934"/>
                    <a:pt x="8712" y="1125"/>
                  </a:cubicBezTo>
                  <a:cubicBezTo>
                    <a:pt x="1719" y="4081"/>
                    <a:pt x="-1726" y="11990"/>
                    <a:pt x="855" y="19118"/>
                  </a:cubicBezTo>
                  <a:cubicBezTo>
                    <a:pt x="9908" y="41596"/>
                    <a:pt x="20523" y="70630"/>
                    <a:pt x="30721" y="104034"/>
                  </a:cubicBezTo>
                  <a:lnTo>
                    <a:pt x="70785" y="321632"/>
                  </a:lnTo>
                  <a:cubicBezTo>
                    <a:pt x="72002" y="345629"/>
                    <a:pt x="71752" y="369678"/>
                    <a:pt x="70056" y="393644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 43">
              <a:extLst>
                <a:ext uri="{FF2B5EF4-FFF2-40B4-BE49-F238E27FC236}">
                  <a16:creationId xmlns:a16="http://schemas.microsoft.com/office/drawing/2014/main" id="{F4FAECC0-1479-8744-B7A9-2C72D6D4001B}"/>
                </a:ext>
              </a:extLst>
            </p:cNvPr>
            <p:cNvSpPr/>
            <p:nvPr/>
          </p:nvSpPr>
          <p:spPr>
            <a:xfrm>
              <a:off x="7086014" y="2584988"/>
              <a:ext cx="2014515" cy="1626492"/>
            </a:xfrm>
            <a:custGeom>
              <a:avLst/>
              <a:gdLst>
                <a:gd name="connsiteX0" fmla="*/ 1285432 w 2014515"/>
                <a:gd name="connsiteY0" fmla="*/ 150969 h 1626492"/>
                <a:gd name="connsiteX1" fmla="*/ 965234 w 2014515"/>
                <a:gd name="connsiteY1" fmla="*/ 3718 h 1626492"/>
                <a:gd name="connsiteX2" fmla="*/ 436497 w 2014515"/>
                <a:gd name="connsiteY2" fmla="*/ 312060 h 1626492"/>
                <a:gd name="connsiteX3" fmla="*/ 428380 w 2014515"/>
                <a:gd name="connsiteY3" fmla="*/ 292912 h 1626492"/>
                <a:gd name="connsiteX4" fmla="*/ 433271 w 2014515"/>
                <a:gd name="connsiteY4" fmla="*/ 293952 h 1626492"/>
                <a:gd name="connsiteX5" fmla="*/ 445967 w 2014515"/>
                <a:gd name="connsiteY5" fmla="*/ 286252 h 1626492"/>
                <a:gd name="connsiteX6" fmla="*/ 742750 w 2014515"/>
                <a:gd name="connsiteY6" fmla="*/ 60849 h 1626492"/>
                <a:gd name="connsiteX7" fmla="*/ 748307 w 2014515"/>
                <a:gd name="connsiteY7" fmla="*/ 41316 h 1626492"/>
                <a:gd name="connsiteX8" fmla="*/ 730783 w 2014515"/>
                <a:gd name="connsiteY8" fmla="*/ 34833 h 1626492"/>
                <a:gd name="connsiteX9" fmla="*/ 420576 w 2014515"/>
                <a:gd name="connsiteY9" fmla="*/ 273036 h 1626492"/>
                <a:gd name="connsiteX10" fmla="*/ 420576 w 2014515"/>
                <a:gd name="connsiteY10" fmla="*/ 273868 h 1626492"/>
                <a:gd name="connsiteX11" fmla="*/ 375205 w 2014515"/>
                <a:gd name="connsiteY11" fmla="*/ 166162 h 1626492"/>
                <a:gd name="connsiteX12" fmla="*/ 365319 w 2014515"/>
                <a:gd name="connsiteY12" fmla="*/ 157733 h 1626492"/>
                <a:gd name="connsiteX13" fmla="*/ 352728 w 2014515"/>
                <a:gd name="connsiteY13" fmla="*/ 160855 h 1626492"/>
                <a:gd name="connsiteX14" fmla="*/ 329418 w 2014515"/>
                <a:gd name="connsiteY14" fmla="*/ 242024 h 1626492"/>
                <a:gd name="connsiteX15" fmla="*/ 375413 w 2014515"/>
                <a:gd name="connsiteY15" fmla="*/ 297386 h 1626492"/>
                <a:gd name="connsiteX16" fmla="*/ 318491 w 2014515"/>
                <a:gd name="connsiteY16" fmla="*/ 270434 h 1626492"/>
                <a:gd name="connsiteX17" fmla="*/ 311415 w 2014515"/>
                <a:gd name="connsiteY17" fmla="*/ 278759 h 1626492"/>
                <a:gd name="connsiteX18" fmla="*/ 213493 w 2014515"/>
                <a:gd name="connsiteY18" fmla="*/ 464513 h 1626492"/>
                <a:gd name="connsiteX19" fmla="*/ 196843 w 2014515"/>
                <a:gd name="connsiteY19" fmla="*/ 973177 h 1626492"/>
                <a:gd name="connsiteX20" fmla="*/ 201630 w 2014515"/>
                <a:gd name="connsiteY20" fmla="*/ 972033 h 1626492"/>
                <a:gd name="connsiteX21" fmla="*/ 220153 w 2014515"/>
                <a:gd name="connsiteY21" fmla="*/ 1172147 h 1626492"/>
                <a:gd name="connsiteX22" fmla="*/ 195802 w 2014515"/>
                <a:gd name="connsiteY22" fmla="*/ 1172772 h 1626492"/>
                <a:gd name="connsiteX23" fmla="*/ 687 w 2014515"/>
                <a:gd name="connsiteY23" fmla="*/ 1418571 h 1626492"/>
                <a:gd name="connsiteX24" fmla="*/ 80190 w 2014515"/>
                <a:gd name="connsiteY24" fmla="*/ 1577684 h 1626492"/>
                <a:gd name="connsiteX25" fmla="*/ 211724 w 2014515"/>
                <a:gd name="connsiteY25" fmla="*/ 1626490 h 1626492"/>
                <a:gd name="connsiteX26" fmla="*/ 230247 w 2014515"/>
                <a:gd name="connsiteY26" fmla="*/ 1625658 h 1626492"/>
                <a:gd name="connsiteX27" fmla="*/ 299656 w 2014515"/>
                <a:gd name="connsiteY27" fmla="*/ 1606406 h 1626492"/>
                <a:gd name="connsiteX28" fmla="*/ 306368 w 2014515"/>
                <a:gd name="connsiteY28" fmla="*/ 1587310 h 1626492"/>
                <a:gd name="connsiteX29" fmla="*/ 287273 w 2014515"/>
                <a:gd name="connsiteY29" fmla="*/ 1580598 h 1626492"/>
                <a:gd name="connsiteX30" fmla="*/ 98609 w 2014515"/>
                <a:gd name="connsiteY30" fmla="*/ 1555727 h 1626492"/>
                <a:gd name="connsiteX31" fmla="*/ 29200 w 2014515"/>
                <a:gd name="connsiteY31" fmla="*/ 1416281 h 1626492"/>
                <a:gd name="connsiteX32" fmla="*/ 198404 w 2014515"/>
                <a:gd name="connsiteY32" fmla="*/ 1201077 h 1626492"/>
                <a:gd name="connsiteX33" fmla="*/ 303194 w 2014515"/>
                <a:gd name="connsiteY33" fmla="*/ 1225116 h 1626492"/>
                <a:gd name="connsiteX34" fmla="*/ 322810 w 2014515"/>
                <a:gd name="connsiteY34" fmla="*/ 1220173 h 1626492"/>
                <a:gd name="connsiteX35" fmla="*/ 317867 w 2014515"/>
                <a:gd name="connsiteY35" fmla="*/ 1200557 h 1626492"/>
                <a:gd name="connsiteX36" fmla="*/ 249707 w 2014515"/>
                <a:gd name="connsiteY36" fmla="*/ 1175061 h 1626492"/>
                <a:gd name="connsiteX37" fmla="*/ 249707 w 2014515"/>
                <a:gd name="connsiteY37" fmla="*/ 1173292 h 1626492"/>
                <a:gd name="connsiteX38" fmla="*/ 231600 w 2014515"/>
                <a:gd name="connsiteY38" fmla="*/ 945184 h 1626492"/>
                <a:gd name="connsiteX39" fmla="*/ 436289 w 2014515"/>
                <a:gd name="connsiteY39" fmla="*/ 475336 h 1626492"/>
                <a:gd name="connsiteX40" fmla="*/ 659813 w 2014515"/>
                <a:gd name="connsiteY40" fmla="*/ 770461 h 1626492"/>
                <a:gd name="connsiteX41" fmla="*/ 1130692 w 2014515"/>
                <a:gd name="connsiteY41" fmla="*/ 916150 h 1626492"/>
                <a:gd name="connsiteX42" fmla="*/ 1195419 w 2014515"/>
                <a:gd name="connsiteY42" fmla="*/ 913757 h 1626492"/>
                <a:gd name="connsiteX43" fmla="*/ 1622592 w 2014515"/>
                <a:gd name="connsiteY43" fmla="*/ 762656 h 1626492"/>
                <a:gd name="connsiteX44" fmla="*/ 1628524 w 2014515"/>
                <a:gd name="connsiteY44" fmla="*/ 760991 h 1626492"/>
                <a:gd name="connsiteX45" fmla="*/ 1737476 w 2014515"/>
                <a:gd name="connsiteY45" fmla="*/ 677740 h 1626492"/>
                <a:gd name="connsiteX46" fmla="*/ 1737476 w 2014515"/>
                <a:gd name="connsiteY46" fmla="*/ 680758 h 1626492"/>
                <a:gd name="connsiteX47" fmla="*/ 1753398 w 2014515"/>
                <a:gd name="connsiteY47" fmla="*/ 693245 h 1626492"/>
                <a:gd name="connsiteX48" fmla="*/ 1872548 w 2014515"/>
                <a:gd name="connsiteY48" fmla="*/ 678885 h 1626492"/>
                <a:gd name="connsiteX49" fmla="*/ 1847781 w 2014515"/>
                <a:gd name="connsiteY49" fmla="*/ 1176830 h 1626492"/>
                <a:gd name="connsiteX50" fmla="*/ 1801474 w 2014515"/>
                <a:gd name="connsiteY50" fmla="*/ 1171315 h 1626492"/>
                <a:gd name="connsiteX51" fmla="*/ 1754022 w 2014515"/>
                <a:gd name="connsiteY51" fmla="*/ 1176934 h 1626492"/>
                <a:gd name="connsiteX52" fmla="*/ 1743512 w 2014515"/>
                <a:gd name="connsiteY52" fmla="*/ 1194209 h 1626492"/>
                <a:gd name="connsiteX53" fmla="*/ 1760786 w 2014515"/>
                <a:gd name="connsiteY53" fmla="*/ 1204719 h 1626492"/>
                <a:gd name="connsiteX54" fmla="*/ 1835086 w 2014515"/>
                <a:gd name="connsiteY54" fmla="*/ 1203367 h 1626492"/>
                <a:gd name="connsiteX55" fmla="*/ 1829467 w 2014515"/>
                <a:gd name="connsiteY55" fmla="*/ 1214605 h 1626492"/>
                <a:gd name="connsiteX56" fmla="*/ 1835502 w 2014515"/>
                <a:gd name="connsiteY56" fmla="*/ 1233961 h 1626492"/>
                <a:gd name="connsiteX57" fmla="*/ 1842058 w 2014515"/>
                <a:gd name="connsiteY57" fmla="*/ 1235522 h 1626492"/>
                <a:gd name="connsiteX58" fmla="*/ 1854753 w 2014515"/>
                <a:gd name="connsiteY58" fmla="*/ 1227925 h 1626492"/>
                <a:gd name="connsiteX59" fmla="*/ 1862974 w 2014515"/>
                <a:gd name="connsiteY59" fmla="*/ 1211483 h 1626492"/>
                <a:gd name="connsiteX60" fmla="*/ 1985975 w 2014515"/>
                <a:gd name="connsiteY60" fmla="*/ 1398798 h 1626492"/>
                <a:gd name="connsiteX61" fmla="*/ 1801474 w 2014515"/>
                <a:gd name="connsiteY61" fmla="*/ 1597456 h 1626492"/>
                <a:gd name="connsiteX62" fmla="*/ 1750380 w 2014515"/>
                <a:gd name="connsiteY62" fmla="*/ 1589756 h 1626492"/>
                <a:gd name="connsiteX63" fmla="*/ 1732533 w 2014515"/>
                <a:gd name="connsiteY63" fmla="*/ 1599173 h 1626492"/>
                <a:gd name="connsiteX64" fmla="*/ 1741951 w 2014515"/>
                <a:gd name="connsiteY64" fmla="*/ 1617020 h 1626492"/>
                <a:gd name="connsiteX65" fmla="*/ 1801474 w 2014515"/>
                <a:gd name="connsiteY65" fmla="*/ 1626074 h 1626492"/>
                <a:gd name="connsiteX66" fmla="*/ 2014488 w 2014515"/>
                <a:gd name="connsiteY66" fmla="*/ 1398798 h 1626492"/>
                <a:gd name="connsiteX67" fmla="*/ 1875254 w 2014515"/>
                <a:gd name="connsiteY67" fmla="*/ 1185572 h 1626492"/>
                <a:gd name="connsiteX68" fmla="*/ 1894193 w 2014515"/>
                <a:gd name="connsiteY68" fmla="*/ 657343 h 1626492"/>
                <a:gd name="connsiteX69" fmla="*/ 1879624 w 2014515"/>
                <a:gd name="connsiteY69" fmla="*/ 649435 h 1626492"/>
                <a:gd name="connsiteX70" fmla="*/ 1751004 w 2014515"/>
                <a:gd name="connsiteY70" fmla="*/ 664940 h 1626492"/>
                <a:gd name="connsiteX71" fmla="*/ 1922810 w 2014515"/>
                <a:gd name="connsiteY71" fmla="*/ 402491 h 1626492"/>
                <a:gd name="connsiteX72" fmla="*/ 1914589 w 2014515"/>
                <a:gd name="connsiteY72" fmla="*/ 383968 h 1626492"/>
                <a:gd name="connsiteX73" fmla="*/ 1896066 w 2014515"/>
                <a:gd name="connsiteY73" fmla="*/ 392189 h 1626492"/>
                <a:gd name="connsiteX74" fmla="*/ 1840705 w 2014515"/>
                <a:gd name="connsiteY74" fmla="*/ 504890 h 1626492"/>
                <a:gd name="connsiteX75" fmla="*/ 1890655 w 2014515"/>
                <a:gd name="connsiteY75" fmla="*/ 238174 h 1626492"/>
                <a:gd name="connsiteX76" fmla="*/ 1888886 w 2014515"/>
                <a:gd name="connsiteY76" fmla="*/ 212262 h 1626492"/>
                <a:gd name="connsiteX77" fmla="*/ 1868073 w 2014515"/>
                <a:gd name="connsiteY77" fmla="*/ 227768 h 1626492"/>
                <a:gd name="connsiteX78" fmla="*/ 1592102 w 2014515"/>
                <a:gd name="connsiteY78" fmla="*/ 321425 h 1626492"/>
                <a:gd name="connsiteX79" fmla="*/ 1777956 w 2014515"/>
                <a:gd name="connsiteY79" fmla="*/ 257322 h 1626492"/>
                <a:gd name="connsiteX80" fmla="*/ 1780401 w 2014515"/>
                <a:gd name="connsiteY80" fmla="*/ 237290 h 1626492"/>
                <a:gd name="connsiteX81" fmla="*/ 1760369 w 2014515"/>
                <a:gd name="connsiteY81" fmla="*/ 234844 h 1626492"/>
                <a:gd name="connsiteX82" fmla="*/ 1418423 w 2014515"/>
                <a:gd name="connsiteY82" fmla="*/ 253055 h 1626492"/>
                <a:gd name="connsiteX83" fmla="*/ 1285432 w 2014515"/>
                <a:gd name="connsiteY83" fmla="*/ 150969 h 1626492"/>
                <a:gd name="connsiteX84" fmla="*/ 357514 w 2014515"/>
                <a:gd name="connsiteY84" fmla="*/ 198734 h 1626492"/>
                <a:gd name="connsiteX85" fmla="*/ 387172 w 2014515"/>
                <a:gd name="connsiteY85" fmla="*/ 268873 h 1626492"/>
                <a:gd name="connsiteX86" fmla="*/ 354184 w 2014515"/>
                <a:gd name="connsiteY86" fmla="*/ 228392 h 1626492"/>
                <a:gd name="connsiteX87" fmla="*/ 357514 w 2014515"/>
                <a:gd name="connsiteY87" fmla="*/ 198734 h 1626492"/>
                <a:gd name="connsiteX88" fmla="*/ 210787 w 2014515"/>
                <a:gd name="connsiteY88" fmla="*/ 902414 h 1626492"/>
                <a:gd name="connsiteX89" fmla="*/ 326400 w 2014515"/>
                <a:gd name="connsiteY89" fmla="*/ 305920 h 1626492"/>
                <a:gd name="connsiteX90" fmla="*/ 409649 w 2014515"/>
                <a:gd name="connsiteY90" fmla="*/ 345568 h 1626492"/>
                <a:gd name="connsiteX91" fmla="*/ 425675 w 2014515"/>
                <a:gd name="connsiteY91" fmla="*/ 442035 h 1626492"/>
                <a:gd name="connsiteX92" fmla="*/ 210787 w 2014515"/>
                <a:gd name="connsiteY92" fmla="*/ 902414 h 1626492"/>
                <a:gd name="connsiteX93" fmla="*/ 1863182 w 2014515"/>
                <a:gd name="connsiteY93" fmla="*/ 266480 h 1626492"/>
                <a:gd name="connsiteX94" fmla="*/ 1193129 w 2014515"/>
                <a:gd name="connsiteY94" fmla="*/ 885660 h 1626492"/>
                <a:gd name="connsiteX95" fmla="*/ 676255 w 2014515"/>
                <a:gd name="connsiteY95" fmla="*/ 747359 h 1626492"/>
                <a:gd name="connsiteX96" fmla="*/ 457726 w 2014515"/>
                <a:gd name="connsiteY96" fmla="*/ 448591 h 1626492"/>
                <a:gd name="connsiteX97" fmla="*/ 463241 w 2014515"/>
                <a:gd name="connsiteY97" fmla="*/ 441827 h 1626492"/>
                <a:gd name="connsiteX98" fmla="*/ 453355 w 2014515"/>
                <a:gd name="connsiteY98" fmla="*/ 433398 h 1626492"/>
                <a:gd name="connsiteX99" fmla="*/ 439099 w 2014515"/>
                <a:gd name="connsiteY99" fmla="*/ 350147 h 1626492"/>
                <a:gd name="connsiteX100" fmla="*/ 599458 w 2014515"/>
                <a:gd name="connsiteY100" fmla="*/ 212470 h 1626492"/>
                <a:gd name="connsiteX101" fmla="*/ 971062 w 2014515"/>
                <a:gd name="connsiteY101" fmla="*/ 31815 h 1626492"/>
                <a:gd name="connsiteX102" fmla="*/ 1267638 w 2014515"/>
                <a:gd name="connsiteY102" fmla="*/ 172822 h 1626492"/>
                <a:gd name="connsiteX103" fmla="*/ 1393760 w 2014515"/>
                <a:gd name="connsiteY103" fmla="*/ 271266 h 1626492"/>
                <a:gd name="connsiteX104" fmla="*/ 1398235 w 2014515"/>
                <a:gd name="connsiteY104" fmla="*/ 275221 h 1626492"/>
                <a:gd name="connsiteX105" fmla="*/ 1404583 w 2014515"/>
                <a:gd name="connsiteY105" fmla="*/ 278551 h 1626492"/>
                <a:gd name="connsiteX106" fmla="*/ 1863182 w 2014515"/>
                <a:gd name="connsiteY106" fmla="*/ 266480 h 1626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</a:cxnLst>
              <a:rect l="l" t="t" r="r" b="b"/>
              <a:pathLst>
                <a:path w="2014515" h="1626492">
                  <a:moveTo>
                    <a:pt x="1285432" y="150969"/>
                  </a:moveTo>
                  <a:cubicBezTo>
                    <a:pt x="1181371" y="63659"/>
                    <a:pt x="1082824" y="-18655"/>
                    <a:pt x="965234" y="3718"/>
                  </a:cubicBezTo>
                  <a:cubicBezTo>
                    <a:pt x="725893" y="49298"/>
                    <a:pt x="506322" y="244834"/>
                    <a:pt x="436497" y="312060"/>
                  </a:cubicBezTo>
                  <a:lnTo>
                    <a:pt x="428380" y="292912"/>
                  </a:lnTo>
                  <a:cubicBezTo>
                    <a:pt x="429931" y="293567"/>
                    <a:pt x="431586" y="293921"/>
                    <a:pt x="433271" y="293952"/>
                  </a:cubicBezTo>
                  <a:cubicBezTo>
                    <a:pt x="438599" y="293921"/>
                    <a:pt x="443480" y="290955"/>
                    <a:pt x="445967" y="286252"/>
                  </a:cubicBezTo>
                  <a:cubicBezTo>
                    <a:pt x="446591" y="285107"/>
                    <a:pt x="509340" y="168660"/>
                    <a:pt x="742750" y="60849"/>
                  </a:cubicBezTo>
                  <a:cubicBezTo>
                    <a:pt x="749681" y="56989"/>
                    <a:pt x="752168" y="48247"/>
                    <a:pt x="748307" y="41316"/>
                  </a:cubicBezTo>
                  <a:cubicBezTo>
                    <a:pt x="744863" y="35125"/>
                    <a:pt x="737423" y="32377"/>
                    <a:pt x="730783" y="34833"/>
                  </a:cubicBezTo>
                  <a:cubicBezTo>
                    <a:pt x="488632" y="146806"/>
                    <a:pt x="423281" y="267936"/>
                    <a:pt x="420576" y="273036"/>
                  </a:cubicBezTo>
                  <a:lnTo>
                    <a:pt x="420576" y="273868"/>
                  </a:lnTo>
                  <a:cubicBezTo>
                    <a:pt x="401324" y="228288"/>
                    <a:pt x="375621" y="167098"/>
                    <a:pt x="375205" y="166162"/>
                  </a:cubicBezTo>
                  <a:cubicBezTo>
                    <a:pt x="373415" y="161958"/>
                    <a:pt x="369752" y="158836"/>
                    <a:pt x="365319" y="157733"/>
                  </a:cubicBezTo>
                  <a:cubicBezTo>
                    <a:pt x="360865" y="156671"/>
                    <a:pt x="356172" y="157837"/>
                    <a:pt x="352728" y="160855"/>
                  </a:cubicBezTo>
                  <a:cubicBezTo>
                    <a:pt x="335661" y="175424"/>
                    <a:pt x="311103" y="208932"/>
                    <a:pt x="329418" y="242024"/>
                  </a:cubicBezTo>
                  <a:cubicBezTo>
                    <a:pt x="342436" y="262286"/>
                    <a:pt x="357879" y="280882"/>
                    <a:pt x="375413" y="297386"/>
                  </a:cubicBezTo>
                  <a:lnTo>
                    <a:pt x="318491" y="270434"/>
                  </a:lnTo>
                  <a:lnTo>
                    <a:pt x="311415" y="278759"/>
                  </a:lnTo>
                  <a:cubicBezTo>
                    <a:pt x="309126" y="281465"/>
                    <a:pt x="255014" y="346192"/>
                    <a:pt x="213493" y="464513"/>
                  </a:cubicBezTo>
                  <a:cubicBezTo>
                    <a:pt x="175406" y="573260"/>
                    <a:pt x="141586" y="749856"/>
                    <a:pt x="196843" y="973177"/>
                  </a:cubicBezTo>
                  <a:lnTo>
                    <a:pt x="201630" y="972033"/>
                  </a:lnTo>
                  <a:cubicBezTo>
                    <a:pt x="201505" y="1039174"/>
                    <a:pt x="207707" y="1106171"/>
                    <a:pt x="220153" y="1172147"/>
                  </a:cubicBezTo>
                  <a:cubicBezTo>
                    <a:pt x="212036" y="1171783"/>
                    <a:pt x="203899" y="1171991"/>
                    <a:pt x="195802" y="1172772"/>
                  </a:cubicBezTo>
                  <a:cubicBezTo>
                    <a:pt x="78837" y="1183178"/>
                    <a:pt x="-8679" y="1293798"/>
                    <a:pt x="687" y="1418571"/>
                  </a:cubicBezTo>
                  <a:cubicBezTo>
                    <a:pt x="4933" y="1480083"/>
                    <a:pt x="33550" y="1537349"/>
                    <a:pt x="80190" y="1577684"/>
                  </a:cubicBezTo>
                  <a:cubicBezTo>
                    <a:pt x="116841" y="1609070"/>
                    <a:pt x="163471" y="1626376"/>
                    <a:pt x="211724" y="1626490"/>
                  </a:cubicBezTo>
                  <a:cubicBezTo>
                    <a:pt x="217905" y="1626521"/>
                    <a:pt x="224087" y="1626240"/>
                    <a:pt x="230247" y="1625658"/>
                  </a:cubicBezTo>
                  <a:cubicBezTo>
                    <a:pt x="254348" y="1623441"/>
                    <a:pt x="277855" y="1616916"/>
                    <a:pt x="299656" y="1606406"/>
                  </a:cubicBezTo>
                  <a:cubicBezTo>
                    <a:pt x="306784" y="1602982"/>
                    <a:pt x="309792" y="1594438"/>
                    <a:pt x="306368" y="1587310"/>
                  </a:cubicBezTo>
                  <a:cubicBezTo>
                    <a:pt x="302945" y="1580182"/>
                    <a:pt x="294401" y="1577174"/>
                    <a:pt x="287273" y="1580598"/>
                  </a:cubicBezTo>
                  <a:cubicBezTo>
                    <a:pt x="225054" y="1610673"/>
                    <a:pt x="150910" y="1600901"/>
                    <a:pt x="98609" y="1555727"/>
                  </a:cubicBezTo>
                  <a:cubicBezTo>
                    <a:pt x="57817" y="1520355"/>
                    <a:pt x="32832" y="1470155"/>
                    <a:pt x="29200" y="1416281"/>
                  </a:cubicBezTo>
                  <a:cubicBezTo>
                    <a:pt x="20979" y="1307014"/>
                    <a:pt x="96840" y="1210443"/>
                    <a:pt x="198404" y="1201077"/>
                  </a:cubicBezTo>
                  <a:cubicBezTo>
                    <a:pt x="235013" y="1197643"/>
                    <a:pt x="271747" y="1206072"/>
                    <a:pt x="303194" y="1225116"/>
                  </a:cubicBezTo>
                  <a:cubicBezTo>
                    <a:pt x="309979" y="1229164"/>
                    <a:pt x="318762" y="1226958"/>
                    <a:pt x="322810" y="1220173"/>
                  </a:cubicBezTo>
                  <a:cubicBezTo>
                    <a:pt x="326858" y="1213388"/>
                    <a:pt x="324652" y="1204605"/>
                    <a:pt x="317867" y="1200557"/>
                  </a:cubicBezTo>
                  <a:cubicBezTo>
                    <a:pt x="296867" y="1188017"/>
                    <a:pt x="273776" y="1179380"/>
                    <a:pt x="249707" y="1175061"/>
                  </a:cubicBezTo>
                  <a:cubicBezTo>
                    <a:pt x="249758" y="1174468"/>
                    <a:pt x="249758" y="1173885"/>
                    <a:pt x="249707" y="1173292"/>
                  </a:cubicBezTo>
                  <a:cubicBezTo>
                    <a:pt x="249707" y="1172043"/>
                    <a:pt x="224107" y="1046854"/>
                    <a:pt x="231600" y="945184"/>
                  </a:cubicBezTo>
                  <a:cubicBezTo>
                    <a:pt x="261455" y="774509"/>
                    <a:pt x="331634" y="613428"/>
                    <a:pt x="436289" y="475336"/>
                  </a:cubicBezTo>
                  <a:cubicBezTo>
                    <a:pt x="474272" y="589806"/>
                    <a:pt x="550757" y="691788"/>
                    <a:pt x="659813" y="770461"/>
                  </a:cubicBezTo>
                  <a:cubicBezTo>
                    <a:pt x="791660" y="865575"/>
                    <a:pt x="956910" y="916150"/>
                    <a:pt x="1130692" y="916150"/>
                  </a:cubicBezTo>
                  <a:cubicBezTo>
                    <a:pt x="1152129" y="916150"/>
                    <a:pt x="1173774" y="915318"/>
                    <a:pt x="1195419" y="913757"/>
                  </a:cubicBezTo>
                  <a:cubicBezTo>
                    <a:pt x="1349014" y="903715"/>
                    <a:pt x="1496844" y="851422"/>
                    <a:pt x="1622592" y="762656"/>
                  </a:cubicBezTo>
                  <a:cubicBezTo>
                    <a:pt x="1624673" y="762573"/>
                    <a:pt x="1626702" y="762000"/>
                    <a:pt x="1628524" y="760991"/>
                  </a:cubicBezTo>
                  <a:cubicBezTo>
                    <a:pt x="1667942" y="737556"/>
                    <a:pt x="1704499" y="709615"/>
                    <a:pt x="1737476" y="677740"/>
                  </a:cubicBezTo>
                  <a:cubicBezTo>
                    <a:pt x="1737424" y="678749"/>
                    <a:pt x="1737424" y="679748"/>
                    <a:pt x="1737476" y="680758"/>
                  </a:cubicBezTo>
                  <a:cubicBezTo>
                    <a:pt x="1738454" y="688583"/>
                    <a:pt x="1745561" y="694161"/>
                    <a:pt x="1753398" y="693245"/>
                  </a:cubicBezTo>
                  <a:lnTo>
                    <a:pt x="1872548" y="678885"/>
                  </a:lnTo>
                  <a:cubicBezTo>
                    <a:pt x="1890863" y="723736"/>
                    <a:pt x="1961208" y="927701"/>
                    <a:pt x="1847781" y="1176830"/>
                  </a:cubicBezTo>
                  <a:cubicBezTo>
                    <a:pt x="1832619" y="1173146"/>
                    <a:pt x="1817073" y="1171294"/>
                    <a:pt x="1801474" y="1171315"/>
                  </a:cubicBezTo>
                  <a:cubicBezTo>
                    <a:pt x="1785490" y="1171305"/>
                    <a:pt x="1769558" y="1173188"/>
                    <a:pt x="1754022" y="1176934"/>
                  </a:cubicBezTo>
                  <a:cubicBezTo>
                    <a:pt x="1746353" y="1178808"/>
                    <a:pt x="1741639" y="1186539"/>
                    <a:pt x="1743512" y="1194209"/>
                  </a:cubicBezTo>
                  <a:cubicBezTo>
                    <a:pt x="1745374" y="1201878"/>
                    <a:pt x="1753116" y="1206592"/>
                    <a:pt x="1760786" y="1204719"/>
                  </a:cubicBezTo>
                  <a:cubicBezTo>
                    <a:pt x="1785157" y="1198829"/>
                    <a:pt x="1810517" y="1198371"/>
                    <a:pt x="1835086" y="1203367"/>
                  </a:cubicBezTo>
                  <a:cubicBezTo>
                    <a:pt x="1833213" y="1207113"/>
                    <a:pt x="1831444" y="1210859"/>
                    <a:pt x="1829467" y="1214605"/>
                  </a:cubicBezTo>
                  <a:cubicBezTo>
                    <a:pt x="1825803" y="1221619"/>
                    <a:pt x="1828499" y="1230277"/>
                    <a:pt x="1835502" y="1233961"/>
                  </a:cubicBezTo>
                  <a:cubicBezTo>
                    <a:pt x="1837542" y="1234981"/>
                    <a:pt x="1839779" y="1235512"/>
                    <a:pt x="1842058" y="1235522"/>
                  </a:cubicBezTo>
                  <a:cubicBezTo>
                    <a:pt x="1847386" y="1235574"/>
                    <a:pt x="1852287" y="1232640"/>
                    <a:pt x="1854753" y="1227925"/>
                  </a:cubicBezTo>
                  <a:cubicBezTo>
                    <a:pt x="1857667" y="1222410"/>
                    <a:pt x="1860269" y="1216895"/>
                    <a:pt x="1862974" y="1211483"/>
                  </a:cubicBezTo>
                  <a:cubicBezTo>
                    <a:pt x="1938679" y="1242588"/>
                    <a:pt x="1987525" y="1316973"/>
                    <a:pt x="1985975" y="1398798"/>
                  </a:cubicBezTo>
                  <a:cubicBezTo>
                    <a:pt x="1985975" y="1508378"/>
                    <a:pt x="1902726" y="1597456"/>
                    <a:pt x="1801474" y="1597456"/>
                  </a:cubicBezTo>
                  <a:cubicBezTo>
                    <a:pt x="1784158" y="1597456"/>
                    <a:pt x="1766925" y="1594865"/>
                    <a:pt x="1750380" y="1589756"/>
                  </a:cubicBezTo>
                  <a:cubicBezTo>
                    <a:pt x="1742856" y="1587425"/>
                    <a:pt x="1734864" y="1591650"/>
                    <a:pt x="1732533" y="1599173"/>
                  </a:cubicBezTo>
                  <a:cubicBezTo>
                    <a:pt x="1730202" y="1606697"/>
                    <a:pt x="1734427" y="1614689"/>
                    <a:pt x="1741951" y="1617020"/>
                  </a:cubicBezTo>
                  <a:cubicBezTo>
                    <a:pt x="1761212" y="1623046"/>
                    <a:pt x="1781286" y="1626105"/>
                    <a:pt x="1801474" y="1626074"/>
                  </a:cubicBezTo>
                  <a:cubicBezTo>
                    <a:pt x="1918959" y="1626074"/>
                    <a:pt x="2014488" y="1524091"/>
                    <a:pt x="2014488" y="1398798"/>
                  </a:cubicBezTo>
                  <a:cubicBezTo>
                    <a:pt x="2015935" y="1305973"/>
                    <a:pt x="1960823" y="1221578"/>
                    <a:pt x="1875254" y="1185572"/>
                  </a:cubicBezTo>
                  <a:cubicBezTo>
                    <a:pt x="2006683" y="894193"/>
                    <a:pt x="1899084" y="667334"/>
                    <a:pt x="1894193" y="657343"/>
                  </a:cubicBezTo>
                  <a:cubicBezTo>
                    <a:pt x="1891549" y="651838"/>
                    <a:pt x="1885680" y="648654"/>
                    <a:pt x="1879624" y="649435"/>
                  </a:cubicBezTo>
                  <a:lnTo>
                    <a:pt x="1751004" y="664940"/>
                  </a:lnTo>
                  <a:cubicBezTo>
                    <a:pt x="1826282" y="590670"/>
                    <a:pt x="1884848" y="501195"/>
                    <a:pt x="1922810" y="402491"/>
                  </a:cubicBezTo>
                  <a:cubicBezTo>
                    <a:pt x="1925640" y="395102"/>
                    <a:pt x="1921957" y="386829"/>
                    <a:pt x="1914589" y="383968"/>
                  </a:cubicBezTo>
                  <a:cubicBezTo>
                    <a:pt x="1907211" y="381262"/>
                    <a:pt x="1899011" y="384904"/>
                    <a:pt x="1896066" y="392189"/>
                  </a:cubicBezTo>
                  <a:cubicBezTo>
                    <a:pt x="1881039" y="431348"/>
                    <a:pt x="1862506" y="469061"/>
                    <a:pt x="1840705" y="504890"/>
                  </a:cubicBezTo>
                  <a:cubicBezTo>
                    <a:pt x="1879832" y="421701"/>
                    <a:pt x="1897023" y="329886"/>
                    <a:pt x="1890655" y="238174"/>
                  </a:cubicBezTo>
                  <a:lnTo>
                    <a:pt x="1888886" y="212262"/>
                  </a:lnTo>
                  <a:lnTo>
                    <a:pt x="1868073" y="227768"/>
                  </a:lnTo>
                  <a:cubicBezTo>
                    <a:pt x="1762139" y="306128"/>
                    <a:pt x="1672229" y="329854"/>
                    <a:pt x="1592102" y="321425"/>
                  </a:cubicBezTo>
                  <a:cubicBezTo>
                    <a:pt x="1659482" y="321456"/>
                    <a:pt x="1724926" y="298885"/>
                    <a:pt x="1777956" y="257322"/>
                  </a:cubicBezTo>
                  <a:cubicBezTo>
                    <a:pt x="1784158" y="252462"/>
                    <a:pt x="1785261" y="243492"/>
                    <a:pt x="1780401" y="237290"/>
                  </a:cubicBezTo>
                  <a:cubicBezTo>
                    <a:pt x="1775542" y="231087"/>
                    <a:pt x="1766572" y="229984"/>
                    <a:pt x="1760369" y="234844"/>
                  </a:cubicBezTo>
                  <a:cubicBezTo>
                    <a:pt x="1621551" y="343279"/>
                    <a:pt x="1452971" y="270018"/>
                    <a:pt x="1418423" y="253055"/>
                  </a:cubicBezTo>
                  <a:cubicBezTo>
                    <a:pt x="1372188" y="221576"/>
                    <a:pt x="1327785" y="187495"/>
                    <a:pt x="1285432" y="150969"/>
                  </a:cubicBezTo>
                  <a:close/>
                  <a:moveTo>
                    <a:pt x="357514" y="198734"/>
                  </a:moveTo>
                  <a:cubicBezTo>
                    <a:pt x="365215" y="216841"/>
                    <a:pt x="376557" y="243793"/>
                    <a:pt x="387172" y="268873"/>
                  </a:cubicBezTo>
                  <a:cubicBezTo>
                    <a:pt x="374684" y="256666"/>
                    <a:pt x="363623" y="243086"/>
                    <a:pt x="354184" y="228392"/>
                  </a:cubicBezTo>
                  <a:cubicBezTo>
                    <a:pt x="349897" y="218621"/>
                    <a:pt x="351167" y="207309"/>
                    <a:pt x="357514" y="198734"/>
                  </a:cubicBezTo>
                  <a:close/>
                  <a:moveTo>
                    <a:pt x="210787" y="902414"/>
                  </a:moveTo>
                  <a:cubicBezTo>
                    <a:pt x="150952" y="567953"/>
                    <a:pt x="293412" y="350875"/>
                    <a:pt x="326400" y="305920"/>
                  </a:cubicBezTo>
                  <a:lnTo>
                    <a:pt x="409649" y="345568"/>
                  </a:lnTo>
                  <a:cubicBezTo>
                    <a:pt x="412074" y="378140"/>
                    <a:pt x="417443" y="410431"/>
                    <a:pt x="425675" y="442035"/>
                  </a:cubicBezTo>
                  <a:cubicBezTo>
                    <a:pt x="319105" y="576631"/>
                    <a:pt x="245513" y="734288"/>
                    <a:pt x="210787" y="902414"/>
                  </a:cubicBezTo>
                  <a:close/>
                  <a:moveTo>
                    <a:pt x="1863182" y="266480"/>
                  </a:moveTo>
                  <a:cubicBezTo>
                    <a:pt x="1869738" y="583146"/>
                    <a:pt x="1575140" y="858083"/>
                    <a:pt x="1193129" y="885660"/>
                  </a:cubicBezTo>
                  <a:cubicBezTo>
                    <a:pt x="1002489" y="899500"/>
                    <a:pt x="818507" y="850382"/>
                    <a:pt x="676255" y="747359"/>
                  </a:cubicBezTo>
                  <a:cubicBezTo>
                    <a:pt x="566574" y="668270"/>
                    <a:pt x="491442" y="564622"/>
                    <a:pt x="457726" y="448591"/>
                  </a:cubicBezTo>
                  <a:cubicBezTo>
                    <a:pt x="459599" y="446406"/>
                    <a:pt x="461368" y="444012"/>
                    <a:pt x="463241" y="441827"/>
                  </a:cubicBezTo>
                  <a:lnTo>
                    <a:pt x="453355" y="433398"/>
                  </a:lnTo>
                  <a:cubicBezTo>
                    <a:pt x="446258" y="406102"/>
                    <a:pt x="441492" y="378254"/>
                    <a:pt x="439099" y="350147"/>
                  </a:cubicBezTo>
                  <a:cubicBezTo>
                    <a:pt x="489235" y="300529"/>
                    <a:pt x="542827" y="254523"/>
                    <a:pt x="599458" y="212470"/>
                  </a:cubicBezTo>
                  <a:cubicBezTo>
                    <a:pt x="689887" y="145141"/>
                    <a:pt x="827769" y="59080"/>
                    <a:pt x="971062" y="31815"/>
                  </a:cubicBezTo>
                  <a:cubicBezTo>
                    <a:pt x="1075123" y="11939"/>
                    <a:pt x="1168779" y="90091"/>
                    <a:pt x="1267638" y="172822"/>
                  </a:cubicBezTo>
                  <a:cubicBezTo>
                    <a:pt x="1307993" y="207735"/>
                    <a:pt x="1350086" y="240599"/>
                    <a:pt x="1393760" y="271266"/>
                  </a:cubicBezTo>
                  <a:cubicBezTo>
                    <a:pt x="1394947" y="272900"/>
                    <a:pt x="1396476" y="274243"/>
                    <a:pt x="1398235" y="275221"/>
                  </a:cubicBezTo>
                  <a:lnTo>
                    <a:pt x="1404583" y="278551"/>
                  </a:lnTo>
                  <a:cubicBezTo>
                    <a:pt x="1527688" y="358992"/>
                    <a:pt x="1671917" y="397912"/>
                    <a:pt x="1863182" y="266480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 44">
              <a:extLst>
                <a:ext uri="{FF2B5EF4-FFF2-40B4-BE49-F238E27FC236}">
                  <a16:creationId xmlns:a16="http://schemas.microsoft.com/office/drawing/2014/main" id="{C53DFD7E-7A41-7B43-96DB-DB88D6DC82EE}"/>
                </a:ext>
              </a:extLst>
            </p:cNvPr>
            <p:cNvSpPr/>
            <p:nvPr/>
          </p:nvSpPr>
          <p:spPr>
            <a:xfrm>
              <a:off x="7540089" y="2959634"/>
              <a:ext cx="1360707" cy="438584"/>
            </a:xfrm>
            <a:custGeom>
              <a:avLst/>
              <a:gdLst>
                <a:gd name="connsiteX0" fmla="*/ 83570 w 1360707"/>
                <a:gd name="connsiteY0" fmla="*/ 78628 h 438584"/>
                <a:gd name="connsiteX1" fmla="*/ 552784 w 1360707"/>
                <a:gd name="connsiteY1" fmla="*/ 268232 h 438584"/>
                <a:gd name="connsiteX2" fmla="*/ 566416 w 1360707"/>
                <a:gd name="connsiteY2" fmla="*/ 253351 h 438584"/>
                <a:gd name="connsiteX3" fmla="*/ 551535 w 1360707"/>
                <a:gd name="connsiteY3" fmla="*/ 239719 h 438584"/>
                <a:gd name="connsiteX4" fmla="*/ 22694 w 1360707"/>
                <a:gd name="connsiteY4" fmla="*/ 2765 h 438584"/>
                <a:gd name="connsiteX5" fmla="*/ 2766 w 1360707"/>
                <a:gd name="connsiteY5" fmla="*/ 5825 h 438584"/>
                <a:gd name="connsiteX6" fmla="*/ 2506 w 1360707"/>
                <a:gd name="connsiteY6" fmla="*/ 22329 h 438584"/>
                <a:gd name="connsiteX7" fmla="*/ 694308 w 1360707"/>
                <a:gd name="connsiteY7" fmla="*/ 438585 h 438584"/>
                <a:gd name="connsiteX8" fmla="*/ 729688 w 1360707"/>
                <a:gd name="connsiteY8" fmla="*/ 437544 h 438584"/>
                <a:gd name="connsiteX9" fmla="*/ 1358741 w 1360707"/>
                <a:gd name="connsiteY9" fmla="*/ 66869 h 438584"/>
                <a:gd name="connsiteX10" fmla="*/ 1353642 w 1360707"/>
                <a:gd name="connsiteY10" fmla="*/ 47305 h 438584"/>
                <a:gd name="connsiteX11" fmla="*/ 1334079 w 1360707"/>
                <a:gd name="connsiteY11" fmla="*/ 52404 h 438584"/>
                <a:gd name="connsiteX12" fmla="*/ 727920 w 1360707"/>
                <a:gd name="connsiteY12" fmla="*/ 409031 h 438584"/>
                <a:gd name="connsiteX13" fmla="*/ 83570 w 1360707"/>
                <a:gd name="connsiteY13" fmla="*/ 78628 h 438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60707" h="438584">
                  <a:moveTo>
                    <a:pt x="83570" y="78628"/>
                  </a:moveTo>
                  <a:cubicBezTo>
                    <a:pt x="197309" y="151993"/>
                    <a:pt x="410219" y="275100"/>
                    <a:pt x="552784" y="268232"/>
                  </a:cubicBezTo>
                  <a:cubicBezTo>
                    <a:pt x="560661" y="267889"/>
                    <a:pt x="566759" y="261229"/>
                    <a:pt x="566416" y="253351"/>
                  </a:cubicBezTo>
                  <a:cubicBezTo>
                    <a:pt x="566072" y="245473"/>
                    <a:pt x="559412" y="239375"/>
                    <a:pt x="551535" y="239719"/>
                  </a:cubicBezTo>
                  <a:cubicBezTo>
                    <a:pt x="362975" y="248252"/>
                    <a:pt x="26024" y="5159"/>
                    <a:pt x="22694" y="2765"/>
                  </a:cubicBezTo>
                  <a:cubicBezTo>
                    <a:pt x="16346" y="-1897"/>
                    <a:pt x="7428" y="-523"/>
                    <a:pt x="2766" y="5825"/>
                  </a:cubicBezTo>
                  <a:cubicBezTo>
                    <a:pt x="-824" y="10705"/>
                    <a:pt x="-928" y="17334"/>
                    <a:pt x="2506" y="22329"/>
                  </a:cubicBezTo>
                  <a:cubicBezTo>
                    <a:pt x="5419" y="26596"/>
                    <a:pt x="291277" y="438585"/>
                    <a:pt x="694308" y="438585"/>
                  </a:cubicBezTo>
                  <a:cubicBezTo>
                    <a:pt x="705962" y="438585"/>
                    <a:pt x="717826" y="438585"/>
                    <a:pt x="729688" y="437544"/>
                  </a:cubicBezTo>
                  <a:cubicBezTo>
                    <a:pt x="1150722" y="412257"/>
                    <a:pt x="1356764" y="70303"/>
                    <a:pt x="1358741" y="66869"/>
                  </a:cubicBezTo>
                  <a:cubicBezTo>
                    <a:pt x="1362737" y="60063"/>
                    <a:pt x="1360448" y="51301"/>
                    <a:pt x="1353642" y="47305"/>
                  </a:cubicBezTo>
                  <a:cubicBezTo>
                    <a:pt x="1346837" y="43309"/>
                    <a:pt x="1338075" y="45598"/>
                    <a:pt x="1334079" y="52404"/>
                  </a:cubicBezTo>
                  <a:cubicBezTo>
                    <a:pt x="1332205" y="55630"/>
                    <a:pt x="1133968" y="384576"/>
                    <a:pt x="727920" y="409031"/>
                  </a:cubicBezTo>
                  <a:cubicBezTo>
                    <a:pt x="427493" y="427346"/>
                    <a:pt x="188360" y="199446"/>
                    <a:pt x="83570" y="78628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 45">
              <a:extLst>
                <a:ext uri="{FF2B5EF4-FFF2-40B4-BE49-F238E27FC236}">
                  <a16:creationId xmlns:a16="http://schemas.microsoft.com/office/drawing/2014/main" id="{4CB6ECF8-B531-A24F-98BF-70FDACEA45A0}"/>
                </a:ext>
              </a:extLst>
            </p:cNvPr>
            <p:cNvSpPr/>
            <p:nvPr/>
          </p:nvSpPr>
          <p:spPr>
            <a:xfrm>
              <a:off x="7299896" y="2949062"/>
              <a:ext cx="133966" cy="343012"/>
            </a:xfrm>
            <a:custGeom>
              <a:avLst/>
              <a:gdLst>
                <a:gd name="connsiteX0" fmla="*/ 128543 w 133966"/>
                <a:gd name="connsiteY0" fmla="*/ 3036 h 343012"/>
                <a:gd name="connsiteX1" fmla="*/ 108668 w 133966"/>
                <a:gd name="connsiteY1" fmla="*/ 5398 h 343012"/>
                <a:gd name="connsiteX2" fmla="*/ 108564 w 133966"/>
                <a:gd name="connsiteY2" fmla="*/ 5533 h 343012"/>
                <a:gd name="connsiteX3" fmla="*/ 27 w 133966"/>
                <a:gd name="connsiteY3" fmla="*/ 328860 h 343012"/>
                <a:gd name="connsiteX4" fmla="*/ 14284 w 133966"/>
                <a:gd name="connsiteY4" fmla="*/ 343012 h 343012"/>
                <a:gd name="connsiteX5" fmla="*/ 14284 w 133966"/>
                <a:gd name="connsiteY5" fmla="*/ 343012 h 343012"/>
                <a:gd name="connsiteX6" fmla="*/ 28332 w 133966"/>
                <a:gd name="connsiteY6" fmla="*/ 328547 h 343012"/>
                <a:gd name="connsiteX7" fmla="*/ 28332 w 133966"/>
                <a:gd name="connsiteY7" fmla="*/ 328547 h 343012"/>
                <a:gd name="connsiteX8" fmla="*/ 130937 w 133966"/>
                <a:gd name="connsiteY8" fmla="*/ 23016 h 343012"/>
                <a:gd name="connsiteX9" fmla="*/ 128543 w 133966"/>
                <a:gd name="connsiteY9" fmla="*/ 3036 h 343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3966" h="343012">
                  <a:moveTo>
                    <a:pt x="128543" y="3036"/>
                  </a:moveTo>
                  <a:cubicBezTo>
                    <a:pt x="122404" y="-1803"/>
                    <a:pt x="113507" y="-742"/>
                    <a:pt x="108668" y="5398"/>
                  </a:cubicBezTo>
                  <a:cubicBezTo>
                    <a:pt x="108636" y="5440"/>
                    <a:pt x="108595" y="5492"/>
                    <a:pt x="108564" y="5533"/>
                  </a:cubicBezTo>
                  <a:cubicBezTo>
                    <a:pt x="103985" y="11361"/>
                    <a:pt x="-1950" y="150286"/>
                    <a:pt x="27" y="328860"/>
                  </a:cubicBezTo>
                  <a:cubicBezTo>
                    <a:pt x="142" y="336664"/>
                    <a:pt x="6469" y="342960"/>
                    <a:pt x="14284" y="343012"/>
                  </a:cubicBezTo>
                  <a:lnTo>
                    <a:pt x="14284" y="343012"/>
                  </a:lnTo>
                  <a:cubicBezTo>
                    <a:pt x="22161" y="342898"/>
                    <a:pt x="28446" y="336425"/>
                    <a:pt x="28332" y="328547"/>
                  </a:cubicBezTo>
                  <a:cubicBezTo>
                    <a:pt x="28332" y="328547"/>
                    <a:pt x="28332" y="328547"/>
                    <a:pt x="28332" y="328547"/>
                  </a:cubicBezTo>
                  <a:cubicBezTo>
                    <a:pt x="26563" y="160172"/>
                    <a:pt x="129896" y="24369"/>
                    <a:pt x="130937" y="23016"/>
                  </a:cubicBezTo>
                  <a:cubicBezTo>
                    <a:pt x="135776" y="16835"/>
                    <a:pt x="134704" y="7895"/>
                    <a:pt x="128543" y="3036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 46">
              <a:extLst>
                <a:ext uri="{FF2B5EF4-FFF2-40B4-BE49-F238E27FC236}">
                  <a16:creationId xmlns:a16="http://schemas.microsoft.com/office/drawing/2014/main" id="{3CDB8BF3-5577-6243-8F03-2B189FC9886F}"/>
                </a:ext>
              </a:extLst>
            </p:cNvPr>
            <p:cNvSpPr/>
            <p:nvPr/>
          </p:nvSpPr>
          <p:spPr>
            <a:xfrm>
              <a:off x="8912195" y="3296750"/>
              <a:ext cx="63466" cy="297738"/>
            </a:xfrm>
            <a:custGeom>
              <a:avLst/>
              <a:gdLst>
                <a:gd name="connsiteX0" fmla="*/ 34919 w 63466"/>
                <a:gd name="connsiteY0" fmla="*/ 297630 h 297738"/>
                <a:gd name="connsiteX1" fmla="*/ 38354 w 63466"/>
                <a:gd name="connsiteY1" fmla="*/ 297630 h 297738"/>
                <a:gd name="connsiteX2" fmla="*/ 52298 w 63466"/>
                <a:gd name="connsiteY2" fmla="*/ 287223 h 297738"/>
                <a:gd name="connsiteX3" fmla="*/ 27323 w 63466"/>
                <a:gd name="connsiteY3" fmla="*/ 8540 h 297738"/>
                <a:gd name="connsiteX4" fmla="*/ 8540 w 63466"/>
                <a:gd name="connsiteY4" fmla="*/ 1204 h 297738"/>
                <a:gd name="connsiteX5" fmla="*/ 1204 w 63466"/>
                <a:gd name="connsiteY5" fmla="*/ 19987 h 297738"/>
                <a:gd name="connsiteX6" fmla="*/ 24513 w 63466"/>
                <a:gd name="connsiteY6" fmla="*/ 280147 h 297738"/>
                <a:gd name="connsiteX7" fmla="*/ 34867 w 63466"/>
                <a:gd name="connsiteY7" fmla="*/ 297619 h 297738"/>
                <a:gd name="connsiteX8" fmla="*/ 34919 w 63466"/>
                <a:gd name="connsiteY8" fmla="*/ 297630 h 297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3466" h="297738">
                  <a:moveTo>
                    <a:pt x="34919" y="297630"/>
                  </a:moveTo>
                  <a:cubicBezTo>
                    <a:pt x="36064" y="297775"/>
                    <a:pt x="37209" y="297775"/>
                    <a:pt x="38354" y="297630"/>
                  </a:cubicBezTo>
                  <a:cubicBezTo>
                    <a:pt x="44816" y="297692"/>
                    <a:pt x="50518" y="293436"/>
                    <a:pt x="52298" y="287223"/>
                  </a:cubicBezTo>
                  <a:cubicBezTo>
                    <a:pt x="87054" y="147361"/>
                    <a:pt x="29820" y="14056"/>
                    <a:pt x="27323" y="8540"/>
                  </a:cubicBezTo>
                  <a:cubicBezTo>
                    <a:pt x="24159" y="1328"/>
                    <a:pt x="15751" y="-1960"/>
                    <a:pt x="8540" y="1204"/>
                  </a:cubicBezTo>
                  <a:cubicBezTo>
                    <a:pt x="1328" y="4367"/>
                    <a:pt x="-1960" y="12776"/>
                    <a:pt x="1204" y="19987"/>
                  </a:cubicBezTo>
                  <a:cubicBezTo>
                    <a:pt x="1724" y="21236"/>
                    <a:pt x="56980" y="150171"/>
                    <a:pt x="24513" y="280147"/>
                  </a:cubicBezTo>
                  <a:cubicBezTo>
                    <a:pt x="22547" y="287827"/>
                    <a:pt x="27188" y="295652"/>
                    <a:pt x="34867" y="297619"/>
                  </a:cubicBezTo>
                  <a:cubicBezTo>
                    <a:pt x="34888" y="297619"/>
                    <a:pt x="34899" y="297630"/>
                    <a:pt x="34919" y="297630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 47">
              <a:extLst>
                <a:ext uri="{FF2B5EF4-FFF2-40B4-BE49-F238E27FC236}">
                  <a16:creationId xmlns:a16="http://schemas.microsoft.com/office/drawing/2014/main" id="{B4AEEE8C-CCA8-0640-BD19-6BB1DF22A169}"/>
                </a:ext>
              </a:extLst>
            </p:cNvPr>
            <p:cNvSpPr/>
            <p:nvPr/>
          </p:nvSpPr>
          <p:spPr>
            <a:xfrm>
              <a:off x="7742508" y="2668953"/>
              <a:ext cx="774666" cy="332548"/>
            </a:xfrm>
            <a:custGeom>
              <a:avLst/>
              <a:gdLst>
                <a:gd name="connsiteX0" fmla="*/ 587313 w 774666"/>
                <a:gd name="connsiteY0" fmla="*/ 162222 h 332548"/>
                <a:gd name="connsiteX1" fmla="*/ 372946 w 774666"/>
                <a:gd name="connsiteY1" fmla="*/ 402 h 332548"/>
                <a:gd name="connsiteX2" fmla="*/ 7065 w 774666"/>
                <a:gd name="connsiteY2" fmla="*/ 137350 h 332548"/>
                <a:gd name="connsiteX3" fmla="*/ 1966 w 774666"/>
                <a:gd name="connsiteY3" fmla="*/ 156914 h 332548"/>
                <a:gd name="connsiteX4" fmla="*/ 21530 w 774666"/>
                <a:gd name="connsiteY4" fmla="*/ 162014 h 332548"/>
                <a:gd name="connsiteX5" fmla="*/ 370761 w 774666"/>
                <a:gd name="connsiteY5" fmla="*/ 28916 h 332548"/>
                <a:gd name="connsiteX6" fmla="*/ 566605 w 774666"/>
                <a:gd name="connsiteY6" fmla="*/ 181994 h 332548"/>
                <a:gd name="connsiteX7" fmla="*/ 757558 w 774666"/>
                <a:gd name="connsiteY7" fmla="*/ 332470 h 332548"/>
                <a:gd name="connsiteX8" fmla="*/ 759847 w 774666"/>
                <a:gd name="connsiteY8" fmla="*/ 332470 h 332548"/>
                <a:gd name="connsiteX9" fmla="*/ 774655 w 774666"/>
                <a:gd name="connsiteY9" fmla="*/ 318786 h 332548"/>
                <a:gd name="connsiteX10" fmla="*/ 762033 w 774666"/>
                <a:gd name="connsiteY10" fmla="*/ 304061 h 332548"/>
                <a:gd name="connsiteX11" fmla="*/ 587313 w 774666"/>
                <a:gd name="connsiteY11" fmla="*/ 162222 h 332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74666" h="332548">
                  <a:moveTo>
                    <a:pt x="587313" y="162222"/>
                  </a:moveTo>
                  <a:cubicBezTo>
                    <a:pt x="513742" y="85006"/>
                    <a:pt x="437673" y="5189"/>
                    <a:pt x="372946" y="402"/>
                  </a:cubicBezTo>
                  <a:cubicBezTo>
                    <a:pt x="255668" y="-8443"/>
                    <a:pt x="17159" y="131419"/>
                    <a:pt x="7065" y="137350"/>
                  </a:cubicBezTo>
                  <a:cubicBezTo>
                    <a:pt x="260" y="141347"/>
                    <a:pt x="-2030" y="150109"/>
                    <a:pt x="1966" y="156914"/>
                  </a:cubicBezTo>
                  <a:cubicBezTo>
                    <a:pt x="5962" y="163720"/>
                    <a:pt x="14724" y="166010"/>
                    <a:pt x="21530" y="162014"/>
                  </a:cubicBezTo>
                  <a:cubicBezTo>
                    <a:pt x="23923" y="160557"/>
                    <a:pt x="262537" y="21007"/>
                    <a:pt x="370761" y="28916"/>
                  </a:cubicBezTo>
                  <a:cubicBezTo>
                    <a:pt x="424665" y="32974"/>
                    <a:pt x="496779" y="108733"/>
                    <a:pt x="566605" y="181994"/>
                  </a:cubicBezTo>
                  <a:cubicBezTo>
                    <a:pt x="636430" y="255255"/>
                    <a:pt x="701885" y="323625"/>
                    <a:pt x="757558" y="332470"/>
                  </a:cubicBezTo>
                  <a:cubicBezTo>
                    <a:pt x="758318" y="332574"/>
                    <a:pt x="759088" y="332574"/>
                    <a:pt x="759847" y="332470"/>
                  </a:cubicBezTo>
                  <a:cubicBezTo>
                    <a:pt x="767714" y="332782"/>
                    <a:pt x="774343" y="326653"/>
                    <a:pt x="774655" y="318786"/>
                  </a:cubicBezTo>
                  <a:cubicBezTo>
                    <a:pt x="774947" y="311335"/>
                    <a:pt x="769442" y="304914"/>
                    <a:pt x="762033" y="304061"/>
                  </a:cubicBezTo>
                  <a:cubicBezTo>
                    <a:pt x="715725" y="296984"/>
                    <a:pt x="650583" y="228510"/>
                    <a:pt x="587313" y="162222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 48">
              <a:extLst>
                <a:ext uri="{FF2B5EF4-FFF2-40B4-BE49-F238E27FC236}">
                  <a16:creationId xmlns:a16="http://schemas.microsoft.com/office/drawing/2014/main" id="{15192DB6-D33B-C44E-B7C0-74ABE6A7A198}"/>
                </a:ext>
              </a:extLst>
            </p:cNvPr>
            <p:cNvSpPr/>
            <p:nvPr/>
          </p:nvSpPr>
          <p:spPr>
            <a:xfrm>
              <a:off x="7146246" y="3851660"/>
              <a:ext cx="218476" cy="122968"/>
            </a:xfrm>
            <a:custGeom>
              <a:avLst/>
              <a:gdLst>
                <a:gd name="connsiteX0" fmla="*/ 1851 w 218476"/>
                <a:gd name="connsiteY0" fmla="*/ 101739 h 122968"/>
                <a:gd name="connsiteX1" fmla="*/ 7158 w 218476"/>
                <a:gd name="connsiteY1" fmla="*/ 121033 h 122968"/>
                <a:gd name="connsiteX2" fmla="*/ 7262 w 218476"/>
                <a:gd name="connsiteY2" fmla="*/ 121095 h 122968"/>
                <a:gd name="connsiteX3" fmla="*/ 14234 w 218476"/>
                <a:gd name="connsiteY3" fmla="*/ 122968 h 122968"/>
                <a:gd name="connsiteX4" fmla="*/ 26722 w 218476"/>
                <a:gd name="connsiteY4" fmla="*/ 115684 h 122968"/>
                <a:gd name="connsiteX5" fmla="*/ 198319 w 218476"/>
                <a:gd name="connsiteY5" fmla="*/ 37428 h 122968"/>
                <a:gd name="connsiteX6" fmla="*/ 217207 w 218476"/>
                <a:gd name="connsiteY6" fmla="*/ 30300 h 122968"/>
                <a:gd name="connsiteX7" fmla="*/ 210078 w 218476"/>
                <a:gd name="connsiteY7" fmla="*/ 11412 h 122968"/>
                <a:gd name="connsiteX8" fmla="*/ 1851 w 218476"/>
                <a:gd name="connsiteY8" fmla="*/ 101739 h 122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8476" h="122968">
                  <a:moveTo>
                    <a:pt x="1851" y="101739"/>
                  </a:moveTo>
                  <a:cubicBezTo>
                    <a:pt x="-2009" y="108535"/>
                    <a:pt x="363" y="117172"/>
                    <a:pt x="7158" y="121033"/>
                  </a:cubicBezTo>
                  <a:cubicBezTo>
                    <a:pt x="7189" y="121054"/>
                    <a:pt x="7231" y="121074"/>
                    <a:pt x="7262" y="121095"/>
                  </a:cubicBezTo>
                  <a:cubicBezTo>
                    <a:pt x="9395" y="122292"/>
                    <a:pt x="11789" y="122937"/>
                    <a:pt x="14234" y="122968"/>
                  </a:cubicBezTo>
                  <a:cubicBezTo>
                    <a:pt x="19406" y="122989"/>
                    <a:pt x="24193" y="120200"/>
                    <a:pt x="26722" y="115684"/>
                  </a:cubicBezTo>
                  <a:cubicBezTo>
                    <a:pt x="95090" y="-6487"/>
                    <a:pt x="194157" y="35555"/>
                    <a:pt x="198319" y="37428"/>
                  </a:cubicBezTo>
                  <a:cubicBezTo>
                    <a:pt x="205500" y="40675"/>
                    <a:pt x="213960" y="37480"/>
                    <a:pt x="217207" y="30300"/>
                  </a:cubicBezTo>
                  <a:cubicBezTo>
                    <a:pt x="220453" y="23119"/>
                    <a:pt x="217259" y="14659"/>
                    <a:pt x="210078" y="11412"/>
                  </a:cubicBezTo>
                  <a:cubicBezTo>
                    <a:pt x="166477" y="-8672"/>
                    <a:pt x="66994" y="-14708"/>
                    <a:pt x="1851" y="101739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 49">
              <a:extLst>
                <a:ext uri="{FF2B5EF4-FFF2-40B4-BE49-F238E27FC236}">
                  <a16:creationId xmlns:a16="http://schemas.microsoft.com/office/drawing/2014/main" id="{3915CD62-431D-E542-B1C6-DF235790F385}"/>
                </a:ext>
              </a:extLst>
            </p:cNvPr>
            <p:cNvSpPr/>
            <p:nvPr/>
          </p:nvSpPr>
          <p:spPr>
            <a:xfrm>
              <a:off x="8855429" y="3850935"/>
              <a:ext cx="167880" cy="147108"/>
            </a:xfrm>
            <a:custGeom>
              <a:avLst/>
              <a:gdLst>
                <a:gd name="connsiteX0" fmla="*/ 17490 w 167880"/>
                <a:gd name="connsiteY0" fmla="*/ 29933 h 147108"/>
                <a:gd name="connsiteX1" fmla="*/ 88356 w 167880"/>
                <a:gd name="connsiteY1" fmla="*/ 43669 h 147108"/>
                <a:gd name="connsiteX2" fmla="*/ 139554 w 167880"/>
                <a:gd name="connsiteY2" fmla="*/ 135349 h 147108"/>
                <a:gd name="connsiteX3" fmla="*/ 153603 w 167880"/>
                <a:gd name="connsiteY3" fmla="*/ 147109 h 147108"/>
                <a:gd name="connsiteX4" fmla="*/ 156204 w 167880"/>
                <a:gd name="connsiteY4" fmla="*/ 147109 h 147108"/>
                <a:gd name="connsiteX5" fmla="*/ 167651 w 167880"/>
                <a:gd name="connsiteY5" fmla="*/ 130458 h 147108"/>
                <a:gd name="connsiteX6" fmla="*/ 103757 w 167880"/>
                <a:gd name="connsiteY6" fmla="*/ 19734 h 147108"/>
                <a:gd name="connsiteX7" fmla="*/ 11038 w 167880"/>
                <a:gd name="connsiteY7" fmla="*/ 2356 h 147108"/>
                <a:gd name="connsiteX8" fmla="*/ 372 w 167880"/>
                <a:gd name="connsiteY8" fmla="*/ 19474 h 147108"/>
                <a:gd name="connsiteX9" fmla="*/ 17490 w 167880"/>
                <a:gd name="connsiteY9" fmla="*/ 30141 h 147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7880" h="147108">
                  <a:moveTo>
                    <a:pt x="17490" y="29933"/>
                  </a:moveTo>
                  <a:cubicBezTo>
                    <a:pt x="41997" y="25562"/>
                    <a:pt x="67252" y="30453"/>
                    <a:pt x="88356" y="43669"/>
                  </a:cubicBezTo>
                  <a:cubicBezTo>
                    <a:pt x="114267" y="60736"/>
                    <a:pt x="131438" y="91643"/>
                    <a:pt x="139554" y="135349"/>
                  </a:cubicBezTo>
                  <a:cubicBezTo>
                    <a:pt x="140803" y="142134"/>
                    <a:pt x="146704" y="147077"/>
                    <a:pt x="153603" y="147109"/>
                  </a:cubicBezTo>
                  <a:lnTo>
                    <a:pt x="156204" y="147109"/>
                  </a:lnTo>
                  <a:cubicBezTo>
                    <a:pt x="163936" y="145631"/>
                    <a:pt x="169046" y="138211"/>
                    <a:pt x="167651" y="130458"/>
                  </a:cubicBezTo>
                  <a:cubicBezTo>
                    <a:pt x="158077" y="78426"/>
                    <a:pt x="136433" y="41276"/>
                    <a:pt x="103757" y="19734"/>
                  </a:cubicBezTo>
                  <a:cubicBezTo>
                    <a:pt x="76191" y="2345"/>
                    <a:pt x="43027" y="-3867"/>
                    <a:pt x="11038" y="2356"/>
                  </a:cubicBezTo>
                  <a:cubicBezTo>
                    <a:pt x="3369" y="4135"/>
                    <a:pt x="-1407" y="11805"/>
                    <a:pt x="372" y="19474"/>
                  </a:cubicBezTo>
                  <a:cubicBezTo>
                    <a:pt x="2151" y="27144"/>
                    <a:pt x="9821" y="31920"/>
                    <a:pt x="17490" y="30141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 50">
              <a:extLst>
                <a:ext uri="{FF2B5EF4-FFF2-40B4-BE49-F238E27FC236}">
                  <a16:creationId xmlns:a16="http://schemas.microsoft.com/office/drawing/2014/main" id="{09714E8B-9924-DA40-88E8-4D5AEABF20B0}"/>
                </a:ext>
              </a:extLst>
            </p:cNvPr>
            <p:cNvSpPr/>
            <p:nvPr/>
          </p:nvSpPr>
          <p:spPr>
            <a:xfrm>
              <a:off x="7977190" y="3679937"/>
              <a:ext cx="284943" cy="533685"/>
            </a:xfrm>
            <a:custGeom>
              <a:avLst/>
              <a:gdLst>
                <a:gd name="connsiteX0" fmla="*/ 81030 w 284943"/>
                <a:gd name="connsiteY0" fmla="*/ 421546 h 533685"/>
                <a:gd name="connsiteX1" fmla="*/ 93777 w 284943"/>
                <a:gd name="connsiteY1" fmla="*/ 405739 h 533685"/>
                <a:gd name="connsiteX2" fmla="*/ 80301 w 284943"/>
                <a:gd name="connsiteY2" fmla="*/ 392928 h 533685"/>
                <a:gd name="connsiteX3" fmla="*/ 2463 w 284943"/>
                <a:gd name="connsiteY3" fmla="*/ 468271 h 533685"/>
                <a:gd name="connsiteX4" fmla="*/ 590 w 284943"/>
                <a:gd name="connsiteY4" fmla="*/ 480342 h 533685"/>
                <a:gd name="connsiteX5" fmla="*/ 8811 w 284943"/>
                <a:gd name="connsiteY5" fmla="*/ 489500 h 533685"/>
                <a:gd name="connsiteX6" fmla="*/ 194041 w 284943"/>
                <a:gd name="connsiteY6" fmla="*/ 533623 h 533685"/>
                <a:gd name="connsiteX7" fmla="*/ 245239 w 284943"/>
                <a:gd name="connsiteY7" fmla="*/ 524881 h 533685"/>
                <a:gd name="connsiteX8" fmla="*/ 280204 w 284943"/>
                <a:gd name="connsiteY8" fmla="*/ 488875 h 533685"/>
                <a:gd name="connsiteX9" fmla="*/ 155330 w 284943"/>
                <a:gd name="connsiteY9" fmla="*/ 10806 h 533685"/>
                <a:gd name="connsiteX10" fmla="*/ 137858 w 284943"/>
                <a:gd name="connsiteY10" fmla="*/ 452 h 533685"/>
                <a:gd name="connsiteX11" fmla="*/ 127504 w 284943"/>
                <a:gd name="connsiteY11" fmla="*/ 17924 h 533685"/>
                <a:gd name="connsiteX12" fmla="*/ 128794 w 284943"/>
                <a:gd name="connsiteY12" fmla="*/ 21212 h 533685"/>
                <a:gd name="connsiteX13" fmla="*/ 252940 w 284943"/>
                <a:gd name="connsiteY13" fmla="*/ 479093 h 533685"/>
                <a:gd name="connsiteX14" fmla="*/ 233376 w 284943"/>
                <a:gd name="connsiteY14" fmla="*/ 498762 h 533685"/>
                <a:gd name="connsiteX15" fmla="*/ 35659 w 284943"/>
                <a:gd name="connsiteY15" fmla="*/ 469728 h 533685"/>
                <a:gd name="connsiteX16" fmla="*/ 81030 w 284943"/>
                <a:gd name="connsiteY16" fmla="*/ 421546 h 53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84943" h="533685">
                  <a:moveTo>
                    <a:pt x="81030" y="421546"/>
                  </a:moveTo>
                  <a:cubicBezTo>
                    <a:pt x="88918" y="420703"/>
                    <a:pt x="94620" y="413627"/>
                    <a:pt x="93777" y="405739"/>
                  </a:cubicBezTo>
                  <a:cubicBezTo>
                    <a:pt x="93028" y="398745"/>
                    <a:pt x="87325" y="393324"/>
                    <a:pt x="80301" y="392928"/>
                  </a:cubicBezTo>
                  <a:cubicBezTo>
                    <a:pt x="58032" y="392928"/>
                    <a:pt x="25669" y="433930"/>
                    <a:pt x="2463" y="468271"/>
                  </a:cubicBezTo>
                  <a:cubicBezTo>
                    <a:pt x="59" y="471809"/>
                    <a:pt x="-627" y="476242"/>
                    <a:pt x="590" y="480342"/>
                  </a:cubicBezTo>
                  <a:cubicBezTo>
                    <a:pt x="1818" y="484473"/>
                    <a:pt x="4836" y="487835"/>
                    <a:pt x="8811" y="489500"/>
                  </a:cubicBezTo>
                  <a:cubicBezTo>
                    <a:pt x="14118" y="491685"/>
                    <a:pt x="116307" y="533727"/>
                    <a:pt x="194041" y="533623"/>
                  </a:cubicBezTo>
                  <a:cubicBezTo>
                    <a:pt x="211523" y="534164"/>
                    <a:pt x="228933" y="531198"/>
                    <a:pt x="245239" y="524881"/>
                  </a:cubicBezTo>
                  <a:cubicBezTo>
                    <a:pt x="261421" y="518294"/>
                    <a:pt x="274095" y="505245"/>
                    <a:pt x="280204" y="488875"/>
                  </a:cubicBezTo>
                  <a:cubicBezTo>
                    <a:pt x="312255" y="401878"/>
                    <a:pt x="171875" y="50558"/>
                    <a:pt x="155330" y="10806"/>
                  </a:cubicBezTo>
                  <a:cubicBezTo>
                    <a:pt x="153363" y="3126"/>
                    <a:pt x="145538" y="-1515"/>
                    <a:pt x="137858" y="452"/>
                  </a:cubicBezTo>
                  <a:cubicBezTo>
                    <a:pt x="130178" y="2418"/>
                    <a:pt x="125537" y="10244"/>
                    <a:pt x="127504" y="17924"/>
                  </a:cubicBezTo>
                  <a:cubicBezTo>
                    <a:pt x="127795" y="19069"/>
                    <a:pt x="128232" y="20172"/>
                    <a:pt x="128794" y="21212"/>
                  </a:cubicBezTo>
                  <a:cubicBezTo>
                    <a:pt x="171459" y="126421"/>
                    <a:pt x="276874" y="413741"/>
                    <a:pt x="252940" y="479093"/>
                  </a:cubicBezTo>
                  <a:cubicBezTo>
                    <a:pt x="249547" y="488157"/>
                    <a:pt x="242419" y="495317"/>
                    <a:pt x="233376" y="498762"/>
                  </a:cubicBezTo>
                  <a:cubicBezTo>
                    <a:pt x="187797" y="518638"/>
                    <a:pt x="87690" y="488875"/>
                    <a:pt x="35659" y="469728"/>
                  </a:cubicBezTo>
                  <a:cubicBezTo>
                    <a:pt x="54702" y="444752"/>
                    <a:pt x="73745" y="423940"/>
                    <a:pt x="81030" y="421546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 51">
              <a:extLst>
                <a:ext uri="{FF2B5EF4-FFF2-40B4-BE49-F238E27FC236}">
                  <a16:creationId xmlns:a16="http://schemas.microsoft.com/office/drawing/2014/main" id="{0B8E7484-9D34-3949-B1B1-0087E1830B56}"/>
                </a:ext>
              </a:extLst>
            </p:cNvPr>
            <p:cNvSpPr/>
            <p:nvPr/>
          </p:nvSpPr>
          <p:spPr>
            <a:xfrm>
              <a:off x="7558062" y="3832313"/>
              <a:ext cx="301078" cy="158341"/>
            </a:xfrm>
            <a:custGeom>
              <a:avLst/>
              <a:gdLst>
                <a:gd name="connsiteX0" fmla="*/ 273096 w 301078"/>
                <a:gd name="connsiteY0" fmla="*/ 11612 h 158341"/>
                <a:gd name="connsiteX1" fmla="*/ 143019 w 301078"/>
                <a:gd name="connsiteY1" fmla="*/ 129828 h 158341"/>
                <a:gd name="connsiteX2" fmla="*/ 28551 w 301078"/>
                <a:gd name="connsiteY2" fmla="*/ 13381 h 158341"/>
                <a:gd name="connsiteX3" fmla="*/ 13254 w 301078"/>
                <a:gd name="connsiteY3" fmla="*/ 165 h 158341"/>
                <a:gd name="connsiteX4" fmla="*/ 38 w 301078"/>
                <a:gd name="connsiteY4" fmla="*/ 15462 h 158341"/>
                <a:gd name="connsiteX5" fmla="*/ 140938 w 301078"/>
                <a:gd name="connsiteY5" fmla="*/ 158342 h 158341"/>
                <a:gd name="connsiteX6" fmla="*/ 149679 w 301078"/>
                <a:gd name="connsiteY6" fmla="*/ 158342 h 158341"/>
                <a:gd name="connsiteX7" fmla="*/ 300776 w 301078"/>
                <a:gd name="connsiteY7" fmla="*/ 17127 h 158341"/>
                <a:gd name="connsiteX8" fmla="*/ 289746 w 301078"/>
                <a:gd name="connsiteY8" fmla="*/ 269 h 158341"/>
                <a:gd name="connsiteX9" fmla="*/ 273127 w 301078"/>
                <a:gd name="connsiteY9" fmla="*/ 11424 h 158341"/>
                <a:gd name="connsiteX10" fmla="*/ 273096 w 301078"/>
                <a:gd name="connsiteY10" fmla="*/ 11612 h 158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1078" h="158341">
                  <a:moveTo>
                    <a:pt x="273096" y="11612"/>
                  </a:moveTo>
                  <a:cubicBezTo>
                    <a:pt x="254261" y="103604"/>
                    <a:pt x="193385" y="132950"/>
                    <a:pt x="143019" y="129828"/>
                  </a:cubicBezTo>
                  <a:cubicBezTo>
                    <a:pt x="80925" y="125499"/>
                    <a:pt x="31819" y="75538"/>
                    <a:pt x="28551" y="13381"/>
                  </a:cubicBezTo>
                  <a:cubicBezTo>
                    <a:pt x="27979" y="5503"/>
                    <a:pt x="21131" y="-408"/>
                    <a:pt x="13254" y="165"/>
                  </a:cubicBezTo>
                  <a:cubicBezTo>
                    <a:pt x="5377" y="737"/>
                    <a:pt x="-534" y="7585"/>
                    <a:pt x="38" y="15462"/>
                  </a:cubicBezTo>
                  <a:cubicBezTo>
                    <a:pt x="4305" y="91783"/>
                    <a:pt x="64681" y="153014"/>
                    <a:pt x="140938" y="158342"/>
                  </a:cubicBezTo>
                  <a:lnTo>
                    <a:pt x="149679" y="158342"/>
                  </a:lnTo>
                  <a:cubicBezTo>
                    <a:pt x="207953" y="158342"/>
                    <a:pt x="279340" y="121920"/>
                    <a:pt x="300776" y="17127"/>
                  </a:cubicBezTo>
                  <a:cubicBezTo>
                    <a:pt x="302379" y="9427"/>
                    <a:pt x="297446" y="1882"/>
                    <a:pt x="289746" y="269"/>
                  </a:cubicBezTo>
                  <a:cubicBezTo>
                    <a:pt x="282077" y="-1240"/>
                    <a:pt x="274636" y="3755"/>
                    <a:pt x="273127" y="11424"/>
                  </a:cubicBezTo>
                  <a:cubicBezTo>
                    <a:pt x="273117" y="11487"/>
                    <a:pt x="273106" y="11550"/>
                    <a:pt x="273096" y="11612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 52">
              <a:extLst>
                <a:ext uri="{FF2B5EF4-FFF2-40B4-BE49-F238E27FC236}">
                  <a16:creationId xmlns:a16="http://schemas.microsoft.com/office/drawing/2014/main" id="{DBA35F67-F10D-CB44-8C4A-1158D8ECEA70}"/>
                </a:ext>
              </a:extLst>
            </p:cNvPr>
            <p:cNvSpPr/>
            <p:nvPr/>
          </p:nvSpPr>
          <p:spPr>
            <a:xfrm>
              <a:off x="8395697" y="3831847"/>
              <a:ext cx="301026" cy="158807"/>
            </a:xfrm>
            <a:custGeom>
              <a:avLst/>
              <a:gdLst>
                <a:gd name="connsiteX0" fmla="*/ 273053 w 301026"/>
                <a:gd name="connsiteY0" fmla="*/ 12078 h 158807"/>
                <a:gd name="connsiteX1" fmla="*/ 142976 w 301026"/>
                <a:gd name="connsiteY1" fmla="*/ 130294 h 158807"/>
                <a:gd name="connsiteX2" fmla="*/ 28508 w 301026"/>
                <a:gd name="connsiteY2" fmla="*/ 13847 h 158807"/>
                <a:gd name="connsiteX3" fmla="*/ 13846 w 301026"/>
                <a:gd name="connsiteY3" fmla="*/ 6 h 158807"/>
                <a:gd name="connsiteX4" fmla="*/ 6 w 301026"/>
                <a:gd name="connsiteY4" fmla="*/ 14669 h 158807"/>
                <a:gd name="connsiteX5" fmla="*/ 100 w 301026"/>
                <a:gd name="connsiteY5" fmla="*/ 15928 h 158807"/>
                <a:gd name="connsiteX6" fmla="*/ 140895 w 301026"/>
                <a:gd name="connsiteY6" fmla="*/ 158808 h 158807"/>
                <a:gd name="connsiteX7" fmla="*/ 149636 w 301026"/>
                <a:gd name="connsiteY7" fmla="*/ 158808 h 158807"/>
                <a:gd name="connsiteX8" fmla="*/ 300734 w 301026"/>
                <a:gd name="connsiteY8" fmla="*/ 17593 h 158807"/>
                <a:gd name="connsiteX9" fmla="*/ 289599 w 301026"/>
                <a:gd name="connsiteY9" fmla="*/ 735 h 158807"/>
                <a:gd name="connsiteX10" fmla="*/ 272741 w 301026"/>
                <a:gd name="connsiteY10" fmla="*/ 11870 h 158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1026" h="158807">
                  <a:moveTo>
                    <a:pt x="273053" y="12078"/>
                  </a:moveTo>
                  <a:cubicBezTo>
                    <a:pt x="254218" y="104070"/>
                    <a:pt x="193446" y="133416"/>
                    <a:pt x="142976" y="130294"/>
                  </a:cubicBezTo>
                  <a:cubicBezTo>
                    <a:pt x="80904" y="125923"/>
                    <a:pt x="31818" y="75983"/>
                    <a:pt x="28508" y="13847"/>
                  </a:cubicBezTo>
                  <a:cubicBezTo>
                    <a:pt x="28279" y="5979"/>
                    <a:pt x="21713" y="-223"/>
                    <a:pt x="13846" y="6"/>
                  </a:cubicBezTo>
                  <a:cubicBezTo>
                    <a:pt x="5979" y="235"/>
                    <a:pt x="-223" y="6802"/>
                    <a:pt x="6" y="14669"/>
                  </a:cubicBezTo>
                  <a:cubicBezTo>
                    <a:pt x="17" y="15085"/>
                    <a:pt x="48" y="15512"/>
                    <a:pt x="100" y="15928"/>
                  </a:cubicBezTo>
                  <a:cubicBezTo>
                    <a:pt x="4314" y="92228"/>
                    <a:pt x="64659" y="153469"/>
                    <a:pt x="140895" y="158808"/>
                  </a:cubicBezTo>
                  <a:lnTo>
                    <a:pt x="149636" y="158808"/>
                  </a:lnTo>
                  <a:cubicBezTo>
                    <a:pt x="207911" y="158808"/>
                    <a:pt x="279297" y="122385"/>
                    <a:pt x="300734" y="17593"/>
                  </a:cubicBezTo>
                  <a:cubicBezTo>
                    <a:pt x="302316" y="9861"/>
                    <a:pt x="297331" y="2317"/>
                    <a:pt x="289599" y="735"/>
                  </a:cubicBezTo>
                  <a:cubicBezTo>
                    <a:pt x="281868" y="-847"/>
                    <a:pt x="274323" y="4138"/>
                    <a:pt x="272741" y="11870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 53">
              <a:extLst>
                <a:ext uri="{FF2B5EF4-FFF2-40B4-BE49-F238E27FC236}">
                  <a16:creationId xmlns:a16="http://schemas.microsoft.com/office/drawing/2014/main" id="{1BB5A6F1-390E-FB45-8D49-1E760C153609}"/>
                </a:ext>
              </a:extLst>
            </p:cNvPr>
            <p:cNvSpPr/>
            <p:nvPr/>
          </p:nvSpPr>
          <p:spPr>
            <a:xfrm>
              <a:off x="5642429" y="5122973"/>
              <a:ext cx="37878" cy="37879"/>
            </a:xfrm>
            <a:custGeom>
              <a:avLst/>
              <a:gdLst>
                <a:gd name="connsiteX0" fmla="*/ 18939 w 37878"/>
                <a:gd name="connsiteY0" fmla="*/ 0 h 37879"/>
                <a:gd name="connsiteX1" fmla="*/ 0 w 37878"/>
                <a:gd name="connsiteY1" fmla="*/ 18940 h 37879"/>
                <a:gd name="connsiteX2" fmla="*/ 18939 w 37878"/>
                <a:gd name="connsiteY2" fmla="*/ 37879 h 37879"/>
                <a:gd name="connsiteX3" fmla="*/ 37878 w 37878"/>
                <a:gd name="connsiteY3" fmla="*/ 18940 h 37879"/>
                <a:gd name="connsiteX4" fmla="*/ 37878 w 37878"/>
                <a:gd name="connsiteY4" fmla="*/ 18836 h 37879"/>
                <a:gd name="connsiteX5" fmla="*/ 18939 w 37878"/>
                <a:gd name="connsiteY5" fmla="*/ 0 h 37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878" h="37879">
                  <a:moveTo>
                    <a:pt x="18939" y="0"/>
                  </a:moveTo>
                  <a:cubicBezTo>
                    <a:pt x="8481" y="0"/>
                    <a:pt x="0" y="8481"/>
                    <a:pt x="0" y="18940"/>
                  </a:cubicBezTo>
                  <a:cubicBezTo>
                    <a:pt x="0" y="29398"/>
                    <a:pt x="8481" y="37879"/>
                    <a:pt x="18939" y="37879"/>
                  </a:cubicBezTo>
                  <a:cubicBezTo>
                    <a:pt x="29397" y="37879"/>
                    <a:pt x="37878" y="29398"/>
                    <a:pt x="37878" y="18940"/>
                  </a:cubicBezTo>
                  <a:cubicBezTo>
                    <a:pt x="37878" y="18908"/>
                    <a:pt x="37878" y="18867"/>
                    <a:pt x="37878" y="18836"/>
                  </a:cubicBezTo>
                  <a:cubicBezTo>
                    <a:pt x="37816" y="8419"/>
                    <a:pt x="29356" y="0"/>
                    <a:pt x="18939" y="0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eform 54">
              <a:extLst>
                <a:ext uri="{FF2B5EF4-FFF2-40B4-BE49-F238E27FC236}">
                  <a16:creationId xmlns:a16="http://schemas.microsoft.com/office/drawing/2014/main" id="{29379E6F-3AEB-CD4C-942E-946102ACF4DB}"/>
                </a:ext>
              </a:extLst>
            </p:cNvPr>
            <p:cNvSpPr/>
            <p:nvPr/>
          </p:nvSpPr>
          <p:spPr>
            <a:xfrm>
              <a:off x="7968382" y="4338892"/>
              <a:ext cx="300837" cy="75822"/>
            </a:xfrm>
            <a:custGeom>
              <a:avLst/>
              <a:gdLst>
                <a:gd name="connsiteX0" fmla="*/ 5756 w 300837"/>
                <a:gd name="connsiteY0" fmla="*/ 22958 h 75822"/>
                <a:gd name="connsiteX1" fmla="*/ 161849 w 300837"/>
                <a:gd name="connsiteY1" fmla="*/ 75823 h 75822"/>
                <a:gd name="connsiteX2" fmla="*/ 297129 w 300837"/>
                <a:gd name="connsiteY2" fmla="*/ 24623 h 75822"/>
                <a:gd name="connsiteX3" fmla="*/ 297170 w 300837"/>
                <a:gd name="connsiteY3" fmla="*/ 6818 h 75822"/>
                <a:gd name="connsiteX4" fmla="*/ 280895 w 300837"/>
                <a:gd name="connsiteY4" fmla="*/ 5475 h 75822"/>
                <a:gd name="connsiteX5" fmla="*/ 106384 w 300837"/>
                <a:gd name="connsiteY5" fmla="*/ 43459 h 75822"/>
                <a:gd name="connsiteX6" fmla="*/ 20845 w 300837"/>
                <a:gd name="connsiteY6" fmla="*/ 3082 h 75822"/>
                <a:gd name="connsiteX7" fmla="*/ 3082 w 300837"/>
                <a:gd name="connsiteY7" fmla="*/ 4341 h 75822"/>
                <a:gd name="connsiteX8" fmla="*/ 4341 w 300837"/>
                <a:gd name="connsiteY8" fmla="*/ 22105 h 75822"/>
                <a:gd name="connsiteX9" fmla="*/ 5444 w 300837"/>
                <a:gd name="connsiteY9" fmla="*/ 22958 h 75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0837" h="75822">
                  <a:moveTo>
                    <a:pt x="5756" y="22958"/>
                  </a:moveTo>
                  <a:cubicBezTo>
                    <a:pt x="6797" y="23791"/>
                    <a:pt x="75894" y="75823"/>
                    <a:pt x="161849" y="75823"/>
                  </a:cubicBezTo>
                  <a:cubicBezTo>
                    <a:pt x="211674" y="75802"/>
                    <a:pt x="259771" y="57591"/>
                    <a:pt x="297129" y="24623"/>
                  </a:cubicBezTo>
                  <a:cubicBezTo>
                    <a:pt x="302061" y="19722"/>
                    <a:pt x="302072" y="11740"/>
                    <a:pt x="297170" y="6818"/>
                  </a:cubicBezTo>
                  <a:cubicBezTo>
                    <a:pt x="292810" y="2437"/>
                    <a:pt x="285911" y="1865"/>
                    <a:pt x="280895" y="5475"/>
                  </a:cubicBezTo>
                  <a:cubicBezTo>
                    <a:pt x="233256" y="47559"/>
                    <a:pt x="167208" y="61940"/>
                    <a:pt x="106384" y="43459"/>
                  </a:cubicBezTo>
                  <a:cubicBezTo>
                    <a:pt x="75717" y="35144"/>
                    <a:pt x="46756" y="21470"/>
                    <a:pt x="20845" y="3082"/>
                  </a:cubicBezTo>
                  <a:cubicBezTo>
                    <a:pt x="15590" y="-1476"/>
                    <a:pt x="7640" y="-914"/>
                    <a:pt x="3082" y="4341"/>
                  </a:cubicBezTo>
                  <a:cubicBezTo>
                    <a:pt x="-1476" y="9596"/>
                    <a:pt x="-914" y="17547"/>
                    <a:pt x="4341" y="22105"/>
                  </a:cubicBezTo>
                  <a:cubicBezTo>
                    <a:pt x="4695" y="22407"/>
                    <a:pt x="5059" y="22698"/>
                    <a:pt x="5444" y="22958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 55">
              <a:extLst>
                <a:ext uri="{FF2B5EF4-FFF2-40B4-BE49-F238E27FC236}">
                  <a16:creationId xmlns:a16="http://schemas.microsoft.com/office/drawing/2014/main" id="{CB2D7FAB-B669-6044-8E98-672A3D322DE6}"/>
                </a:ext>
              </a:extLst>
            </p:cNvPr>
            <p:cNvSpPr/>
            <p:nvPr/>
          </p:nvSpPr>
          <p:spPr>
            <a:xfrm>
              <a:off x="7542206" y="3583994"/>
              <a:ext cx="339209" cy="139944"/>
            </a:xfrm>
            <a:custGeom>
              <a:avLst/>
              <a:gdLst>
                <a:gd name="connsiteX0" fmla="*/ 338069 w 339209"/>
                <a:gd name="connsiteY0" fmla="*/ 41813 h 139944"/>
                <a:gd name="connsiteX1" fmla="*/ 330608 w 339209"/>
                <a:gd name="connsiteY1" fmla="*/ 23237 h 139944"/>
                <a:gd name="connsiteX2" fmla="*/ 330473 w 339209"/>
                <a:gd name="connsiteY2" fmla="*/ 23185 h 139944"/>
                <a:gd name="connsiteX3" fmla="*/ 2470 w 339209"/>
                <a:gd name="connsiteY3" fmla="*/ 117571 h 139944"/>
                <a:gd name="connsiteX4" fmla="*/ 6217 w 339209"/>
                <a:gd name="connsiteY4" fmla="*/ 137447 h 139944"/>
                <a:gd name="connsiteX5" fmla="*/ 14333 w 339209"/>
                <a:gd name="connsiteY5" fmla="*/ 139945 h 139944"/>
                <a:gd name="connsiteX6" fmla="*/ 26092 w 339209"/>
                <a:gd name="connsiteY6" fmla="*/ 133701 h 139944"/>
                <a:gd name="connsiteX7" fmla="*/ 319338 w 339209"/>
                <a:gd name="connsiteY7" fmla="*/ 49513 h 139944"/>
                <a:gd name="connsiteX8" fmla="*/ 338069 w 339209"/>
                <a:gd name="connsiteY8" fmla="*/ 41813 h 139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9209" h="139944">
                  <a:moveTo>
                    <a:pt x="338069" y="41813"/>
                  </a:moveTo>
                  <a:cubicBezTo>
                    <a:pt x="341139" y="34622"/>
                    <a:pt x="337799" y="26307"/>
                    <a:pt x="330608" y="23237"/>
                  </a:cubicBezTo>
                  <a:cubicBezTo>
                    <a:pt x="330566" y="23227"/>
                    <a:pt x="330514" y="23206"/>
                    <a:pt x="330473" y="23185"/>
                  </a:cubicBezTo>
                  <a:cubicBezTo>
                    <a:pt x="127657" y="-62251"/>
                    <a:pt x="3719" y="115802"/>
                    <a:pt x="2470" y="117571"/>
                  </a:cubicBezTo>
                  <a:cubicBezTo>
                    <a:pt x="-1952" y="124106"/>
                    <a:pt x="-277" y="132973"/>
                    <a:pt x="6217" y="137447"/>
                  </a:cubicBezTo>
                  <a:cubicBezTo>
                    <a:pt x="8610" y="139071"/>
                    <a:pt x="11441" y="139934"/>
                    <a:pt x="14333" y="139945"/>
                  </a:cubicBezTo>
                  <a:cubicBezTo>
                    <a:pt x="19047" y="139934"/>
                    <a:pt x="23449" y="137593"/>
                    <a:pt x="26092" y="133701"/>
                  </a:cubicBezTo>
                  <a:cubicBezTo>
                    <a:pt x="30567" y="127041"/>
                    <a:pt x="138375" y="-26766"/>
                    <a:pt x="319338" y="49513"/>
                  </a:cubicBezTo>
                  <a:cubicBezTo>
                    <a:pt x="326633" y="52531"/>
                    <a:pt x="335010" y="49097"/>
                    <a:pt x="338069" y="41813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 56">
              <a:extLst>
                <a:ext uri="{FF2B5EF4-FFF2-40B4-BE49-F238E27FC236}">
                  <a16:creationId xmlns:a16="http://schemas.microsoft.com/office/drawing/2014/main" id="{15FBF98A-BBAB-3E40-A57C-52AE439DB687}"/>
                </a:ext>
              </a:extLst>
            </p:cNvPr>
            <p:cNvSpPr/>
            <p:nvPr/>
          </p:nvSpPr>
          <p:spPr>
            <a:xfrm>
              <a:off x="8410747" y="3590285"/>
              <a:ext cx="347462" cy="108892"/>
            </a:xfrm>
            <a:custGeom>
              <a:avLst/>
              <a:gdLst>
                <a:gd name="connsiteX0" fmla="*/ 332823 w 347462"/>
                <a:gd name="connsiteY0" fmla="*/ 108886 h 108892"/>
                <a:gd name="connsiteX1" fmla="*/ 343229 w 347462"/>
                <a:gd name="connsiteY1" fmla="*/ 104724 h 108892"/>
                <a:gd name="connsiteX2" fmla="*/ 343406 w 347462"/>
                <a:gd name="connsiteY2" fmla="*/ 84712 h 108892"/>
                <a:gd name="connsiteX3" fmla="*/ 343229 w 347462"/>
                <a:gd name="connsiteY3" fmla="*/ 84535 h 108892"/>
                <a:gd name="connsiteX4" fmla="*/ 6174 w 347462"/>
                <a:gd name="connsiteY4" fmla="*/ 42285 h 108892"/>
                <a:gd name="connsiteX5" fmla="*/ 2531 w 347462"/>
                <a:gd name="connsiteY5" fmla="*/ 62162 h 108892"/>
                <a:gd name="connsiteX6" fmla="*/ 22407 w 347462"/>
                <a:gd name="connsiteY6" fmla="*/ 65804 h 108892"/>
                <a:gd name="connsiteX7" fmla="*/ 323041 w 347462"/>
                <a:gd name="connsiteY7" fmla="*/ 104724 h 108892"/>
                <a:gd name="connsiteX8" fmla="*/ 332823 w 347462"/>
                <a:gd name="connsiteY8" fmla="*/ 108886 h 1088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7462" h="108892">
                  <a:moveTo>
                    <a:pt x="332823" y="108886"/>
                  </a:moveTo>
                  <a:cubicBezTo>
                    <a:pt x="336715" y="109001"/>
                    <a:pt x="340492" y="107492"/>
                    <a:pt x="343229" y="104724"/>
                  </a:cubicBezTo>
                  <a:cubicBezTo>
                    <a:pt x="348807" y="99250"/>
                    <a:pt x="348880" y="90280"/>
                    <a:pt x="343406" y="84712"/>
                  </a:cubicBezTo>
                  <a:cubicBezTo>
                    <a:pt x="343344" y="84650"/>
                    <a:pt x="343292" y="84598"/>
                    <a:pt x="343229" y="84535"/>
                  </a:cubicBezTo>
                  <a:cubicBezTo>
                    <a:pt x="181830" y="-75931"/>
                    <a:pt x="7943" y="41141"/>
                    <a:pt x="6174" y="42285"/>
                  </a:cubicBezTo>
                  <a:cubicBezTo>
                    <a:pt x="-320" y="46770"/>
                    <a:pt x="-1954" y="55668"/>
                    <a:pt x="2531" y="62162"/>
                  </a:cubicBezTo>
                  <a:cubicBezTo>
                    <a:pt x="7017" y="68655"/>
                    <a:pt x="15914" y="70289"/>
                    <a:pt x="22407" y="65804"/>
                  </a:cubicBezTo>
                  <a:cubicBezTo>
                    <a:pt x="28755" y="61537"/>
                    <a:pt x="178500" y="-38260"/>
                    <a:pt x="323041" y="104724"/>
                  </a:cubicBezTo>
                  <a:cubicBezTo>
                    <a:pt x="325633" y="107325"/>
                    <a:pt x="329150" y="108824"/>
                    <a:pt x="332823" y="108886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eform 57">
              <a:extLst>
                <a:ext uri="{FF2B5EF4-FFF2-40B4-BE49-F238E27FC236}">
                  <a16:creationId xmlns:a16="http://schemas.microsoft.com/office/drawing/2014/main" id="{6FDECA9B-7FE6-3440-9863-B283E19998E8}"/>
                </a:ext>
              </a:extLst>
            </p:cNvPr>
            <p:cNvSpPr/>
            <p:nvPr/>
          </p:nvSpPr>
          <p:spPr>
            <a:xfrm>
              <a:off x="5444504" y="4902462"/>
              <a:ext cx="6451" cy="2081"/>
            </a:xfrm>
            <a:custGeom>
              <a:avLst/>
              <a:gdLst>
                <a:gd name="connsiteX0" fmla="*/ 6452 w 6451"/>
                <a:gd name="connsiteY0" fmla="*/ 1041 h 2081"/>
                <a:gd name="connsiteX1" fmla="*/ 3226 w 6451"/>
                <a:gd name="connsiteY1" fmla="*/ 2081 h 2081"/>
                <a:gd name="connsiteX2" fmla="*/ 0 w 6451"/>
                <a:gd name="connsiteY2" fmla="*/ 1041 h 2081"/>
                <a:gd name="connsiteX3" fmla="*/ 3226 w 6451"/>
                <a:gd name="connsiteY3" fmla="*/ 0 h 2081"/>
                <a:gd name="connsiteX4" fmla="*/ 6452 w 6451"/>
                <a:gd name="connsiteY4" fmla="*/ 1041 h 2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51" h="2081">
                  <a:moveTo>
                    <a:pt x="6452" y="1041"/>
                  </a:moveTo>
                  <a:cubicBezTo>
                    <a:pt x="6452" y="1615"/>
                    <a:pt x="5008" y="2081"/>
                    <a:pt x="3226" y="2081"/>
                  </a:cubicBezTo>
                  <a:cubicBezTo>
                    <a:pt x="1444" y="2081"/>
                    <a:pt x="0" y="1615"/>
                    <a:pt x="0" y="1041"/>
                  </a:cubicBezTo>
                  <a:cubicBezTo>
                    <a:pt x="0" y="466"/>
                    <a:pt x="1444" y="0"/>
                    <a:pt x="3226" y="0"/>
                  </a:cubicBezTo>
                  <a:cubicBezTo>
                    <a:pt x="5008" y="0"/>
                    <a:pt x="6452" y="466"/>
                    <a:pt x="6452" y="1041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eform 58">
              <a:extLst>
                <a:ext uri="{FF2B5EF4-FFF2-40B4-BE49-F238E27FC236}">
                  <a16:creationId xmlns:a16="http://schemas.microsoft.com/office/drawing/2014/main" id="{5B745287-DF48-4D40-9FDB-BD95BE40ED2C}"/>
                </a:ext>
              </a:extLst>
            </p:cNvPr>
            <p:cNvSpPr/>
            <p:nvPr/>
          </p:nvSpPr>
          <p:spPr>
            <a:xfrm>
              <a:off x="9991801" y="4423714"/>
              <a:ext cx="37877" cy="37884"/>
            </a:xfrm>
            <a:custGeom>
              <a:avLst/>
              <a:gdLst>
                <a:gd name="connsiteX0" fmla="*/ 32351 w 37877"/>
                <a:gd name="connsiteY0" fmla="*/ 5570 h 37884"/>
                <a:gd name="connsiteX1" fmla="*/ 5566 w 37877"/>
                <a:gd name="connsiteY1" fmla="*/ 5528 h 37884"/>
                <a:gd name="connsiteX2" fmla="*/ 5524 w 37877"/>
                <a:gd name="connsiteY2" fmla="*/ 32315 h 37884"/>
                <a:gd name="connsiteX3" fmla="*/ 32310 w 37877"/>
                <a:gd name="connsiteY3" fmla="*/ 32356 h 37884"/>
                <a:gd name="connsiteX4" fmla="*/ 32351 w 37877"/>
                <a:gd name="connsiteY4" fmla="*/ 32315 h 37884"/>
                <a:gd name="connsiteX5" fmla="*/ 32351 w 37877"/>
                <a:gd name="connsiteY5" fmla="*/ 5570 h 37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877" h="37884">
                  <a:moveTo>
                    <a:pt x="32351" y="5570"/>
                  </a:moveTo>
                  <a:cubicBezTo>
                    <a:pt x="24963" y="-1839"/>
                    <a:pt x="12975" y="-1860"/>
                    <a:pt x="5566" y="5528"/>
                  </a:cubicBezTo>
                  <a:cubicBezTo>
                    <a:pt x="-1843" y="12917"/>
                    <a:pt x="-1853" y="24905"/>
                    <a:pt x="5524" y="32315"/>
                  </a:cubicBezTo>
                  <a:cubicBezTo>
                    <a:pt x="12913" y="39724"/>
                    <a:pt x="24901" y="39745"/>
                    <a:pt x="32310" y="32356"/>
                  </a:cubicBezTo>
                  <a:cubicBezTo>
                    <a:pt x="32320" y="32346"/>
                    <a:pt x="32341" y="32325"/>
                    <a:pt x="32351" y="32315"/>
                  </a:cubicBezTo>
                  <a:cubicBezTo>
                    <a:pt x="39719" y="24926"/>
                    <a:pt x="39719" y="12958"/>
                    <a:pt x="32351" y="5570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eform 59">
              <a:extLst>
                <a:ext uri="{FF2B5EF4-FFF2-40B4-BE49-F238E27FC236}">
                  <a16:creationId xmlns:a16="http://schemas.microsoft.com/office/drawing/2014/main" id="{680CC5C9-160A-6245-82F6-480D4CA994A5}"/>
                </a:ext>
              </a:extLst>
            </p:cNvPr>
            <p:cNvSpPr/>
            <p:nvPr/>
          </p:nvSpPr>
          <p:spPr>
            <a:xfrm>
              <a:off x="5738374" y="2810466"/>
              <a:ext cx="1093792" cy="729695"/>
            </a:xfrm>
            <a:custGeom>
              <a:avLst/>
              <a:gdLst>
                <a:gd name="connsiteX0" fmla="*/ 28617 w 1093792"/>
                <a:gd name="connsiteY0" fmla="*/ 158385 h 729695"/>
                <a:gd name="connsiteX1" fmla="*/ 1065279 w 1093792"/>
                <a:gd name="connsiteY1" fmla="*/ 158385 h 729695"/>
                <a:gd name="connsiteX2" fmla="*/ 1065279 w 1093792"/>
                <a:gd name="connsiteY2" fmla="*/ 713982 h 729695"/>
                <a:gd name="connsiteX3" fmla="*/ 1093792 w 1093792"/>
                <a:gd name="connsiteY3" fmla="*/ 713982 h 729695"/>
                <a:gd name="connsiteX4" fmla="*/ 1093792 w 1093792"/>
                <a:gd name="connsiteY4" fmla="*/ 100005 h 729695"/>
                <a:gd name="connsiteX5" fmla="*/ 993789 w 1093792"/>
                <a:gd name="connsiteY5" fmla="*/ 0 h 729695"/>
                <a:gd name="connsiteX6" fmla="*/ 100003 w 1093792"/>
                <a:gd name="connsiteY6" fmla="*/ 0 h 729695"/>
                <a:gd name="connsiteX7" fmla="*/ 0 w 1093792"/>
                <a:gd name="connsiteY7" fmla="*/ 100005 h 729695"/>
                <a:gd name="connsiteX8" fmla="*/ 0 w 1093792"/>
                <a:gd name="connsiteY8" fmla="*/ 729696 h 729695"/>
                <a:gd name="connsiteX9" fmla="*/ 28617 w 1093792"/>
                <a:gd name="connsiteY9" fmla="*/ 729696 h 729695"/>
                <a:gd name="connsiteX10" fmla="*/ 100003 w 1093792"/>
                <a:gd name="connsiteY10" fmla="*/ 28305 h 729695"/>
                <a:gd name="connsiteX11" fmla="*/ 993893 w 1093792"/>
                <a:gd name="connsiteY11" fmla="*/ 28305 h 729695"/>
                <a:gd name="connsiteX12" fmla="*/ 1065279 w 1093792"/>
                <a:gd name="connsiteY12" fmla="*/ 99797 h 729695"/>
                <a:gd name="connsiteX13" fmla="*/ 1065279 w 1093792"/>
                <a:gd name="connsiteY13" fmla="*/ 129872 h 729695"/>
                <a:gd name="connsiteX14" fmla="*/ 28617 w 1093792"/>
                <a:gd name="connsiteY14" fmla="*/ 129872 h 729695"/>
                <a:gd name="connsiteX15" fmla="*/ 28617 w 1093792"/>
                <a:gd name="connsiteY15" fmla="*/ 99797 h 729695"/>
                <a:gd name="connsiteX16" fmla="*/ 100003 w 1093792"/>
                <a:gd name="connsiteY16" fmla="*/ 28305 h 729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93792" h="729695">
                  <a:moveTo>
                    <a:pt x="28617" y="158385"/>
                  </a:moveTo>
                  <a:lnTo>
                    <a:pt x="1065279" y="158385"/>
                  </a:lnTo>
                  <a:lnTo>
                    <a:pt x="1065279" y="713982"/>
                  </a:lnTo>
                  <a:lnTo>
                    <a:pt x="1093792" y="713982"/>
                  </a:lnTo>
                  <a:lnTo>
                    <a:pt x="1093792" y="100005"/>
                  </a:lnTo>
                  <a:cubicBezTo>
                    <a:pt x="1093730" y="44800"/>
                    <a:pt x="1048994" y="62"/>
                    <a:pt x="993789" y="0"/>
                  </a:cubicBezTo>
                  <a:lnTo>
                    <a:pt x="100003" y="0"/>
                  </a:lnTo>
                  <a:cubicBezTo>
                    <a:pt x="44799" y="62"/>
                    <a:pt x="62" y="44800"/>
                    <a:pt x="0" y="100005"/>
                  </a:cubicBezTo>
                  <a:lnTo>
                    <a:pt x="0" y="729696"/>
                  </a:lnTo>
                  <a:lnTo>
                    <a:pt x="28617" y="729696"/>
                  </a:lnTo>
                  <a:close/>
                  <a:moveTo>
                    <a:pt x="100003" y="28305"/>
                  </a:moveTo>
                  <a:lnTo>
                    <a:pt x="993893" y="28305"/>
                  </a:lnTo>
                  <a:cubicBezTo>
                    <a:pt x="1033332" y="28368"/>
                    <a:pt x="1065279" y="60357"/>
                    <a:pt x="1065279" y="99797"/>
                  </a:cubicBezTo>
                  <a:lnTo>
                    <a:pt x="1065279" y="129872"/>
                  </a:lnTo>
                  <a:lnTo>
                    <a:pt x="28617" y="129872"/>
                  </a:lnTo>
                  <a:lnTo>
                    <a:pt x="28617" y="99797"/>
                  </a:lnTo>
                  <a:cubicBezTo>
                    <a:pt x="28617" y="60357"/>
                    <a:pt x="60564" y="28368"/>
                    <a:pt x="100003" y="28305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eform 60">
              <a:extLst>
                <a:ext uri="{FF2B5EF4-FFF2-40B4-BE49-F238E27FC236}">
                  <a16:creationId xmlns:a16="http://schemas.microsoft.com/office/drawing/2014/main" id="{04667C6E-8D68-AF4B-880D-29B286AB58BE}"/>
                </a:ext>
              </a:extLst>
            </p:cNvPr>
            <p:cNvSpPr/>
            <p:nvPr/>
          </p:nvSpPr>
          <p:spPr>
            <a:xfrm>
              <a:off x="6270441" y="2872384"/>
              <a:ext cx="24766" cy="24767"/>
            </a:xfrm>
            <a:custGeom>
              <a:avLst/>
              <a:gdLst>
                <a:gd name="connsiteX0" fmla="*/ 12383 w 24766"/>
                <a:gd name="connsiteY0" fmla="*/ 24767 h 24767"/>
                <a:gd name="connsiteX1" fmla="*/ 24767 w 24766"/>
                <a:gd name="connsiteY1" fmla="*/ 12384 h 24767"/>
                <a:gd name="connsiteX2" fmla="*/ 12383 w 24766"/>
                <a:gd name="connsiteY2" fmla="*/ 0 h 24767"/>
                <a:gd name="connsiteX3" fmla="*/ 0 w 24766"/>
                <a:gd name="connsiteY3" fmla="*/ 12384 h 24767"/>
                <a:gd name="connsiteX4" fmla="*/ 12383 w 24766"/>
                <a:gd name="connsiteY4" fmla="*/ 24767 h 24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66" h="24767">
                  <a:moveTo>
                    <a:pt x="12383" y="24767"/>
                  </a:moveTo>
                  <a:cubicBezTo>
                    <a:pt x="19220" y="24767"/>
                    <a:pt x="24767" y="19221"/>
                    <a:pt x="24767" y="12384"/>
                  </a:cubicBezTo>
                  <a:cubicBezTo>
                    <a:pt x="24767" y="5547"/>
                    <a:pt x="19220" y="0"/>
                    <a:pt x="12383" y="0"/>
                  </a:cubicBezTo>
                  <a:cubicBezTo>
                    <a:pt x="5546" y="0"/>
                    <a:pt x="0" y="5547"/>
                    <a:pt x="0" y="12384"/>
                  </a:cubicBezTo>
                  <a:cubicBezTo>
                    <a:pt x="0" y="19221"/>
                    <a:pt x="5546" y="24767"/>
                    <a:pt x="12383" y="24767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eform 61">
              <a:extLst>
                <a:ext uri="{FF2B5EF4-FFF2-40B4-BE49-F238E27FC236}">
                  <a16:creationId xmlns:a16="http://schemas.microsoft.com/office/drawing/2014/main" id="{03C92B71-F2E9-C24D-A579-B1E28FE2F8F6}"/>
                </a:ext>
              </a:extLst>
            </p:cNvPr>
            <p:cNvSpPr/>
            <p:nvPr/>
          </p:nvSpPr>
          <p:spPr>
            <a:xfrm>
              <a:off x="6664731" y="3592714"/>
              <a:ext cx="17274" cy="17275"/>
            </a:xfrm>
            <a:custGeom>
              <a:avLst/>
              <a:gdLst>
                <a:gd name="connsiteX0" fmla="*/ 8533 w 17274"/>
                <a:gd name="connsiteY0" fmla="*/ 17275 h 17275"/>
                <a:gd name="connsiteX1" fmla="*/ 17274 w 17274"/>
                <a:gd name="connsiteY1" fmla="*/ 8742 h 17275"/>
                <a:gd name="connsiteX2" fmla="*/ 8741 w 17274"/>
                <a:gd name="connsiteY2" fmla="*/ 1 h 17275"/>
                <a:gd name="connsiteX3" fmla="*/ 0 w 17274"/>
                <a:gd name="connsiteY3" fmla="*/ 8534 h 17275"/>
                <a:gd name="connsiteX4" fmla="*/ 0 w 17274"/>
                <a:gd name="connsiteY4" fmla="*/ 8638 h 17275"/>
                <a:gd name="connsiteX5" fmla="*/ 8533 w 17274"/>
                <a:gd name="connsiteY5" fmla="*/ 17275 h 17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274" h="17275">
                  <a:moveTo>
                    <a:pt x="8533" y="17275"/>
                  </a:moveTo>
                  <a:cubicBezTo>
                    <a:pt x="13299" y="17338"/>
                    <a:pt x="17212" y="13508"/>
                    <a:pt x="17274" y="8742"/>
                  </a:cubicBezTo>
                  <a:cubicBezTo>
                    <a:pt x="17326" y="3976"/>
                    <a:pt x="13507" y="63"/>
                    <a:pt x="8741" y="1"/>
                  </a:cubicBezTo>
                  <a:cubicBezTo>
                    <a:pt x="3975" y="-51"/>
                    <a:pt x="62" y="3768"/>
                    <a:pt x="0" y="8534"/>
                  </a:cubicBezTo>
                  <a:cubicBezTo>
                    <a:pt x="0" y="8565"/>
                    <a:pt x="0" y="8607"/>
                    <a:pt x="0" y="8638"/>
                  </a:cubicBezTo>
                  <a:cubicBezTo>
                    <a:pt x="0" y="13373"/>
                    <a:pt x="3809" y="17223"/>
                    <a:pt x="8533" y="17275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 62">
              <a:extLst>
                <a:ext uri="{FF2B5EF4-FFF2-40B4-BE49-F238E27FC236}">
                  <a16:creationId xmlns:a16="http://schemas.microsoft.com/office/drawing/2014/main" id="{B8EBD61E-97A6-924F-B06A-2D30A899E5B2}"/>
                </a:ext>
              </a:extLst>
            </p:cNvPr>
            <p:cNvSpPr/>
            <p:nvPr/>
          </p:nvSpPr>
          <p:spPr>
            <a:xfrm>
              <a:off x="6719883" y="3590945"/>
              <a:ext cx="20812" cy="20812"/>
            </a:xfrm>
            <a:custGeom>
              <a:avLst/>
              <a:gdLst>
                <a:gd name="connsiteX0" fmla="*/ 10406 w 20812"/>
                <a:gd name="connsiteY0" fmla="*/ 20813 h 20812"/>
                <a:gd name="connsiteX1" fmla="*/ 20812 w 20812"/>
                <a:gd name="connsiteY1" fmla="*/ 10406 h 20812"/>
                <a:gd name="connsiteX2" fmla="*/ 10406 w 20812"/>
                <a:gd name="connsiteY2" fmla="*/ 0 h 20812"/>
                <a:gd name="connsiteX3" fmla="*/ 0 w 20812"/>
                <a:gd name="connsiteY3" fmla="*/ 10406 h 20812"/>
                <a:gd name="connsiteX4" fmla="*/ 10406 w 20812"/>
                <a:gd name="connsiteY4" fmla="*/ 20813 h 20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812" h="20812">
                  <a:moveTo>
                    <a:pt x="10406" y="20813"/>
                  </a:moveTo>
                  <a:cubicBezTo>
                    <a:pt x="16150" y="20813"/>
                    <a:pt x="20812" y="16151"/>
                    <a:pt x="20812" y="10406"/>
                  </a:cubicBezTo>
                  <a:cubicBezTo>
                    <a:pt x="20812" y="4662"/>
                    <a:pt x="16150" y="0"/>
                    <a:pt x="10406" y="0"/>
                  </a:cubicBezTo>
                  <a:cubicBezTo>
                    <a:pt x="4662" y="0"/>
                    <a:pt x="0" y="4662"/>
                    <a:pt x="0" y="10406"/>
                  </a:cubicBezTo>
                  <a:cubicBezTo>
                    <a:pt x="0" y="16151"/>
                    <a:pt x="4662" y="20813"/>
                    <a:pt x="10406" y="20813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 63">
              <a:extLst>
                <a:ext uri="{FF2B5EF4-FFF2-40B4-BE49-F238E27FC236}">
                  <a16:creationId xmlns:a16="http://schemas.microsoft.com/office/drawing/2014/main" id="{BC8861F0-7712-F540-B88F-62024EB3DE6A}"/>
                </a:ext>
              </a:extLst>
            </p:cNvPr>
            <p:cNvSpPr/>
            <p:nvPr/>
          </p:nvSpPr>
          <p:spPr>
            <a:xfrm>
              <a:off x="6781904" y="3591049"/>
              <a:ext cx="17273" cy="17274"/>
            </a:xfrm>
            <a:custGeom>
              <a:avLst/>
              <a:gdLst>
                <a:gd name="connsiteX0" fmla="*/ 8637 w 17273"/>
                <a:gd name="connsiteY0" fmla="*/ 17275 h 17274"/>
                <a:gd name="connsiteX1" fmla="*/ 17274 w 17273"/>
                <a:gd name="connsiteY1" fmla="*/ 8637 h 17274"/>
                <a:gd name="connsiteX2" fmla="*/ 8637 w 17273"/>
                <a:gd name="connsiteY2" fmla="*/ 0 h 17274"/>
                <a:gd name="connsiteX3" fmla="*/ 0 w 17273"/>
                <a:gd name="connsiteY3" fmla="*/ 8637 h 17274"/>
                <a:gd name="connsiteX4" fmla="*/ 8637 w 17273"/>
                <a:gd name="connsiteY4" fmla="*/ 17275 h 17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273" h="17274">
                  <a:moveTo>
                    <a:pt x="8637" y="17275"/>
                  </a:moveTo>
                  <a:cubicBezTo>
                    <a:pt x="13403" y="17275"/>
                    <a:pt x="17274" y="13404"/>
                    <a:pt x="17274" y="8637"/>
                  </a:cubicBezTo>
                  <a:cubicBezTo>
                    <a:pt x="17274" y="3871"/>
                    <a:pt x="13403" y="0"/>
                    <a:pt x="8637" y="0"/>
                  </a:cubicBezTo>
                  <a:cubicBezTo>
                    <a:pt x="3871" y="0"/>
                    <a:pt x="0" y="3871"/>
                    <a:pt x="0" y="8637"/>
                  </a:cubicBezTo>
                  <a:cubicBezTo>
                    <a:pt x="0" y="13404"/>
                    <a:pt x="3871" y="17275"/>
                    <a:pt x="8637" y="17275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 64">
              <a:extLst>
                <a:ext uri="{FF2B5EF4-FFF2-40B4-BE49-F238E27FC236}">
                  <a16:creationId xmlns:a16="http://schemas.microsoft.com/office/drawing/2014/main" id="{46E662EA-EAD0-B142-9D09-B7B0C064BF50}"/>
                </a:ext>
              </a:extLst>
            </p:cNvPr>
            <p:cNvSpPr/>
            <p:nvPr/>
          </p:nvSpPr>
          <p:spPr>
            <a:xfrm>
              <a:off x="5606632" y="3455057"/>
              <a:ext cx="1782028" cy="1841078"/>
            </a:xfrm>
            <a:custGeom>
              <a:avLst/>
              <a:gdLst>
                <a:gd name="connsiteX0" fmla="*/ 1757081 w 1782028"/>
                <a:gd name="connsiteY0" fmla="*/ 1573114 h 1841078"/>
                <a:gd name="connsiteX1" fmla="*/ 1774564 w 1782028"/>
                <a:gd name="connsiteY1" fmla="*/ 1579296 h 1841078"/>
                <a:gd name="connsiteX2" fmla="*/ 1780745 w 1782028"/>
                <a:gd name="connsiteY2" fmla="*/ 1561803 h 1841078"/>
                <a:gd name="connsiteX3" fmla="*/ 1779767 w 1782028"/>
                <a:gd name="connsiteY3" fmla="*/ 1560106 h 1841078"/>
                <a:gd name="connsiteX4" fmla="*/ 1131879 w 1782028"/>
                <a:gd name="connsiteY4" fmla="*/ 434135 h 1841078"/>
                <a:gd name="connsiteX5" fmla="*/ 1114500 w 1782028"/>
                <a:gd name="connsiteY5" fmla="*/ 429036 h 1841078"/>
                <a:gd name="connsiteX6" fmla="*/ 1102742 w 1782028"/>
                <a:gd name="connsiteY6" fmla="*/ 435072 h 1841078"/>
                <a:gd name="connsiteX7" fmla="*/ 1057579 w 1782028"/>
                <a:gd name="connsiteY7" fmla="*/ 335274 h 1841078"/>
                <a:gd name="connsiteX8" fmla="*/ 1049982 w 1782028"/>
                <a:gd name="connsiteY8" fmla="*/ 328406 h 1841078"/>
                <a:gd name="connsiteX9" fmla="*/ 1039576 w 1782028"/>
                <a:gd name="connsiteY9" fmla="*/ 329031 h 1841078"/>
                <a:gd name="connsiteX10" fmla="*/ 1025423 w 1782028"/>
                <a:gd name="connsiteY10" fmla="*/ 336107 h 1841078"/>
                <a:gd name="connsiteX11" fmla="*/ 1024695 w 1782028"/>
                <a:gd name="connsiteY11" fmla="*/ 331424 h 1841078"/>
                <a:gd name="connsiteX12" fmla="*/ 979012 w 1782028"/>
                <a:gd name="connsiteY12" fmla="*/ 213624 h 1841078"/>
                <a:gd name="connsiteX13" fmla="*/ 1243537 w 1782028"/>
                <a:gd name="connsiteY13" fmla="*/ 213624 h 1841078"/>
                <a:gd name="connsiteX14" fmla="*/ 1343540 w 1782028"/>
                <a:gd name="connsiteY14" fmla="*/ 113618 h 1841078"/>
                <a:gd name="connsiteX15" fmla="*/ 1343540 w 1782028"/>
                <a:gd name="connsiteY15" fmla="*/ 106958 h 1841078"/>
                <a:gd name="connsiteX16" fmla="*/ 1329284 w 1782028"/>
                <a:gd name="connsiteY16" fmla="*/ 92702 h 1841078"/>
                <a:gd name="connsiteX17" fmla="*/ 932913 w 1782028"/>
                <a:gd name="connsiteY17" fmla="*/ 92702 h 1841078"/>
                <a:gd name="connsiteX18" fmla="*/ 913141 w 1782028"/>
                <a:gd name="connsiteY18" fmla="*/ 41814 h 1841078"/>
                <a:gd name="connsiteX19" fmla="*/ 903567 w 1782028"/>
                <a:gd name="connsiteY19" fmla="*/ 33697 h 1841078"/>
                <a:gd name="connsiteX20" fmla="*/ 822712 w 1782028"/>
                <a:gd name="connsiteY20" fmla="*/ 36299 h 1841078"/>
                <a:gd name="connsiteX21" fmla="*/ 816634 w 1782028"/>
                <a:gd name="connsiteY21" fmla="*/ 4049 h 1841078"/>
                <a:gd name="connsiteX22" fmla="*/ 784386 w 1782028"/>
                <a:gd name="connsiteY22" fmla="*/ 10116 h 1841078"/>
                <a:gd name="connsiteX23" fmla="*/ 790463 w 1782028"/>
                <a:gd name="connsiteY23" fmla="*/ 42376 h 1841078"/>
                <a:gd name="connsiteX24" fmla="*/ 796280 w 1782028"/>
                <a:gd name="connsiteY24" fmla="*/ 45249 h 1841078"/>
                <a:gd name="connsiteX25" fmla="*/ 757673 w 1782028"/>
                <a:gd name="connsiteY25" fmla="*/ 70016 h 1841078"/>
                <a:gd name="connsiteX26" fmla="*/ 741960 w 1782028"/>
                <a:gd name="connsiteY26" fmla="*/ 92702 h 1841078"/>
                <a:gd name="connsiteX27" fmla="*/ 14257 w 1782028"/>
                <a:gd name="connsiteY27" fmla="*/ 92702 h 1841078"/>
                <a:gd name="connsiteX28" fmla="*/ 0 w 1782028"/>
                <a:gd name="connsiteY28" fmla="*/ 106958 h 1841078"/>
                <a:gd name="connsiteX29" fmla="*/ 0 w 1782028"/>
                <a:gd name="connsiteY29" fmla="*/ 113306 h 1841078"/>
                <a:gd name="connsiteX30" fmla="*/ 100003 w 1782028"/>
                <a:gd name="connsiteY30" fmla="*/ 213312 h 1841078"/>
                <a:gd name="connsiteX31" fmla="*/ 469838 w 1782028"/>
                <a:gd name="connsiteY31" fmla="*/ 213312 h 1841078"/>
                <a:gd name="connsiteX32" fmla="*/ 469838 w 1782028"/>
                <a:gd name="connsiteY32" fmla="*/ 213312 h 1841078"/>
                <a:gd name="connsiteX33" fmla="*/ 567552 w 1782028"/>
                <a:gd name="connsiteY33" fmla="*/ 308322 h 1841078"/>
                <a:gd name="connsiteX34" fmla="*/ 569217 w 1782028"/>
                <a:gd name="connsiteY34" fmla="*/ 313005 h 1841078"/>
                <a:gd name="connsiteX35" fmla="*/ 683685 w 1782028"/>
                <a:gd name="connsiteY35" fmla="*/ 508021 h 1841078"/>
                <a:gd name="connsiteX36" fmla="*/ 667868 w 1782028"/>
                <a:gd name="connsiteY36" fmla="*/ 516033 h 1841078"/>
                <a:gd name="connsiteX37" fmla="*/ 661208 w 1782028"/>
                <a:gd name="connsiteY37" fmla="*/ 523734 h 1841078"/>
                <a:gd name="connsiteX38" fmla="*/ 662144 w 1782028"/>
                <a:gd name="connsiteY38" fmla="*/ 534140 h 1841078"/>
                <a:gd name="connsiteX39" fmla="*/ 715632 w 1782028"/>
                <a:gd name="connsiteY39" fmla="*/ 633417 h 1841078"/>
                <a:gd name="connsiteX40" fmla="*/ 708660 w 1782028"/>
                <a:gd name="connsiteY40" fmla="*/ 636956 h 1841078"/>
                <a:gd name="connsiteX41" fmla="*/ 702104 w 1782028"/>
                <a:gd name="connsiteY41" fmla="*/ 644864 h 1841078"/>
                <a:gd name="connsiteX42" fmla="*/ 703145 w 1782028"/>
                <a:gd name="connsiteY42" fmla="*/ 655271 h 1841078"/>
                <a:gd name="connsiteX43" fmla="*/ 1358733 w 1782028"/>
                <a:gd name="connsiteY43" fmla="*/ 1834731 h 1841078"/>
                <a:gd name="connsiteX44" fmla="*/ 1369972 w 1782028"/>
                <a:gd name="connsiteY44" fmla="*/ 1841079 h 1841078"/>
                <a:gd name="connsiteX45" fmla="*/ 1376840 w 1782028"/>
                <a:gd name="connsiteY45" fmla="*/ 1839102 h 1841078"/>
                <a:gd name="connsiteX46" fmla="*/ 1381210 w 1782028"/>
                <a:gd name="connsiteY46" fmla="*/ 1821098 h 1841078"/>
                <a:gd name="connsiteX47" fmla="*/ 733010 w 1782028"/>
                <a:gd name="connsiteY47" fmla="*/ 654438 h 1841078"/>
                <a:gd name="connsiteX48" fmla="*/ 1115749 w 1782028"/>
                <a:gd name="connsiteY48" fmla="*/ 458070 h 1841078"/>
                <a:gd name="connsiteX49" fmla="*/ 1315131 w 1782028"/>
                <a:gd name="connsiteY49" fmla="*/ 121527 h 1841078"/>
                <a:gd name="connsiteX50" fmla="*/ 1244161 w 1782028"/>
                <a:gd name="connsiteY50" fmla="*/ 185110 h 1841078"/>
                <a:gd name="connsiteX51" fmla="*/ 968606 w 1782028"/>
                <a:gd name="connsiteY51" fmla="*/ 185110 h 1841078"/>
                <a:gd name="connsiteX52" fmla="*/ 943943 w 1782028"/>
                <a:gd name="connsiteY52" fmla="*/ 121527 h 1841078"/>
                <a:gd name="connsiteX53" fmla="*/ 28825 w 1782028"/>
                <a:gd name="connsiteY53" fmla="*/ 121527 h 1841078"/>
                <a:gd name="connsiteX54" fmla="*/ 497103 w 1782028"/>
                <a:gd name="connsiteY54" fmla="*/ 121527 h 1841078"/>
                <a:gd name="connsiteX55" fmla="*/ 497103 w 1782028"/>
                <a:gd name="connsiteY55" fmla="*/ 159719 h 1841078"/>
                <a:gd name="connsiteX56" fmla="*/ 749660 w 1782028"/>
                <a:gd name="connsiteY56" fmla="*/ 159719 h 1841078"/>
                <a:gd name="connsiteX57" fmla="*/ 749660 w 1782028"/>
                <a:gd name="connsiteY57" fmla="*/ 150249 h 1841078"/>
                <a:gd name="connsiteX58" fmla="*/ 506884 w 1782028"/>
                <a:gd name="connsiteY58" fmla="*/ 150249 h 1841078"/>
                <a:gd name="connsiteX59" fmla="*/ 506884 w 1782028"/>
                <a:gd name="connsiteY59" fmla="*/ 121527 h 1841078"/>
                <a:gd name="connsiteX60" fmla="*/ 742168 w 1782028"/>
                <a:gd name="connsiteY60" fmla="*/ 121527 h 1841078"/>
                <a:gd name="connsiteX61" fmla="*/ 800130 w 1782028"/>
                <a:gd name="connsiteY61" fmla="*/ 185110 h 1841078"/>
                <a:gd name="connsiteX62" fmla="*/ 100003 w 1782028"/>
                <a:gd name="connsiteY62" fmla="*/ 185110 h 1841078"/>
                <a:gd name="connsiteX63" fmla="*/ 28825 w 1782028"/>
                <a:gd name="connsiteY63" fmla="*/ 121527 h 1841078"/>
                <a:gd name="connsiteX64" fmla="*/ 592943 w 1782028"/>
                <a:gd name="connsiteY64" fmla="*/ 302390 h 1841078"/>
                <a:gd name="connsiteX65" fmla="*/ 496166 w 1782028"/>
                <a:gd name="connsiteY65" fmla="*/ 213624 h 1841078"/>
                <a:gd name="connsiteX66" fmla="*/ 834574 w 1782028"/>
                <a:gd name="connsiteY66" fmla="*/ 213624 h 1841078"/>
                <a:gd name="connsiteX67" fmla="*/ 850080 w 1782028"/>
                <a:gd name="connsiteY67" fmla="*/ 231211 h 1841078"/>
                <a:gd name="connsiteX68" fmla="*/ 855699 w 1782028"/>
                <a:gd name="connsiteY68" fmla="*/ 309051 h 1841078"/>
                <a:gd name="connsiteX69" fmla="*/ 862213 w 1782028"/>
                <a:gd name="connsiteY69" fmla="*/ 326408 h 1841078"/>
                <a:gd name="connsiteX70" fmla="*/ 862255 w 1782028"/>
                <a:gd name="connsiteY70" fmla="*/ 326429 h 1841078"/>
                <a:gd name="connsiteX71" fmla="*/ 879633 w 1782028"/>
                <a:gd name="connsiteY71" fmla="*/ 319873 h 1841078"/>
                <a:gd name="connsiteX72" fmla="*/ 872453 w 1782028"/>
                <a:gd name="connsiteY72" fmla="*/ 217578 h 1841078"/>
                <a:gd name="connsiteX73" fmla="*/ 820422 w 1782028"/>
                <a:gd name="connsiteY73" fmla="*/ 168044 h 1841078"/>
                <a:gd name="connsiteX74" fmla="*/ 765270 w 1782028"/>
                <a:gd name="connsiteY74" fmla="*/ 107271 h 1841078"/>
                <a:gd name="connsiteX75" fmla="*/ 774843 w 1782028"/>
                <a:gd name="connsiteY75" fmla="*/ 89788 h 1841078"/>
                <a:gd name="connsiteX76" fmla="*/ 890976 w 1782028"/>
                <a:gd name="connsiteY76" fmla="*/ 58569 h 1841078"/>
                <a:gd name="connsiteX77" fmla="*/ 1000241 w 1782028"/>
                <a:gd name="connsiteY77" fmla="*/ 340790 h 1841078"/>
                <a:gd name="connsiteX78" fmla="*/ 1004715 w 1782028"/>
                <a:gd name="connsiteY78" fmla="*/ 346513 h 1841078"/>
                <a:gd name="connsiteX79" fmla="*/ 707099 w 1782028"/>
                <a:gd name="connsiteY79" fmla="*/ 496573 h 1841078"/>
                <a:gd name="connsiteX80" fmla="*/ 692114 w 1782028"/>
                <a:gd name="connsiteY80" fmla="*/ 533620 h 1841078"/>
                <a:gd name="connsiteX81" fmla="*/ 1039784 w 1782028"/>
                <a:gd name="connsiteY81" fmla="*/ 358377 h 1841078"/>
                <a:gd name="connsiteX82" fmla="*/ 1079848 w 1782028"/>
                <a:gd name="connsiteY82" fmla="*/ 446831 h 1841078"/>
                <a:gd name="connsiteX83" fmla="*/ 739358 w 1782028"/>
                <a:gd name="connsiteY83" fmla="*/ 621450 h 1841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1782028" h="1841078">
                  <a:moveTo>
                    <a:pt x="1757081" y="1573114"/>
                  </a:moveTo>
                  <a:cubicBezTo>
                    <a:pt x="1760203" y="1579649"/>
                    <a:pt x="1768028" y="1582417"/>
                    <a:pt x="1774564" y="1579296"/>
                  </a:cubicBezTo>
                  <a:cubicBezTo>
                    <a:pt x="1781099" y="1576174"/>
                    <a:pt x="1783866" y="1568338"/>
                    <a:pt x="1780745" y="1561803"/>
                  </a:cubicBezTo>
                  <a:cubicBezTo>
                    <a:pt x="1780464" y="1561220"/>
                    <a:pt x="1780131" y="1560647"/>
                    <a:pt x="1779767" y="1560106"/>
                  </a:cubicBezTo>
                  <a:lnTo>
                    <a:pt x="1131879" y="434135"/>
                  </a:lnTo>
                  <a:cubicBezTo>
                    <a:pt x="1128382" y="428068"/>
                    <a:pt x="1120723" y="425820"/>
                    <a:pt x="1114500" y="429036"/>
                  </a:cubicBezTo>
                  <a:lnTo>
                    <a:pt x="1102742" y="435072"/>
                  </a:lnTo>
                  <a:lnTo>
                    <a:pt x="1057579" y="335274"/>
                  </a:lnTo>
                  <a:cubicBezTo>
                    <a:pt x="1056122" y="332017"/>
                    <a:pt x="1053364" y="329530"/>
                    <a:pt x="1049982" y="328406"/>
                  </a:cubicBezTo>
                  <a:cubicBezTo>
                    <a:pt x="1046590" y="327085"/>
                    <a:pt x="1042791" y="327313"/>
                    <a:pt x="1039576" y="329031"/>
                  </a:cubicBezTo>
                  <a:lnTo>
                    <a:pt x="1025423" y="336107"/>
                  </a:lnTo>
                  <a:cubicBezTo>
                    <a:pt x="1025434" y="334515"/>
                    <a:pt x="1025195" y="332933"/>
                    <a:pt x="1024695" y="331424"/>
                  </a:cubicBezTo>
                  <a:lnTo>
                    <a:pt x="979012" y="213624"/>
                  </a:lnTo>
                  <a:lnTo>
                    <a:pt x="1243537" y="213624"/>
                  </a:lnTo>
                  <a:cubicBezTo>
                    <a:pt x="1298742" y="213561"/>
                    <a:pt x="1343488" y="168824"/>
                    <a:pt x="1343540" y="113618"/>
                  </a:cubicBezTo>
                  <a:lnTo>
                    <a:pt x="1343540" y="106958"/>
                  </a:lnTo>
                  <a:cubicBezTo>
                    <a:pt x="1343540" y="99081"/>
                    <a:pt x="1337161" y="92702"/>
                    <a:pt x="1329284" y="92702"/>
                  </a:cubicBezTo>
                  <a:lnTo>
                    <a:pt x="932913" y="92702"/>
                  </a:lnTo>
                  <a:lnTo>
                    <a:pt x="913141" y="41814"/>
                  </a:lnTo>
                  <a:cubicBezTo>
                    <a:pt x="911570" y="37631"/>
                    <a:pt x="907948" y="34561"/>
                    <a:pt x="903567" y="33697"/>
                  </a:cubicBezTo>
                  <a:cubicBezTo>
                    <a:pt x="876720" y="29098"/>
                    <a:pt x="849216" y="29982"/>
                    <a:pt x="822712" y="36299"/>
                  </a:cubicBezTo>
                  <a:cubicBezTo>
                    <a:pt x="829944" y="25716"/>
                    <a:pt x="827217" y="11272"/>
                    <a:pt x="816634" y="4049"/>
                  </a:cubicBezTo>
                  <a:cubicBezTo>
                    <a:pt x="806051" y="-3183"/>
                    <a:pt x="791618" y="-467"/>
                    <a:pt x="784386" y="10116"/>
                  </a:cubicBezTo>
                  <a:cubicBezTo>
                    <a:pt x="777153" y="20700"/>
                    <a:pt x="779880" y="35144"/>
                    <a:pt x="790463" y="42376"/>
                  </a:cubicBezTo>
                  <a:cubicBezTo>
                    <a:pt x="792253" y="43604"/>
                    <a:pt x="794219" y="44572"/>
                    <a:pt x="796280" y="45249"/>
                  </a:cubicBezTo>
                  <a:cubicBezTo>
                    <a:pt x="782148" y="51347"/>
                    <a:pt x="769109" y="59713"/>
                    <a:pt x="757673" y="70016"/>
                  </a:cubicBezTo>
                  <a:cubicBezTo>
                    <a:pt x="750607" y="76135"/>
                    <a:pt x="745206" y="83939"/>
                    <a:pt x="741960" y="92702"/>
                  </a:cubicBezTo>
                  <a:lnTo>
                    <a:pt x="14257" y="92702"/>
                  </a:lnTo>
                  <a:cubicBezTo>
                    <a:pt x="6379" y="92702"/>
                    <a:pt x="0" y="99081"/>
                    <a:pt x="0" y="106958"/>
                  </a:cubicBezTo>
                  <a:lnTo>
                    <a:pt x="0" y="113306"/>
                  </a:lnTo>
                  <a:cubicBezTo>
                    <a:pt x="62" y="168512"/>
                    <a:pt x="44799" y="213249"/>
                    <a:pt x="100003" y="213312"/>
                  </a:cubicBezTo>
                  <a:lnTo>
                    <a:pt x="469838" y="213312"/>
                  </a:lnTo>
                  <a:cubicBezTo>
                    <a:pt x="469838" y="213312"/>
                    <a:pt x="469838" y="213312"/>
                    <a:pt x="469838" y="213312"/>
                  </a:cubicBezTo>
                  <a:lnTo>
                    <a:pt x="567552" y="308322"/>
                  </a:lnTo>
                  <a:cubicBezTo>
                    <a:pt x="567844" y="309966"/>
                    <a:pt x="568406" y="311548"/>
                    <a:pt x="569217" y="313005"/>
                  </a:cubicBezTo>
                  <a:lnTo>
                    <a:pt x="683685" y="508021"/>
                  </a:lnTo>
                  <a:lnTo>
                    <a:pt x="667868" y="516033"/>
                  </a:lnTo>
                  <a:cubicBezTo>
                    <a:pt x="664684" y="517574"/>
                    <a:pt x="662269" y="520352"/>
                    <a:pt x="661208" y="523734"/>
                  </a:cubicBezTo>
                  <a:cubicBezTo>
                    <a:pt x="660094" y="527189"/>
                    <a:pt x="660427" y="530946"/>
                    <a:pt x="662144" y="534140"/>
                  </a:cubicBezTo>
                  <a:lnTo>
                    <a:pt x="715632" y="633417"/>
                  </a:lnTo>
                  <a:lnTo>
                    <a:pt x="708660" y="636956"/>
                  </a:lnTo>
                  <a:cubicBezTo>
                    <a:pt x="705486" y="638579"/>
                    <a:pt x="703113" y="641441"/>
                    <a:pt x="702104" y="644864"/>
                  </a:cubicBezTo>
                  <a:cubicBezTo>
                    <a:pt x="700939" y="648319"/>
                    <a:pt x="701324" y="652118"/>
                    <a:pt x="703145" y="655271"/>
                  </a:cubicBezTo>
                  <a:cubicBezTo>
                    <a:pt x="709180" y="666197"/>
                    <a:pt x="1305766" y="1746693"/>
                    <a:pt x="1358733" y="1834731"/>
                  </a:cubicBezTo>
                  <a:cubicBezTo>
                    <a:pt x="1361137" y="1838644"/>
                    <a:pt x="1365383" y="1841037"/>
                    <a:pt x="1369972" y="1841079"/>
                  </a:cubicBezTo>
                  <a:cubicBezTo>
                    <a:pt x="1372407" y="1841089"/>
                    <a:pt x="1374780" y="1840402"/>
                    <a:pt x="1376840" y="1839102"/>
                  </a:cubicBezTo>
                  <a:cubicBezTo>
                    <a:pt x="1383011" y="1835334"/>
                    <a:pt x="1384967" y="1827280"/>
                    <a:pt x="1381210" y="1821098"/>
                  </a:cubicBezTo>
                  <a:cubicBezTo>
                    <a:pt x="1331885" y="1738472"/>
                    <a:pt x="798881" y="772967"/>
                    <a:pt x="733010" y="654438"/>
                  </a:cubicBezTo>
                  <a:lnTo>
                    <a:pt x="1115749" y="458070"/>
                  </a:lnTo>
                  <a:close/>
                  <a:moveTo>
                    <a:pt x="1315131" y="121527"/>
                  </a:moveTo>
                  <a:cubicBezTo>
                    <a:pt x="1311104" y="157700"/>
                    <a:pt x="1280551" y="185069"/>
                    <a:pt x="1244161" y="185110"/>
                  </a:cubicBezTo>
                  <a:lnTo>
                    <a:pt x="968606" y="185110"/>
                  </a:lnTo>
                  <a:lnTo>
                    <a:pt x="943943" y="121527"/>
                  </a:lnTo>
                  <a:close/>
                  <a:moveTo>
                    <a:pt x="28825" y="121527"/>
                  </a:moveTo>
                  <a:lnTo>
                    <a:pt x="497103" y="121527"/>
                  </a:lnTo>
                  <a:lnTo>
                    <a:pt x="497103" y="159719"/>
                  </a:lnTo>
                  <a:lnTo>
                    <a:pt x="749660" y="159719"/>
                  </a:lnTo>
                  <a:lnTo>
                    <a:pt x="749660" y="150249"/>
                  </a:lnTo>
                  <a:lnTo>
                    <a:pt x="506884" y="150249"/>
                  </a:lnTo>
                  <a:lnTo>
                    <a:pt x="506884" y="121527"/>
                  </a:lnTo>
                  <a:lnTo>
                    <a:pt x="742168" y="121527"/>
                  </a:lnTo>
                  <a:cubicBezTo>
                    <a:pt x="750076" y="144525"/>
                    <a:pt x="774947" y="165130"/>
                    <a:pt x="800130" y="185110"/>
                  </a:cubicBezTo>
                  <a:lnTo>
                    <a:pt x="100003" y="185110"/>
                  </a:lnTo>
                  <a:cubicBezTo>
                    <a:pt x="63530" y="185173"/>
                    <a:pt x="32863" y="157773"/>
                    <a:pt x="28825" y="121527"/>
                  </a:cubicBezTo>
                  <a:close/>
                  <a:moveTo>
                    <a:pt x="592943" y="302390"/>
                  </a:moveTo>
                  <a:lnTo>
                    <a:pt x="496166" y="213624"/>
                  </a:lnTo>
                  <a:lnTo>
                    <a:pt x="834574" y="213624"/>
                  </a:lnTo>
                  <a:cubicBezTo>
                    <a:pt x="840506" y="218764"/>
                    <a:pt x="845720" y="224675"/>
                    <a:pt x="850080" y="231211"/>
                  </a:cubicBezTo>
                  <a:cubicBezTo>
                    <a:pt x="863691" y="254958"/>
                    <a:pt x="865751" y="283596"/>
                    <a:pt x="855699" y="309051"/>
                  </a:cubicBezTo>
                  <a:cubicBezTo>
                    <a:pt x="852702" y="315648"/>
                    <a:pt x="855626" y="323422"/>
                    <a:pt x="862213" y="326408"/>
                  </a:cubicBezTo>
                  <a:cubicBezTo>
                    <a:pt x="862224" y="326419"/>
                    <a:pt x="862244" y="326419"/>
                    <a:pt x="862255" y="326429"/>
                  </a:cubicBezTo>
                  <a:cubicBezTo>
                    <a:pt x="868863" y="329374"/>
                    <a:pt x="876615" y="326450"/>
                    <a:pt x="879633" y="319873"/>
                  </a:cubicBezTo>
                  <a:cubicBezTo>
                    <a:pt x="893172" y="286500"/>
                    <a:pt x="890529" y="248735"/>
                    <a:pt x="872453" y="217578"/>
                  </a:cubicBezTo>
                  <a:cubicBezTo>
                    <a:pt x="862047" y="200824"/>
                    <a:pt x="842067" y="184902"/>
                    <a:pt x="820422" y="168044"/>
                  </a:cubicBezTo>
                  <a:cubicBezTo>
                    <a:pt x="794823" y="147960"/>
                    <a:pt x="765998" y="125170"/>
                    <a:pt x="765270" y="107271"/>
                  </a:cubicBezTo>
                  <a:cubicBezTo>
                    <a:pt x="765270" y="105189"/>
                    <a:pt x="765270" y="98737"/>
                    <a:pt x="774843" y="89788"/>
                  </a:cubicBezTo>
                  <a:cubicBezTo>
                    <a:pt x="815011" y="53261"/>
                    <a:pt x="871517" y="56383"/>
                    <a:pt x="890976" y="58569"/>
                  </a:cubicBezTo>
                  <a:lnTo>
                    <a:pt x="1000241" y="340790"/>
                  </a:lnTo>
                  <a:cubicBezTo>
                    <a:pt x="1001188" y="343069"/>
                    <a:pt x="1002738" y="345046"/>
                    <a:pt x="1004715" y="346513"/>
                  </a:cubicBezTo>
                  <a:lnTo>
                    <a:pt x="707099" y="496573"/>
                  </a:lnTo>
                  <a:close/>
                  <a:moveTo>
                    <a:pt x="692114" y="533620"/>
                  </a:moveTo>
                  <a:lnTo>
                    <a:pt x="1039784" y="358377"/>
                  </a:lnTo>
                  <a:lnTo>
                    <a:pt x="1079848" y="446831"/>
                  </a:lnTo>
                  <a:lnTo>
                    <a:pt x="739358" y="621450"/>
                  </a:ln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 65">
              <a:extLst>
                <a:ext uri="{FF2B5EF4-FFF2-40B4-BE49-F238E27FC236}">
                  <a16:creationId xmlns:a16="http://schemas.microsoft.com/office/drawing/2014/main" id="{292B3905-A346-9B4A-9CE5-1CAD7D525C77}"/>
                </a:ext>
              </a:extLst>
            </p:cNvPr>
            <p:cNvSpPr/>
            <p:nvPr/>
          </p:nvSpPr>
          <p:spPr>
            <a:xfrm>
              <a:off x="6583111" y="3868997"/>
              <a:ext cx="37712" cy="37674"/>
            </a:xfrm>
            <a:custGeom>
              <a:avLst/>
              <a:gdLst>
                <a:gd name="connsiteX0" fmla="*/ 30525 w 37712"/>
                <a:gd name="connsiteY0" fmla="*/ 4066 h 37674"/>
                <a:gd name="connsiteX1" fmla="*/ 4062 w 37712"/>
                <a:gd name="connsiteY1" fmla="*/ 7146 h 37674"/>
                <a:gd name="connsiteX2" fmla="*/ 7142 w 37712"/>
                <a:gd name="connsiteY2" fmla="*/ 33609 h 37674"/>
                <a:gd name="connsiteX3" fmla="*/ 33543 w 37712"/>
                <a:gd name="connsiteY3" fmla="*/ 30602 h 37674"/>
                <a:gd name="connsiteX4" fmla="*/ 30765 w 37712"/>
                <a:gd name="connsiteY4" fmla="*/ 4253 h 37674"/>
                <a:gd name="connsiteX5" fmla="*/ 30525 w 37712"/>
                <a:gd name="connsiteY5" fmla="*/ 4066 h 37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712" h="37674">
                  <a:moveTo>
                    <a:pt x="30525" y="4066"/>
                  </a:moveTo>
                  <a:cubicBezTo>
                    <a:pt x="22367" y="-2386"/>
                    <a:pt x="10525" y="-1013"/>
                    <a:pt x="4062" y="7146"/>
                  </a:cubicBezTo>
                  <a:cubicBezTo>
                    <a:pt x="-2389" y="15305"/>
                    <a:pt x="-1005" y="27147"/>
                    <a:pt x="7142" y="33609"/>
                  </a:cubicBezTo>
                  <a:cubicBezTo>
                    <a:pt x="15270" y="40040"/>
                    <a:pt x="27070" y="38698"/>
                    <a:pt x="33543" y="30602"/>
                  </a:cubicBezTo>
                  <a:cubicBezTo>
                    <a:pt x="40047" y="22558"/>
                    <a:pt x="38808" y="10767"/>
                    <a:pt x="30765" y="4253"/>
                  </a:cubicBezTo>
                  <a:cubicBezTo>
                    <a:pt x="30692" y="4191"/>
                    <a:pt x="30608" y="4128"/>
                    <a:pt x="30525" y="4066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eform 66">
              <a:extLst>
                <a:ext uri="{FF2B5EF4-FFF2-40B4-BE49-F238E27FC236}">
                  <a16:creationId xmlns:a16="http://schemas.microsoft.com/office/drawing/2014/main" id="{DF10EA39-6BD8-5E4C-97F0-3E5D7C15D70F}"/>
                </a:ext>
              </a:extLst>
            </p:cNvPr>
            <p:cNvSpPr/>
            <p:nvPr/>
          </p:nvSpPr>
          <p:spPr>
            <a:xfrm>
              <a:off x="9809890" y="2366530"/>
              <a:ext cx="205000" cy="205005"/>
            </a:xfrm>
            <a:custGeom>
              <a:avLst/>
              <a:gdLst>
                <a:gd name="connsiteX0" fmla="*/ 102500 w 205000"/>
                <a:gd name="connsiteY0" fmla="*/ 205006 h 205005"/>
                <a:gd name="connsiteX1" fmla="*/ 205001 w 205000"/>
                <a:gd name="connsiteY1" fmla="*/ 102503 h 205005"/>
                <a:gd name="connsiteX2" fmla="*/ 102500 w 205000"/>
                <a:gd name="connsiteY2" fmla="*/ 0 h 205005"/>
                <a:gd name="connsiteX3" fmla="*/ 0 w 205000"/>
                <a:gd name="connsiteY3" fmla="*/ 102503 h 205005"/>
                <a:gd name="connsiteX4" fmla="*/ 102500 w 205000"/>
                <a:gd name="connsiteY4" fmla="*/ 205006 h 205005"/>
                <a:gd name="connsiteX5" fmla="*/ 102500 w 205000"/>
                <a:gd name="connsiteY5" fmla="*/ 19564 h 205005"/>
                <a:gd name="connsiteX6" fmla="*/ 185750 w 205000"/>
                <a:gd name="connsiteY6" fmla="*/ 102815 h 205005"/>
                <a:gd name="connsiteX7" fmla="*/ 102500 w 205000"/>
                <a:gd name="connsiteY7" fmla="*/ 186066 h 205005"/>
                <a:gd name="connsiteX8" fmla="*/ 19251 w 205000"/>
                <a:gd name="connsiteY8" fmla="*/ 102815 h 205005"/>
                <a:gd name="connsiteX9" fmla="*/ 102500 w 205000"/>
                <a:gd name="connsiteY9" fmla="*/ 19564 h 205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5000" h="205005">
                  <a:moveTo>
                    <a:pt x="102500" y="205006"/>
                  </a:moveTo>
                  <a:cubicBezTo>
                    <a:pt x="159110" y="205006"/>
                    <a:pt x="205001" y="159114"/>
                    <a:pt x="205001" y="102503"/>
                  </a:cubicBezTo>
                  <a:cubicBezTo>
                    <a:pt x="205001" y="45892"/>
                    <a:pt x="159110" y="0"/>
                    <a:pt x="102500" y="0"/>
                  </a:cubicBezTo>
                  <a:cubicBezTo>
                    <a:pt x="45891" y="0"/>
                    <a:pt x="0" y="45892"/>
                    <a:pt x="0" y="102503"/>
                  </a:cubicBezTo>
                  <a:cubicBezTo>
                    <a:pt x="62" y="159093"/>
                    <a:pt x="45912" y="204943"/>
                    <a:pt x="102500" y="205006"/>
                  </a:cubicBezTo>
                  <a:close/>
                  <a:moveTo>
                    <a:pt x="102500" y="19564"/>
                  </a:moveTo>
                  <a:cubicBezTo>
                    <a:pt x="148475" y="19564"/>
                    <a:pt x="185750" y="56840"/>
                    <a:pt x="185750" y="102815"/>
                  </a:cubicBezTo>
                  <a:cubicBezTo>
                    <a:pt x="185750" y="148791"/>
                    <a:pt x="148475" y="186066"/>
                    <a:pt x="102500" y="186066"/>
                  </a:cubicBezTo>
                  <a:cubicBezTo>
                    <a:pt x="56526" y="186066"/>
                    <a:pt x="19251" y="148791"/>
                    <a:pt x="19251" y="102815"/>
                  </a:cubicBezTo>
                  <a:cubicBezTo>
                    <a:pt x="19251" y="56840"/>
                    <a:pt x="56526" y="19564"/>
                    <a:pt x="102500" y="19564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eform 67">
              <a:extLst>
                <a:ext uri="{FF2B5EF4-FFF2-40B4-BE49-F238E27FC236}">
                  <a16:creationId xmlns:a16="http://schemas.microsoft.com/office/drawing/2014/main" id="{CACE8A32-349E-A74B-80AA-68C63C197822}"/>
                </a:ext>
              </a:extLst>
            </p:cNvPr>
            <p:cNvSpPr/>
            <p:nvPr/>
          </p:nvSpPr>
          <p:spPr>
            <a:xfrm>
              <a:off x="9697920" y="2110012"/>
              <a:ext cx="596377" cy="574120"/>
            </a:xfrm>
            <a:custGeom>
              <a:avLst/>
              <a:gdLst>
                <a:gd name="connsiteX0" fmla="*/ 110409 w 596377"/>
                <a:gd name="connsiteY0" fmla="*/ 187107 h 574120"/>
                <a:gd name="connsiteX1" fmla="*/ 83145 w 596377"/>
                <a:gd name="connsiteY1" fmla="*/ 187107 h 574120"/>
                <a:gd name="connsiteX2" fmla="*/ 42145 w 596377"/>
                <a:gd name="connsiteY2" fmla="*/ 228733 h 574120"/>
                <a:gd name="connsiteX3" fmla="*/ 42145 w 596377"/>
                <a:gd name="connsiteY3" fmla="*/ 255893 h 574120"/>
                <a:gd name="connsiteX4" fmla="*/ 60772 w 596377"/>
                <a:gd name="connsiteY4" fmla="*/ 274521 h 574120"/>
                <a:gd name="connsiteX5" fmla="*/ 45579 w 596377"/>
                <a:gd name="connsiteY5" fmla="*/ 311255 h 574120"/>
                <a:gd name="connsiteX6" fmla="*/ 19251 w 596377"/>
                <a:gd name="connsiteY6" fmla="*/ 311255 h 574120"/>
                <a:gd name="connsiteX7" fmla="*/ 8012 w 596377"/>
                <a:gd name="connsiteY7" fmla="*/ 314898 h 574120"/>
                <a:gd name="connsiteX8" fmla="*/ 4995 w 596377"/>
                <a:gd name="connsiteY8" fmla="*/ 318540 h 574120"/>
                <a:gd name="connsiteX9" fmla="*/ 1873 w 596377"/>
                <a:gd name="connsiteY9" fmla="*/ 322182 h 574120"/>
                <a:gd name="connsiteX10" fmla="*/ 0 w 596377"/>
                <a:gd name="connsiteY10" fmla="*/ 330507 h 574120"/>
                <a:gd name="connsiteX11" fmla="*/ 0 w 596377"/>
                <a:gd name="connsiteY11" fmla="*/ 388575 h 574120"/>
                <a:gd name="connsiteX12" fmla="*/ 19251 w 596377"/>
                <a:gd name="connsiteY12" fmla="*/ 407827 h 574120"/>
                <a:gd name="connsiteX13" fmla="*/ 45579 w 596377"/>
                <a:gd name="connsiteY13" fmla="*/ 407827 h 574120"/>
                <a:gd name="connsiteX14" fmla="*/ 60772 w 596377"/>
                <a:gd name="connsiteY14" fmla="*/ 444561 h 574120"/>
                <a:gd name="connsiteX15" fmla="*/ 42145 w 596377"/>
                <a:gd name="connsiteY15" fmla="*/ 463189 h 574120"/>
                <a:gd name="connsiteX16" fmla="*/ 42145 w 596377"/>
                <a:gd name="connsiteY16" fmla="*/ 490349 h 574120"/>
                <a:gd name="connsiteX17" fmla="*/ 83249 w 596377"/>
                <a:gd name="connsiteY17" fmla="*/ 531975 h 574120"/>
                <a:gd name="connsiteX18" fmla="*/ 110409 w 596377"/>
                <a:gd name="connsiteY18" fmla="*/ 531975 h 574120"/>
                <a:gd name="connsiteX19" fmla="*/ 129036 w 596377"/>
                <a:gd name="connsiteY19" fmla="*/ 513347 h 574120"/>
                <a:gd name="connsiteX20" fmla="*/ 165770 w 596377"/>
                <a:gd name="connsiteY20" fmla="*/ 528541 h 574120"/>
                <a:gd name="connsiteX21" fmla="*/ 165770 w 596377"/>
                <a:gd name="connsiteY21" fmla="*/ 554869 h 574120"/>
                <a:gd name="connsiteX22" fmla="*/ 185021 w 596377"/>
                <a:gd name="connsiteY22" fmla="*/ 574121 h 574120"/>
                <a:gd name="connsiteX23" fmla="*/ 243088 w 596377"/>
                <a:gd name="connsiteY23" fmla="*/ 574121 h 574120"/>
                <a:gd name="connsiteX24" fmla="*/ 262236 w 596377"/>
                <a:gd name="connsiteY24" fmla="*/ 554973 h 574120"/>
                <a:gd name="connsiteX25" fmla="*/ 262236 w 596377"/>
                <a:gd name="connsiteY25" fmla="*/ 554869 h 574120"/>
                <a:gd name="connsiteX26" fmla="*/ 262236 w 596377"/>
                <a:gd name="connsiteY26" fmla="*/ 528541 h 574120"/>
                <a:gd name="connsiteX27" fmla="*/ 299073 w 596377"/>
                <a:gd name="connsiteY27" fmla="*/ 513347 h 574120"/>
                <a:gd name="connsiteX28" fmla="*/ 317700 w 596377"/>
                <a:gd name="connsiteY28" fmla="*/ 531975 h 574120"/>
                <a:gd name="connsiteX29" fmla="*/ 344861 w 596377"/>
                <a:gd name="connsiteY29" fmla="*/ 531975 h 574120"/>
                <a:gd name="connsiteX30" fmla="*/ 386485 w 596377"/>
                <a:gd name="connsiteY30" fmla="*/ 490349 h 574120"/>
                <a:gd name="connsiteX31" fmla="*/ 386485 w 596377"/>
                <a:gd name="connsiteY31" fmla="*/ 463293 h 574120"/>
                <a:gd name="connsiteX32" fmla="*/ 367962 w 596377"/>
                <a:gd name="connsiteY32" fmla="*/ 444665 h 574120"/>
                <a:gd name="connsiteX33" fmla="*/ 383155 w 596377"/>
                <a:gd name="connsiteY33" fmla="*/ 407931 h 574120"/>
                <a:gd name="connsiteX34" fmla="*/ 409482 w 596377"/>
                <a:gd name="connsiteY34" fmla="*/ 407931 h 574120"/>
                <a:gd name="connsiteX35" fmla="*/ 428630 w 596377"/>
                <a:gd name="connsiteY35" fmla="*/ 388783 h 574120"/>
                <a:gd name="connsiteX36" fmla="*/ 428630 w 596377"/>
                <a:gd name="connsiteY36" fmla="*/ 388679 h 574120"/>
                <a:gd name="connsiteX37" fmla="*/ 428630 w 596377"/>
                <a:gd name="connsiteY37" fmla="*/ 330611 h 574120"/>
                <a:gd name="connsiteX38" fmla="*/ 409587 w 596377"/>
                <a:gd name="connsiteY38" fmla="*/ 311359 h 574120"/>
                <a:gd name="connsiteX39" fmla="*/ 409482 w 596377"/>
                <a:gd name="connsiteY39" fmla="*/ 311359 h 574120"/>
                <a:gd name="connsiteX40" fmla="*/ 383155 w 596377"/>
                <a:gd name="connsiteY40" fmla="*/ 311359 h 574120"/>
                <a:gd name="connsiteX41" fmla="*/ 367962 w 596377"/>
                <a:gd name="connsiteY41" fmla="*/ 274625 h 574120"/>
                <a:gd name="connsiteX42" fmla="*/ 386485 w 596377"/>
                <a:gd name="connsiteY42" fmla="*/ 255998 h 574120"/>
                <a:gd name="connsiteX43" fmla="*/ 386485 w 596377"/>
                <a:gd name="connsiteY43" fmla="*/ 228837 h 574120"/>
                <a:gd name="connsiteX44" fmla="*/ 345485 w 596377"/>
                <a:gd name="connsiteY44" fmla="*/ 187211 h 574120"/>
                <a:gd name="connsiteX45" fmla="*/ 318324 w 596377"/>
                <a:gd name="connsiteY45" fmla="*/ 187211 h 574120"/>
                <a:gd name="connsiteX46" fmla="*/ 299698 w 596377"/>
                <a:gd name="connsiteY46" fmla="*/ 205839 h 574120"/>
                <a:gd name="connsiteX47" fmla="*/ 262860 w 596377"/>
                <a:gd name="connsiteY47" fmla="*/ 190645 h 574120"/>
                <a:gd name="connsiteX48" fmla="*/ 262860 w 596377"/>
                <a:gd name="connsiteY48" fmla="*/ 164317 h 574120"/>
                <a:gd name="connsiteX49" fmla="*/ 260050 w 596377"/>
                <a:gd name="connsiteY49" fmla="*/ 153911 h 574120"/>
                <a:gd name="connsiteX50" fmla="*/ 277948 w 596377"/>
                <a:gd name="connsiteY50" fmla="*/ 158698 h 574120"/>
                <a:gd name="connsiteX51" fmla="*/ 288875 w 596377"/>
                <a:gd name="connsiteY51" fmla="*/ 154743 h 574120"/>
                <a:gd name="connsiteX52" fmla="*/ 442199 w 596377"/>
                <a:gd name="connsiteY52" fmla="*/ 120850 h 574120"/>
                <a:gd name="connsiteX53" fmla="*/ 476092 w 596377"/>
                <a:gd name="connsiteY53" fmla="*/ 274167 h 574120"/>
                <a:gd name="connsiteX54" fmla="*/ 433001 w 596377"/>
                <a:gd name="connsiteY54" fmla="*/ 313337 h 574120"/>
                <a:gd name="connsiteX55" fmla="*/ 428110 w 596377"/>
                <a:gd name="connsiteY55" fmla="*/ 323743 h 574120"/>
                <a:gd name="connsiteX56" fmla="*/ 433625 w 596377"/>
                <a:gd name="connsiteY56" fmla="*/ 368803 h 574120"/>
                <a:gd name="connsiteX57" fmla="*/ 437788 w 596377"/>
                <a:gd name="connsiteY57" fmla="*/ 376503 h 574120"/>
                <a:gd name="connsiteX58" fmla="*/ 446633 w 596377"/>
                <a:gd name="connsiteY58" fmla="*/ 377440 h 574120"/>
                <a:gd name="connsiteX59" fmla="*/ 467445 w 596377"/>
                <a:gd name="connsiteY59" fmla="*/ 367762 h 574120"/>
                <a:gd name="connsiteX60" fmla="*/ 485968 w 596377"/>
                <a:gd name="connsiteY60" fmla="*/ 386390 h 574120"/>
                <a:gd name="connsiteX61" fmla="*/ 513232 w 596377"/>
                <a:gd name="connsiteY61" fmla="*/ 386390 h 574120"/>
                <a:gd name="connsiteX62" fmla="*/ 554233 w 596377"/>
                <a:gd name="connsiteY62" fmla="*/ 344764 h 574120"/>
                <a:gd name="connsiteX63" fmla="*/ 554607 w 596377"/>
                <a:gd name="connsiteY63" fmla="*/ 317978 h 574120"/>
                <a:gd name="connsiteX64" fmla="*/ 554233 w 596377"/>
                <a:gd name="connsiteY64" fmla="*/ 317603 h 574120"/>
                <a:gd name="connsiteX65" fmla="*/ 535709 w 596377"/>
                <a:gd name="connsiteY65" fmla="*/ 298976 h 574120"/>
                <a:gd name="connsiteX66" fmla="*/ 550903 w 596377"/>
                <a:gd name="connsiteY66" fmla="*/ 262241 h 574120"/>
                <a:gd name="connsiteX67" fmla="*/ 577230 w 596377"/>
                <a:gd name="connsiteY67" fmla="*/ 262241 h 574120"/>
                <a:gd name="connsiteX68" fmla="*/ 596377 w 596377"/>
                <a:gd name="connsiteY68" fmla="*/ 243094 h 574120"/>
                <a:gd name="connsiteX69" fmla="*/ 596377 w 596377"/>
                <a:gd name="connsiteY69" fmla="*/ 242990 h 574120"/>
                <a:gd name="connsiteX70" fmla="*/ 596377 w 596377"/>
                <a:gd name="connsiteY70" fmla="*/ 185546 h 574120"/>
                <a:gd name="connsiteX71" fmla="*/ 577334 w 596377"/>
                <a:gd name="connsiteY71" fmla="*/ 166294 h 574120"/>
                <a:gd name="connsiteX72" fmla="*/ 577230 w 596377"/>
                <a:gd name="connsiteY72" fmla="*/ 166294 h 574120"/>
                <a:gd name="connsiteX73" fmla="*/ 550903 w 596377"/>
                <a:gd name="connsiteY73" fmla="*/ 166294 h 574120"/>
                <a:gd name="connsiteX74" fmla="*/ 535709 w 596377"/>
                <a:gd name="connsiteY74" fmla="*/ 129560 h 574120"/>
                <a:gd name="connsiteX75" fmla="*/ 554233 w 596377"/>
                <a:gd name="connsiteY75" fmla="*/ 110932 h 574120"/>
                <a:gd name="connsiteX76" fmla="*/ 559956 w 596377"/>
                <a:gd name="connsiteY76" fmla="*/ 97300 h 574120"/>
                <a:gd name="connsiteX77" fmla="*/ 554233 w 596377"/>
                <a:gd name="connsiteY77" fmla="*/ 83772 h 574120"/>
                <a:gd name="connsiteX78" fmla="*/ 512608 w 596377"/>
                <a:gd name="connsiteY78" fmla="*/ 42146 h 574120"/>
                <a:gd name="connsiteX79" fmla="*/ 485447 w 596377"/>
                <a:gd name="connsiteY79" fmla="*/ 42146 h 574120"/>
                <a:gd name="connsiteX80" fmla="*/ 466925 w 596377"/>
                <a:gd name="connsiteY80" fmla="*/ 60670 h 574120"/>
                <a:gd name="connsiteX81" fmla="*/ 430191 w 596377"/>
                <a:gd name="connsiteY81" fmla="*/ 45476 h 574120"/>
                <a:gd name="connsiteX82" fmla="*/ 430191 w 596377"/>
                <a:gd name="connsiteY82" fmla="*/ 19148 h 574120"/>
                <a:gd name="connsiteX83" fmla="*/ 411044 w 596377"/>
                <a:gd name="connsiteY83" fmla="*/ 0 h 574120"/>
                <a:gd name="connsiteX84" fmla="*/ 410940 w 596377"/>
                <a:gd name="connsiteY84" fmla="*/ 0 h 574120"/>
                <a:gd name="connsiteX85" fmla="*/ 352873 w 596377"/>
                <a:gd name="connsiteY85" fmla="*/ 0 h 574120"/>
                <a:gd name="connsiteX86" fmla="*/ 333622 w 596377"/>
                <a:gd name="connsiteY86" fmla="*/ 19044 h 574120"/>
                <a:gd name="connsiteX87" fmla="*/ 333622 w 596377"/>
                <a:gd name="connsiteY87" fmla="*/ 19148 h 574120"/>
                <a:gd name="connsiteX88" fmla="*/ 333622 w 596377"/>
                <a:gd name="connsiteY88" fmla="*/ 45476 h 574120"/>
                <a:gd name="connsiteX89" fmla="*/ 296888 w 596377"/>
                <a:gd name="connsiteY89" fmla="*/ 60670 h 574120"/>
                <a:gd name="connsiteX90" fmla="*/ 278261 w 596377"/>
                <a:gd name="connsiteY90" fmla="*/ 42146 h 574120"/>
                <a:gd name="connsiteX91" fmla="*/ 251101 w 596377"/>
                <a:gd name="connsiteY91" fmla="*/ 42146 h 574120"/>
                <a:gd name="connsiteX92" fmla="*/ 209996 w 596377"/>
                <a:gd name="connsiteY92" fmla="*/ 83772 h 574120"/>
                <a:gd name="connsiteX93" fmla="*/ 209871 w 596377"/>
                <a:gd name="connsiteY93" fmla="*/ 110703 h 574120"/>
                <a:gd name="connsiteX94" fmla="*/ 209996 w 596377"/>
                <a:gd name="connsiteY94" fmla="*/ 110828 h 574120"/>
                <a:gd name="connsiteX95" fmla="*/ 228623 w 596377"/>
                <a:gd name="connsiteY95" fmla="*/ 129456 h 574120"/>
                <a:gd name="connsiteX96" fmla="*/ 225397 w 596377"/>
                <a:gd name="connsiteY96" fmla="*/ 135596 h 574120"/>
                <a:gd name="connsiteX97" fmla="*/ 225397 w 596377"/>
                <a:gd name="connsiteY97" fmla="*/ 144337 h 574120"/>
                <a:gd name="connsiteX98" fmla="*/ 225397 w 596377"/>
                <a:gd name="connsiteY98" fmla="*/ 144857 h 574120"/>
                <a:gd name="connsiteX99" fmla="*/ 184293 w 596377"/>
                <a:gd name="connsiteY99" fmla="*/ 144857 h 574120"/>
                <a:gd name="connsiteX100" fmla="*/ 165042 w 596377"/>
                <a:gd name="connsiteY100" fmla="*/ 164109 h 574120"/>
                <a:gd name="connsiteX101" fmla="*/ 165042 w 596377"/>
                <a:gd name="connsiteY101" fmla="*/ 190437 h 574120"/>
                <a:gd name="connsiteX102" fmla="*/ 128308 w 596377"/>
                <a:gd name="connsiteY102" fmla="*/ 205630 h 574120"/>
                <a:gd name="connsiteX103" fmla="*/ 223524 w 596377"/>
                <a:gd name="connsiteY103" fmla="*/ 97300 h 574120"/>
                <a:gd name="connsiteX104" fmla="*/ 265149 w 596377"/>
                <a:gd name="connsiteY104" fmla="*/ 56195 h 574120"/>
                <a:gd name="connsiteX105" fmla="*/ 288979 w 596377"/>
                <a:gd name="connsiteY105" fmla="*/ 80025 h 574120"/>
                <a:gd name="connsiteX106" fmla="*/ 300738 w 596377"/>
                <a:gd name="connsiteY106" fmla="*/ 81378 h 574120"/>
                <a:gd name="connsiteX107" fmla="*/ 345797 w 596377"/>
                <a:gd name="connsiteY107" fmla="*/ 62751 h 574120"/>
                <a:gd name="connsiteX108" fmla="*/ 353081 w 596377"/>
                <a:gd name="connsiteY108" fmla="*/ 53489 h 574120"/>
                <a:gd name="connsiteX109" fmla="*/ 353081 w 596377"/>
                <a:gd name="connsiteY109" fmla="*/ 19668 h 574120"/>
                <a:gd name="connsiteX110" fmla="*/ 411356 w 596377"/>
                <a:gd name="connsiteY110" fmla="*/ 19668 h 574120"/>
                <a:gd name="connsiteX111" fmla="*/ 411356 w 596377"/>
                <a:gd name="connsiteY111" fmla="*/ 53385 h 574120"/>
                <a:gd name="connsiteX112" fmla="*/ 418640 w 596377"/>
                <a:gd name="connsiteY112" fmla="*/ 62647 h 574120"/>
                <a:gd name="connsiteX113" fmla="*/ 463699 w 596377"/>
                <a:gd name="connsiteY113" fmla="*/ 81274 h 574120"/>
                <a:gd name="connsiteX114" fmla="*/ 475458 w 596377"/>
                <a:gd name="connsiteY114" fmla="*/ 79817 h 574120"/>
                <a:gd name="connsiteX115" fmla="*/ 499392 w 596377"/>
                <a:gd name="connsiteY115" fmla="*/ 56091 h 574120"/>
                <a:gd name="connsiteX116" fmla="*/ 541017 w 596377"/>
                <a:gd name="connsiteY116" fmla="*/ 97716 h 574120"/>
                <a:gd name="connsiteX117" fmla="*/ 517290 w 596377"/>
                <a:gd name="connsiteY117" fmla="*/ 121443 h 574120"/>
                <a:gd name="connsiteX118" fmla="*/ 515834 w 596377"/>
                <a:gd name="connsiteY118" fmla="*/ 133202 h 574120"/>
                <a:gd name="connsiteX119" fmla="*/ 534565 w 596377"/>
                <a:gd name="connsiteY119" fmla="*/ 178262 h 574120"/>
                <a:gd name="connsiteX120" fmla="*/ 543826 w 596377"/>
                <a:gd name="connsiteY120" fmla="*/ 185546 h 574120"/>
                <a:gd name="connsiteX121" fmla="*/ 577438 w 596377"/>
                <a:gd name="connsiteY121" fmla="*/ 185546 h 574120"/>
                <a:gd name="connsiteX122" fmla="*/ 577438 w 596377"/>
                <a:gd name="connsiteY122" fmla="*/ 185546 h 574120"/>
                <a:gd name="connsiteX123" fmla="*/ 577438 w 596377"/>
                <a:gd name="connsiteY123" fmla="*/ 243822 h 574120"/>
                <a:gd name="connsiteX124" fmla="*/ 543826 w 596377"/>
                <a:gd name="connsiteY124" fmla="*/ 243822 h 574120"/>
                <a:gd name="connsiteX125" fmla="*/ 534565 w 596377"/>
                <a:gd name="connsiteY125" fmla="*/ 251107 h 574120"/>
                <a:gd name="connsiteX126" fmla="*/ 515834 w 596377"/>
                <a:gd name="connsiteY126" fmla="*/ 296270 h 574120"/>
                <a:gd name="connsiteX127" fmla="*/ 517290 w 596377"/>
                <a:gd name="connsiteY127" fmla="*/ 307925 h 574120"/>
                <a:gd name="connsiteX128" fmla="*/ 541017 w 596377"/>
                <a:gd name="connsiteY128" fmla="*/ 331860 h 574120"/>
                <a:gd name="connsiteX129" fmla="*/ 499392 w 596377"/>
                <a:gd name="connsiteY129" fmla="*/ 372965 h 574120"/>
                <a:gd name="connsiteX130" fmla="*/ 475562 w 596377"/>
                <a:gd name="connsiteY130" fmla="*/ 348926 h 574120"/>
                <a:gd name="connsiteX131" fmla="*/ 468798 w 596377"/>
                <a:gd name="connsiteY131" fmla="*/ 346117 h 574120"/>
                <a:gd name="connsiteX132" fmla="*/ 463803 w 596377"/>
                <a:gd name="connsiteY132" fmla="*/ 347470 h 574120"/>
                <a:gd name="connsiteX133" fmla="*/ 451940 w 596377"/>
                <a:gd name="connsiteY133" fmla="*/ 354026 h 574120"/>
                <a:gd name="connsiteX134" fmla="*/ 448194 w 596377"/>
                <a:gd name="connsiteY134" fmla="*/ 326449 h 574120"/>
                <a:gd name="connsiteX135" fmla="*/ 495739 w 596377"/>
                <a:gd name="connsiteY135" fmla="*/ 148739 h 574120"/>
                <a:gd name="connsiteX136" fmla="*/ 318033 w 596377"/>
                <a:gd name="connsiteY136" fmla="*/ 101192 h 574120"/>
                <a:gd name="connsiteX137" fmla="*/ 276908 w 596377"/>
                <a:gd name="connsiteY137" fmla="*/ 138717 h 574120"/>
                <a:gd name="connsiteX138" fmla="*/ 249644 w 596377"/>
                <a:gd name="connsiteY138" fmla="*/ 132474 h 574120"/>
                <a:gd name="connsiteX139" fmla="*/ 247979 w 596377"/>
                <a:gd name="connsiteY139" fmla="*/ 121235 h 574120"/>
                <a:gd name="connsiteX140" fmla="*/ 177529 w 596377"/>
                <a:gd name="connsiteY140" fmla="*/ 207087 h 574120"/>
                <a:gd name="connsiteX141" fmla="*/ 184814 w 596377"/>
                <a:gd name="connsiteY141" fmla="*/ 197826 h 574120"/>
                <a:gd name="connsiteX142" fmla="*/ 184814 w 596377"/>
                <a:gd name="connsiteY142" fmla="*/ 164005 h 574120"/>
                <a:gd name="connsiteX143" fmla="*/ 242984 w 596377"/>
                <a:gd name="connsiteY143" fmla="*/ 164005 h 574120"/>
                <a:gd name="connsiteX144" fmla="*/ 242984 w 596377"/>
                <a:gd name="connsiteY144" fmla="*/ 197618 h 574120"/>
                <a:gd name="connsiteX145" fmla="*/ 250268 w 596377"/>
                <a:gd name="connsiteY145" fmla="*/ 206879 h 574120"/>
                <a:gd name="connsiteX146" fmla="*/ 295431 w 596377"/>
                <a:gd name="connsiteY146" fmla="*/ 225611 h 574120"/>
                <a:gd name="connsiteX147" fmla="*/ 308127 w 596377"/>
                <a:gd name="connsiteY147" fmla="*/ 224050 h 574120"/>
                <a:gd name="connsiteX148" fmla="*/ 332061 w 596377"/>
                <a:gd name="connsiteY148" fmla="*/ 200323 h 574120"/>
                <a:gd name="connsiteX149" fmla="*/ 373685 w 596377"/>
                <a:gd name="connsiteY149" fmla="*/ 241949 h 574120"/>
                <a:gd name="connsiteX150" fmla="*/ 348814 w 596377"/>
                <a:gd name="connsiteY150" fmla="*/ 265675 h 574120"/>
                <a:gd name="connsiteX151" fmla="*/ 347462 w 596377"/>
                <a:gd name="connsiteY151" fmla="*/ 277435 h 574120"/>
                <a:gd name="connsiteX152" fmla="*/ 366193 w 596377"/>
                <a:gd name="connsiteY152" fmla="*/ 322494 h 574120"/>
                <a:gd name="connsiteX153" fmla="*/ 375454 w 596377"/>
                <a:gd name="connsiteY153" fmla="*/ 329779 h 574120"/>
                <a:gd name="connsiteX154" fmla="*/ 409066 w 596377"/>
                <a:gd name="connsiteY154" fmla="*/ 329779 h 574120"/>
                <a:gd name="connsiteX155" fmla="*/ 409066 w 596377"/>
                <a:gd name="connsiteY155" fmla="*/ 329779 h 574120"/>
                <a:gd name="connsiteX156" fmla="*/ 409066 w 596377"/>
                <a:gd name="connsiteY156" fmla="*/ 388054 h 574120"/>
                <a:gd name="connsiteX157" fmla="*/ 375454 w 596377"/>
                <a:gd name="connsiteY157" fmla="*/ 388054 h 574120"/>
                <a:gd name="connsiteX158" fmla="*/ 366193 w 596377"/>
                <a:gd name="connsiteY158" fmla="*/ 395339 h 574120"/>
                <a:gd name="connsiteX159" fmla="*/ 347462 w 596377"/>
                <a:gd name="connsiteY159" fmla="*/ 440399 h 574120"/>
                <a:gd name="connsiteX160" fmla="*/ 348814 w 596377"/>
                <a:gd name="connsiteY160" fmla="*/ 452158 h 574120"/>
                <a:gd name="connsiteX161" fmla="*/ 372645 w 596377"/>
                <a:gd name="connsiteY161" fmla="*/ 476093 h 574120"/>
                <a:gd name="connsiteX162" fmla="*/ 331020 w 596377"/>
                <a:gd name="connsiteY162" fmla="*/ 517198 h 574120"/>
                <a:gd name="connsiteX163" fmla="*/ 308127 w 596377"/>
                <a:gd name="connsiteY163" fmla="*/ 493679 h 574120"/>
                <a:gd name="connsiteX164" fmla="*/ 296368 w 596377"/>
                <a:gd name="connsiteY164" fmla="*/ 492222 h 574120"/>
                <a:gd name="connsiteX165" fmla="*/ 251205 w 596377"/>
                <a:gd name="connsiteY165" fmla="*/ 510954 h 574120"/>
                <a:gd name="connsiteX166" fmla="*/ 243921 w 596377"/>
                <a:gd name="connsiteY166" fmla="*/ 520216 h 574120"/>
                <a:gd name="connsiteX167" fmla="*/ 243921 w 596377"/>
                <a:gd name="connsiteY167" fmla="*/ 553932 h 574120"/>
                <a:gd name="connsiteX168" fmla="*/ 185646 w 596377"/>
                <a:gd name="connsiteY168" fmla="*/ 553932 h 574120"/>
                <a:gd name="connsiteX169" fmla="*/ 185646 w 596377"/>
                <a:gd name="connsiteY169" fmla="*/ 520320 h 574120"/>
                <a:gd name="connsiteX170" fmla="*/ 178362 w 596377"/>
                <a:gd name="connsiteY170" fmla="*/ 511058 h 574120"/>
                <a:gd name="connsiteX171" fmla="*/ 133303 w 596377"/>
                <a:gd name="connsiteY171" fmla="*/ 492326 h 574120"/>
                <a:gd name="connsiteX172" fmla="*/ 128308 w 596377"/>
                <a:gd name="connsiteY172" fmla="*/ 490974 h 574120"/>
                <a:gd name="connsiteX173" fmla="*/ 121544 w 596377"/>
                <a:gd name="connsiteY173" fmla="*/ 493783 h 574120"/>
                <a:gd name="connsiteX174" fmla="*/ 97506 w 596377"/>
                <a:gd name="connsiteY174" fmla="*/ 517510 h 574120"/>
                <a:gd name="connsiteX175" fmla="*/ 55881 w 596377"/>
                <a:gd name="connsiteY175" fmla="*/ 475884 h 574120"/>
                <a:gd name="connsiteX176" fmla="*/ 79711 w 596377"/>
                <a:gd name="connsiteY176" fmla="*/ 452158 h 574120"/>
                <a:gd name="connsiteX177" fmla="*/ 81064 w 596377"/>
                <a:gd name="connsiteY177" fmla="*/ 440399 h 574120"/>
                <a:gd name="connsiteX178" fmla="*/ 62437 w 596377"/>
                <a:gd name="connsiteY178" fmla="*/ 395339 h 574120"/>
                <a:gd name="connsiteX179" fmla="*/ 53175 w 596377"/>
                <a:gd name="connsiteY179" fmla="*/ 388054 h 574120"/>
                <a:gd name="connsiteX180" fmla="*/ 19355 w 596377"/>
                <a:gd name="connsiteY180" fmla="*/ 388054 h 574120"/>
                <a:gd name="connsiteX181" fmla="*/ 19355 w 596377"/>
                <a:gd name="connsiteY181" fmla="*/ 330923 h 574120"/>
                <a:gd name="connsiteX182" fmla="*/ 20396 w 596377"/>
                <a:gd name="connsiteY182" fmla="*/ 329779 h 574120"/>
                <a:gd name="connsiteX183" fmla="*/ 53280 w 596377"/>
                <a:gd name="connsiteY183" fmla="*/ 329779 h 574120"/>
                <a:gd name="connsiteX184" fmla="*/ 62541 w 596377"/>
                <a:gd name="connsiteY184" fmla="*/ 322494 h 574120"/>
                <a:gd name="connsiteX185" fmla="*/ 81168 w 596377"/>
                <a:gd name="connsiteY185" fmla="*/ 277435 h 574120"/>
                <a:gd name="connsiteX186" fmla="*/ 79191 w 596377"/>
                <a:gd name="connsiteY186" fmla="*/ 265675 h 574120"/>
                <a:gd name="connsiteX187" fmla="*/ 55361 w 596377"/>
                <a:gd name="connsiteY187" fmla="*/ 241741 h 574120"/>
                <a:gd name="connsiteX188" fmla="*/ 96986 w 596377"/>
                <a:gd name="connsiteY188" fmla="*/ 200635 h 574120"/>
                <a:gd name="connsiteX189" fmla="*/ 120816 w 596377"/>
                <a:gd name="connsiteY189" fmla="*/ 224050 h 574120"/>
                <a:gd name="connsiteX190" fmla="*/ 132575 w 596377"/>
                <a:gd name="connsiteY190" fmla="*/ 225507 h 574120"/>
                <a:gd name="connsiteX191" fmla="*/ 177737 w 596377"/>
                <a:gd name="connsiteY191" fmla="*/ 207087 h 574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</a:cxnLst>
              <a:rect l="l" t="t" r="r" b="b"/>
              <a:pathLst>
                <a:path w="596377" h="574120">
                  <a:moveTo>
                    <a:pt x="110409" y="187107"/>
                  </a:moveTo>
                  <a:cubicBezTo>
                    <a:pt x="102813" y="179729"/>
                    <a:pt x="90742" y="179729"/>
                    <a:pt x="83145" y="187107"/>
                  </a:cubicBezTo>
                  <a:lnTo>
                    <a:pt x="42145" y="228733"/>
                  </a:lnTo>
                  <a:cubicBezTo>
                    <a:pt x="34673" y="236246"/>
                    <a:pt x="34673" y="248380"/>
                    <a:pt x="42145" y="255893"/>
                  </a:cubicBezTo>
                  <a:lnTo>
                    <a:pt x="60772" y="274521"/>
                  </a:lnTo>
                  <a:cubicBezTo>
                    <a:pt x="54320" y="286145"/>
                    <a:pt x="49221" y="298466"/>
                    <a:pt x="45579" y="311255"/>
                  </a:cubicBezTo>
                  <a:lnTo>
                    <a:pt x="19251" y="311255"/>
                  </a:lnTo>
                  <a:cubicBezTo>
                    <a:pt x="15214" y="311245"/>
                    <a:pt x="11280" y="312525"/>
                    <a:pt x="8012" y="314898"/>
                  </a:cubicBezTo>
                  <a:cubicBezTo>
                    <a:pt x="6764" y="315886"/>
                    <a:pt x="5734" y="317125"/>
                    <a:pt x="4995" y="318540"/>
                  </a:cubicBezTo>
                  <a:cubicBezTo>
                    <a:pt x="3663" y="319466"/>
                    <a:pt x="2591" y="320725"/>
                    <a:pt x="1873" y="322182"/>
                  </a:cubicBezTo>
                  <a:cubicBezTo>
                    <a:pt x="635" y="324784"/>
                    <a:pt x="-11" y="327625"/>
                    <a:pt x="0" y="330507"/>
                  </a:cubicBezTo>
                  <a:lnTo>
                    <a:pt x="0" y="388575"/>
                  </a:lnTo>
                  <a:cubicBezTo>
                    <a:pt x="0" y="399210"/>
                    <a:pt x="8616" y="407827"/>
                    <a:pt x="19251" y="407827"/>
                  </a:cubicBezTo>
                  <a:lnTo>
                    <a:pt x="45579" y="407827"/>
                  </a:lnTo>
                  <a:cubicBezTo>
                    <a:pt x="49211" y="420616"/>
                    <a:pt x="54299" y="432948"/>
                    <a:pt x="60772" y="444561"/>
                  </a:cubicBezTo>
                  <a:lnTo>
                    <a:pt x="42145" y="463189"/>
                  </a:lnTo>
                  <a:cubicBezTo>
                    <a:pt x="34673" y="470702"/>
                    <a:pt x="34673" y="482836"/>
                    <a:pt x="42145" y="490349"/>
                  </a:cubicBezTo>
                  <a:lnTo>
                    <a:pt x="83249" y="531975"/>
                  </a:lnTo>
                  <a:cubicBezTo>
                    <a:pt x="90804" y="539343"/>
                    <a:pt x="102854" y="539343"/>
                    <a:pt x="110409" y="531975"/>
                  </a:cubicBezTo>
                  <a:lnTo>
                    <a:pt x="129036" y="513347"/>
                  </a:lnTo>
                  <a:cubicBezTo>
                    <a:pt x="140640" y="519831"/>
                    <a:pt x="152971" y="524930"/>
                    <a:pt x="165770" y="528541"/>
                  </a:cubicBezTo>
                  <a:lnTo>
                    <a:pt x="165770" y="554869"/>
                  </a:lnTo>
                  <a:cubicBezTo>
                    <a:pt x="165770" y="565504"/>
                    <a:pt x="174387" y="574121"/>
                    <a:pt x="185021" y="574121"/>
                  </a:cubicBezTo>
                  <a:lnTo>
                    <a:pt x="243088" y="574121"/>
                  </a:lnTo>
                  <a:cubicBezTo>
                    <a:pt x="253661" y="574121"/>
                    <a:pt x="262236" y="565546"/>
                    <a:pt x="262236" y="554973"/>
                  </a:cubicBezTo>
                  <a:cubicBezTo>
                    <a:pt x="262236" y="554942"/>
                    <a:pt x="262236" y="554900"/>
                    <a:pt x="262236" y="554869"/>
                  </a:cubicBezTo>
                  <a:lnTo>
                    <a:pt x="262236" y="528541"/>
                  </a:lnTo>
                  <a:cubicBezTo>
                    <a:pt x="275066" y="524930"/>
                    <a:pt x="287429" y="519831"/>
                    <a:pt x="299073" y="513347"/>
                  </a:cubicBezTo>
                  <a:lnTo>
                    <a:pt x="317700" y="531975"/>
                  </a:lnTo>
                  <a:cubicBezTo>
                    <a:pt x="325234" y="539395"/>
                    <a:pt x="337327" y="539395"/>
                    <a:pt x="344861" y="531975"/>
                  </a:cubicBezTo>
                  <a:lnTo>
                    <a:pt x="386485" y="490349"/>
                  </a:lnTo>
                  <a:cubicBezTo>
                    <a:pt x="393946" y="482877"/>
                    <a:pt x="393946" y="470764"/>
                    <a:pt x="386485" y="463293"/>
                  </a:cubicBezTo>
                  <a:lnTo>
                    <a:pt x="367962" y="444665"/>
                  </a:lnTo>
                  <a:cubicBezTo>
                    <a:pt x="374435" y="433052"/>
                    <a:pt x="379523" y="420720"/>
                    <a:pt x="383155" y="407931"/>
                  </a:cubicBezTo>
                  <a:lnTo>
                    <a:pt x="409482" y="407931"/>
                  </a:lnTo>
                  <a:cubicBezTo>
                    <a:pt x="420055" y="407931"/>
                    <a:pt x="428630" y="399356"/>
                    <a:pt x="428630" y="388783"/>
                  </a:cubicBezTo>
                  <a:cubicBezTo>
                    <a:pt x="428630" y="388752"/>
                    <a:pt x="428630" y="388710"/>
                    <a:pt x="428630" y="388679"/>
                  </a:cubicBezTo>
                  <a:lnTo>
                    <a:pt x="428630" y="330611"/>
                  </a:lnTo>
                  <a:cubicBezTo>
                    <a:pt x="428692" y="320038"/>
                    <a:pt x="420159" y="311422"/>
                    <a:pt x="409587" y="311359"/>
                  </a:cubicBezTo>
                  <a:cubicBezTo>
                    <a:pt x="409556" y="311359"/>
                    <a:pt x="409514" y="311359"/>
                    <a:pt x="409482" y="311359"/>
                  </a:cubicBezTo>
                  <a:lnTo>
                    <a:pt x="383155" y="311359"/>
                  </a:lnTo>
                  <a:cubicBezTo>
                    <a:pt x="379534" y="298570"/>
                    <a:pt x="374435" y="286238"/>
                    <a:pt x="367962" y="274625"/>
                  </a:cubicBezTo>
                  <a:lnTo>
                    <a:pt x="386485" y="255998"/>
                  </a:lnTo>
                  <a:cubicBezTo>
                    <a:pt x="393956" y="248484"/>
                    <a:pt x="393956" y="236350"/>
                    <a:pt x="386485" y="228837"/>
                  </a:cubicBezTo>
                  <a:lnTo>
                    <a:pt x="345485" y="187211"/>
                  </a:lnTo>
                  <a:cubicBezTo>
                    <a:pt x="337971" y="179739"/>
                    <a:pt x="325838" y="179739"/>
                    <a:pt x="318324" y="187211"/>
                  </a:cubicBezTo>
                  <a:lnTo>
                    <a:pt x="299698" y="205839"/>
                  </a:lnTo>
                  <a:cubicBezTo>
                    <a:pt x="288053" y="199355"/>
                    <a:pt x="275690" y="194256"/>
                    <a:pt x="262860" y="190645"/>
                  </a:cubicBezTo>
                  <a:lnTo>
                    <a:pt x="262860" y="164317"/>
                  </a:lnTo>
                  <a:cubicBezTo>
                    <a:pt x="262953" y="160654"/>
                    <a:pt x="261975" y="157033"/>
                    <a:pt x="260050" y="153911"/>
                  </a:cubicBezTo>
                  <a:cubicBezTo>
                    <a:pt x="265982" y="155264"/>
                    <a:pt x="272017" y="156825"/>
                    <a:pt x="277948" y="158698"/>
                  </a:cubicBezTo>
                  <a:cubicBezTo>
                    <a:pt x="282069" y="160030"/>
                    <a:pt x="286565" y="158406"/>
                    <a:pt x="288875" y="154743"/>
                  </a:cubicBezTo>
                  <a:cubicBezTo>
                    <a:pt x="321852" y="103044"/>
                    <a:pt x="390502" y="87861"/>
                    <a:pt x="442199" y="120850"/>
                  </a:cubicBezTo>
                  <a:cubicBezTo>
                    <a:pt x="493897" y="153828"/>
                    <a:pt x="509070" y="222468"/>
                    <a:pt x="476092" y="274167"/>
                  </a:cubicBezTo>
                  <a:cubicBezTo>
                    <a:pt x="465468" y="290828"/>
                    <a:pt x="450597" y="304346"/>
                    <a:pt x="433001" y="313337"/>
                  </a:cubicBezTo>
                  <a:cubicBezTo>
                    <a:pt x="429213" y="315303"/>
                    <a:pt x="427204" y="319570"/>
                    <a:pt x="428110" y="323743"/>
                  </a:cubicBezTo>
                  <a:cubicBezTo>
                    <a:pt x="431439" y="338541"/>
                    <a:pt x="433292" y="353641"/>
                    <a:pt x="433625" y="368803"/>
                  </a:cubicBezTo>
                  <a:cubicBezTo>
                    <a:pt x="433656" y="371904"/>
                    <a:pt x="435217" y="374786"/>
                    <a:pt x="437788" y="376503"/>
                  </a:cubicBezTo>
                  <a:cubicBezTo>
                    <a:pt x="440399" y="378252"/>
                    <a:pt x="443708" y="378595"/>
                    <a:pt x="446633" y="377440"/>
                  </a:cubicBezTo>
                  <a:cubicBezTo>
                    <a:pt x="453803" y="374734"/>
                    <a:pt x="460754" y="371498"/>
                    <a:pt x="467445" y="367762"/>
                  </a:cubicBezTo>
                  <a:lnTo>
                    <a:pt x="485968" y="386390"/>
                  </a:lnTo>
                  <a:cubicBezTo>
                    <a:pt x="493512" y="393872"/>
                    <a:pt x="505687" y="393872"/>
                    <a:pt x="513232" y="386390"/>
                  </a:cubicBezTo>
                  <a:lnTo>
                    <a:pt x="554233" y="344764"/>
                  </a:lnTo>
                  <a:cubicBezTo>
                    <a:pt x="561735" y="337469"/>
                    <a:pt x="561902" y="325481"/>
                    <a:pt x="554607" y="317978"/>
                  </a:cubicBezTo>
                  <a:cubicBezTo>
                    <a:pt x="554482" y="317853"/>
                    <a:pt x="554357" y="317728"/>
                    <a:pt x="554233" y="317603"/>
                  </a:cubicBezTo>
                  <a:lnTo>
                    <a:pt x="535709" y="298976"/>
                  </a:lnTo>
                  <a:cubicBezTo>
                    <a:pt x="542161" y="287352"/>
                    <a:pt x="547260" y="275031"/>
                    <a:pt x="550903" y="262241"/>
                  </a:cubicBezTo>
                  <a:lnTo>
                    <a:pt x="577230" y="262241"/>
                  </a:lnTo>
                  <a:cubicBezTo>
                    <a:pt x="587802" y="262241"/>
                    <a:pt x="596377" y="253666"/>
                    <a:pt x="596377" y="243094"/>
                  </a:cubicBezTo>
                  <a:cubicBezTo>
                    <a:pt x="596377" y="243062"/>
                    <a:pt x="596377" y="243021"/>
                    <a:pt x="596377" y="242990"/>
                  </a:cubicBezTo>
                  <a:lnTo>
                    <a:pt x="596377" y="185546"/>
                  </a:lnTo>
                  <a:cubicBezTo>
                    <a:pt x="596440" y="174973"/>
                    <a:pt x="587907" y="166357"/>
                    <a:pt x="577334" y="166294"/>
                  </a:cubicBezTo>
                  <a:cubicBezTo>
                    <a:pt x="577303" y="166294"/>
                    <a:pt x="577261" y="166294"/>
                    <a:pt x="577230" y="166294"/>
                  </a:cubicBezTo>
                  <a:lnTo>
                    <a:pt x="550903" y="166294"/>
                  </a:lnTo>
                  <a:cubicBezTo>
                    <a:pt x="547260" y="153505"/>
                    <a:pt x="542161" y="141184"/>
                    <a:pt x="535709" y="129560"/>
                  </a:cubicBezTo>
                  <a:lnTo>
                    <a:pt x="554233" y="110932"/>
                  </a:lnTo>
                  <a:cubicBezTo>
                    <a:pt x="557927" y="107363"/>
                    <a:pt x="559997" y="102441"/>
                    <a:pt x="559956" y="97300"/>
                  </a:cubicBezTo>
                  <a:cubicBezTo>
                    <a:pt x="559883" y="92222"/>
                    <a:pt x="557822" y="87362"/>
                    <a:pt x="554233" y="83772"/>
                  </a:cubicBezTo>
                  <a:lnTo>
                    <a:pt x="512608" y="42146"/>
                  </a:lnTo>
                  <a:cubicBezTo>
                    <a:pt x="505074" y="34726"/>
                    <a:pt x="492981" y="34726"/>
                    <a:pt x="485447" y="42146"/>
                  </a:cubicBezTo>
                  <a:lnTo>
                    <a:pt x="466925" y="60670"/>
                  </a:lnTo>
                  <a:cubicBezTo>
                    <a:pt x="455301" y="54218"/>
                    <a:pt x="442980" y="49118"/>
                    <a:pt x="430191" y="45476"/>
                  </a:cubicBezTo>
                  <a:lnTo>
                    <a:pt x="430191" y="19148"/>
                  </a:lnTo>
                  <a:cubicBezTo>
                    <a:pt x="430191" y="8575"/>
                    <a:pt x="421616" y="0"/>
                    <a:pt x="411044" y="0"/>
                  </a:cubicBezTo>
                  <a:cubicBezTo>
                    <a:pt x="411013" y="0"/>
                    <a:pt x="410971" y="0"/>
                    <a:pt x="410940" y="0"/>
                  </a:cubicBezTo>
                  <a:lnTo>
                    <a:pt x="352873" y="0"/>
                  </a:lnTo>
                  <a:cubicBezTo>
                    <a:pt x="342300" y="-62"/>
                    <a:pt x="333684" y="8471"/>
                    <a:pt x="333622" y="19044"/>
                  </a:cubicBezTo>
                  <a:cubicBezTo>
                    <a:pt x="333622" y="19075"/>
                    <a:pt x="333622" y="19117"/>
                    <a:pt x="333622" y="19148"/>
                  </a:cubicBezTo>
                  <a:lnTo>
                    <a:pt x="333622" y="45476"/>
                  </a:lnTo>
                  <a:cubicBezTo>
                    <a:pt x="320833" y="49118"/>
                    <a:pt x="308511" y="54218"/>
                    <a:pt x="296888" y="60670"/>
                  </a:cubicBezTo>
                  <a:lnTo>
                    <a:pt x="278261" y="42146"/>
                  </a:lnTo>
                  <a:cubicBezTo>
                    <a:pt x="270685" y="34841"/>
                    <a:pt x="258676" y="34841"/>
                    <a:pt x="251101" y="42146"/>
                  </a:cubicBezTo>
                  <a:lnTo>
                    <a:pt x="209996" y="83772"/>
                  </a:lnTo>
                  <a:cubicBezTo>
                    <a:pt x="202525" y="91171"/>
                    <a:pt x="202473" y="103232"/>
                    <a:pt x="209871" y="110703"/>
                  </a:cubicBezTo>
                  <a:cubicBezTo>
                    <a:pt x="209913" y="110745"/>
                    <a:pt x="209955" y="110787"/>
                    <a:pt x="209996" y="110828"/>
                  </a:cubicBezTo>
                  <a:lnTo>
                    <a:pt x="228623" y="129456"/>
                  </a:lnTo>
                  <a:cubicBezTo>
                    <a:pt x="227479" y="131433"/>
                    <a:pt x="226438" y="133514"/>
                    <a:pt x="225397" y="135596"/>
                  </a:cubicBezTo>
                  <a:cubicBezTo>
                    <a:pt x="223940" y="138322"/>
                    <a:pt x="223940" y="141610"/>
                    <a:pt x="225397" y="144337"/>
                  </a:cubicBezTo>
                  <a:cubicBezTo>
                    <a:pt x="225397" y="144337"/>
                    <a:pt x="225397" y="144337"/>
                    <a:pt x="225397" y="144857"/>
                  </a:cubicBezTo>
                  <a:lnTo>
                    <a:pt x="184293" y="144857"/>
                  </a:lnTo>
                  <a:cubicBezTo>
                    <a:pt x="173658" y="144857"/>
                    <a:pt x="165042" y="153474"/>
                    <a:pt x="165042" y="164109"/>
                  </a:cubicBezTo>
                  <a:lnTo>
                    <a:pt x="165042" y="190437"/>
                  </a:lnTo>
                  <a:cubicBezTo>
                    <a:pt x="152242" y="194048"/>
                    <a:pt x="139911" y="199147"/>
                    <a:pt x="128308" y="205630"/>
                  </a:cubicBezTo>
                  <a:close/>
                  <a:moveTo>
                    <a:pt x="223524" y="97300"/>
                  </a:moveTo>
                  <a:lnTo>
                    <a:pt x="265149" y="56195"/>
                  </a:lnTo>
                  <a:lnTo>
                    <a:pt x="288979" y="80025"/>
                  </a:lnTo>
                  <a:cubicBezTo>
                    <a:pt x="292132" y="83095"/>
                    <a:pt x="296971" y="83657"/>
                    <a:pt x="300738" y="81378"/>
                  </a:cubicBezTo>
                  <a:cubicBezTo>
                    <a:pt x="314651" y="72772"/>
                    <a:pt x="329865" y="66476"/>
                    <a:pt x="345797" y="62751"/>
                  </a:cubicBezTo>
                  <a:cubicBezTo>
                    <a:pt x="350064" y="61700"/>
                    <a:pt x="353060" y="57881"/>
                    <a:pt x="353081" y="53489"/>
                  </a:cubicBezTo>
                  <a:lnTo>
                    <a:pt x="353081" y="19668"/>
                  </a:lnTo>
                  <a:lnTo>
                    <a:pt x="411356" y="19668"/>
                  </a:lnTo>
                  <a:lnTo>
                    <a:pt x="411356" y="53385"/>
                  </a:lnTo>
                  <a:cubicBezTo>
                    <a:pt x="411376" y="57777"/>
                    <a:pt x="414374" y="61596"/>
                    <a:pt x="418640" y="62647"/>
                  </a:cubicBezTo>
                  <a:cubicBezTo>
                    <a:pt x="434572" y="66372"/>
                    <a:pt x="449785" y="72668"/>
                    <a:pt x="463699" y="81274"/>
                  </a:cubicBezTo>
                  <a:cubicBezTo>
                    <a:pt x="467487" y="83564"/>
                    <a:pt x="472346" y="82960"/>
                    <a:pt x="475458" y="79817"/>
                  </a:cubicBezTo>
                  <a:lnTo>
                    <a:pt x="499392" y="56091"/>
                  </a:lnTo>
                  <a:lnTo>
                    <a:pt x="541017" y="97716"/>
                  </a:lnTo>
                  <a:lnTo>
                    <a:pt x="517290" y="121443"/>
                  </a:lnTo>
                  <a:cubicBezTo>
                    <a:pt x="514148" y="124554"/>
                    <a:pt x="513544" y="129414"/>
                    <a:pt x="515834" y="133202"/>
                  </a:cubicBezTo>
                  <a:cubicBezTo>
                    <a:pt x="524408" y="147147"/>
                    <a:pt x="530736" y="162350"/>
                    <a:pt x="534565" y="178262"/>
                  </a:cubicBezTo>
                  <a:cubicBezTo>
                    <a:pt x="535543" y="182570"/>
                    <a:pt x="539403" y="185609"/>
                    <a:pt x="543826" y="185546"/>
                  </a:cubicBezTo>
                  <a:lnTo>
                    <a:pt x="577438" y="185546"/>
                  </a:lnTo>
                  <a:cubicBezTo>
                    <a:pt x="577438" y="185546"/>
                    <a:pt x="577438" y="185546"/>
                    <a:pt x="577438" y="185546"/>
                  </a:cubicBezTo>
                  <a:lnTo>
                    <a:pt x="577438" y="243822"/>
                  </a:lnTo>
                  <a:lnTo>
                    <a:pt x="543826" y="243822"/>
                  </a:lnTo>
                  <a:cubicBezTo>
                    <a:pt x="539403" y="243760"/>
                    <a:pt x="535543" y="246798"/>
                    <a:pt x="534565" y="251107"/>
                  </a:cubicBezTo>
                  <a:cubicBezTo>
                    <a:pt x="530736" y="267049"/>
                    <a:pt x="524408" y="282294"/>
                    <a:pt x="515834" y="296270"/>
                  </a:cubicBezTo>
                  <a:cubicBezTo>
                    <a:pt x="513565" y="300027"/>
                    <a:pt x="514158" y="304845"/>
                    <a:pt x="517290" y="307925"/>
                  </a:cubicBezTo>
                  <a:lnTo>
                    <a:pt x="541017" y="331860"/>
                  </a:lnTo>
                  <a:lnTo>
                    <a:pt x="499392" y="372965"/>
                  </a:lnTo>
                  <a:lnTo>
                    <a:pt x="475562" y="348926"/>
                  </a:lnTo>
                  <a:cubicBezTo>
                    <a:pt x="473772" y="347116"/>
                    <a:pt x="471337" y="346106"/>
                    <a:pt x="468798" y="346117"/>
                  </a:cubicBezTo>
                  <a:cubicBezTo>
                    <a:pt x="467039" y="346106"/>
                    <a:pt x="465311" y="346575"/>
                    <a:pt x="463803" y="347470"/>
                  </a:cubicBezTo>
                  <a:cubicBezTo>
                    <a:pt x="459963" y="349853"/>
                    <a:pt x="456009" y="352048"/>
                    <a:pt x="451940" y="354026"/>
                  </a:cubicBezTo>
                  <a:cubicBezTo>
                    <a:pt x="451211" y="344774"/>
                    <a:pt x="449963" y="335565"/>
                    <a:pt x="448194" y="326449"/>
                  </a:cubicBezTo>
                  <a:cubicBezTo>
                    <a:pt x="510401" y="290505"/>
                    <a:pt x="531682" y="210948"/>
                    <a:pt x="495739" y="148739"/>
                  </a:cubicBezTo>
                  <a:cubicBezTo>
                    <a:pt x="459807" y="86540"/>
                    <a:pt x="380241" y="65248"/>
                    <a:pt x="318033" y="101192"/>
                  </a:cubicBezTo>
                  <a:cubicBezTo>
                    <a:pt x="301779" y="110579"/>
                    <a:pt x="287751" y="123389"/>
                    <a:pt x="276908" y="138717"/>
                  </a:cubicBezTo>
                  <a:cubicBezTo>
                    <a:pt x="267948" y="136116"/>
                    <a:pt x="258843" y="134035"/>
                    <a:pt x="249644" y="132474"/>
                  </a:cubicBezTo>
                  <a:cubicBezTo>
                    <a:pt x="251579" y="128759"/>
                    <a:pt x="250903" y="124232"/>
                    <a:pt x="247979" y="121235"/>
                  </a:cubicBezTo>
                  <a:close/>
                  <a:moveTo>
                    <a:pt x="177529" y="207087"/>
                  </a:moveTo>
                  <a:cubicBezTo>
                    <a:pt x="181796" y="206036"/>
                    <a:pt x="184793" y="202217"/>
                    <a:pt x="184814" y="197826"/>
                  </a:cubicBezTo>
                  <a:lnTo>
                    <a:pt x="184814" y="164005"/>
                  </a:lnTo>
                  <a:lnTo>
                    <a:pt x="242984" y="164005"/>
                  </a:lnTo>
                  <a:lnTo>
                    <a:pt x="242984" y="197618"/>
                  </a:lnTo>
                  <a:cubicBezTo>
                    <a:pt x="243005" y="202009"/>
                    <a:pt x="246002" y="205828"/>
                    <a:pt x="250268" y="206879"/>
                  </a:cubicBezTo>
                  <a:cubicBezTo>
                    <a:pt x="266221" y="210678"/>
                    <a:pt x="281466" y="217005"/>
                    <a:pt x="295431" y="225611"/>
                  </a:cubicBezTo>
                  <a:cubicBezTo>
                    <a:pt x="299437" y="228410"/>
                    <a:pt x="304911" y="227734"/>
                    <a:pt x="308127" y="224050"/>
                  </a:cubicBezTo>
                  <a:lnTo>
                    <a:pt x="332061" y="200323"/>
                  </a:lnTo>
                  <a:lnTo>
                    <a:pt x="373685" y="241949"/>
                  </a:lnTo>
                  <a:lnTo>
                    <a:pt x="348814" y="265675"/>
                  </a:lnTo>
                  <a:cubicBezTo>
                    <a:pt x="345703" y="268818"/>
                    <a:pt x="345141" y="273668"/>
                    <a:pt x="347462" y="277435"/>
                  </a:cubicBezTo>
                  <a:cubicBezTo>
                    <a:pt x="356026" y="291379"/>
                    <a:pt x="362353" y="306583"/>
                    <a:pt x="366193" y="322494"/>
                  </a:cubicBezTo>
                  <a:cubicBezTo>
                    <a:pt x="367171" y="326802"/>
                    <a:pt x="371032" y="329841"/>
                    <a:pt x="375454" y="329779"/>
                  </a:cubicBezTo>
                  <a:lnTo>
                    <a:pt x="409066" y="329779"/>
                  </a:lnTo>
                  <a:cubicBezTo>
                    <a:pt x="409066" y="329779"/>
                    <a:pt x="409066" y="329779"/>
                    <a:pt x="409066" y="329779"/>
                  </a:cubicBezTo>
                  <a:lnTo>
                    <a:pt x="409066" y="388054"/>
                  </a:lnTo>
                  <a:lnTo>
                    <a:pt x="375454" y="388054"/>
                  </a:lnTo>
                  <a:cubicBezTo>
                    <a:pt x="371021" y="387950"/>
                    <a:pt x="367140" y="391010"/>
                    <a:pt x="366193" y="395339"/>
                  </a:cubicBezTo>
                  <a:cubicBezTo>
                    <a:pt x="362322" y="411240"/>
                    <a:pt x="356005" y="426444"/>
                    <a:pt x="347462" y="440399"/>
                  </a:cubicBezTo>
                  <a:cubicBezTo>
                    <a:pt x="345141" y="444166"/>
                    <a:pt x="345703" y="449015"/>
                    <a:pt x="348814" y="452158"/>
                  </a:cubicBezTo>
                  <a:lnTo>
                    <a:pt x="372645" y="476093"/>
                  </a:lnTo>
                  <a:lnTo>
                    <a:pt x="331020" y="517198"/>
                  </a:lnTo>
                  <a:lnTo>
                    <a:pt x="308127" y="493679"/>
                  </a:lnTo>
                  <a:cubicBezTo>
                    <a:pt x="305015" y="490537"/>
                    <a:pt x="300156" y="489933"/>
                    <a:pt x="296368" y="492222"/>
                  </a:cubicBezTo>
                  <a:cubicBezTo>
                    <a:pt x="282403" y="500829"/>
                    <a:pt x="267157" y="507156"/>
                    <a:pt x="251205" y="510954"/>
                  </a:cubicBezTo>
                  <a:cubicBezTo>
                    <a:pt x="246938" y="512005"/>
                    <a:pt x="243931" y="515824"/>
                    <a:pt x="243921" y="520216"/>
                  </a:cubicBezTo>
                  <a:lnTo>
                    <a:pt x="243921" y="553932"/>
                  </a:lnTo>
                  <a:lnTo>
                    <a:pt x="185646" y="553932"/>
                  </a:lnTo>
                  <a:lnTo>
                    <a:pt x="185646" y="520320"/>
                  </a:lnTo>
                  <a:cubicBezTo>
                    <a:pt x="185625" y="515928"/>
                    <a:pt x="182628" y="512109"/>
                    <a:pt x="178362" y="511058"/>
                  </a:cubicBezTo>
                  <a:cubicBezTo>
                    <a:pt x="162450" y="507228"/>
                    <a:pt x="147237" y="500912"/>
                    <a:pt x="133303" y="492326"/>
                  </a:cubicBezTo>
                  <a:cubicBezTo>
                    <a:pt x="131794" y="491432"/>
                    <a:pt x="130066" y="490963"/>
                    <a:pt x="128308" y="490974"/>
                  </a:cubicBezTo>
                  <a:cubicBezTo>
                    <a:pt x="125769" y="490963"/>
                    <a:pt x="123334" y="491973"/>
                    <a:pt x="121544" y="493783"/>
                  </a:cubicBezTo>
                  <a:lnTo>
                    <a:pt x="97506" y="517510"/>
                  </a:lnTo>
                  <a:lnTo>
                    <a:pt x="55881" y="475884"/>
                  </a:lnTo>
                  <a:lnTo>
                    <a:pt x="79711" y="452158"/>
                  </a:lnTo>
                  <a:cubicBezTo>
                    <a:pt x="82854" y="449036"/>
                    <a:pt x="83416" y="444155"/>
                    <a:pt x="81064" y="440399"/>
                  </a:cubicBezTo>
                  <a:cubicBezTo>
                    <a:pt x="72510" y="426465"/>
                    <a:pt x="66225" y="411250"/>
                    <a:pt x="62437" y="395339"/>
                  </a:cubicBezTo>
                  <a:cubicBezTo>
                    <a:pt x="61417" y="391052"/>
                    <a:pt x="57577" y="388034"/>
                    <a:pt x="53175" y="388054"/>
                  </a:cubicBezTo>
                  <a:lnTo>
                    <a:pt x="19355" y="388054"/>
                  </a:lnTo>
                  <a:lnTo>
                    <a:pt x="19355" y="330923"/>
                  </a:lnTo>
                  <a:cubicBezTo>
                    <a:pt x="19751" y="330590"/>
                    <a:pt x="20105" y="330205"/>
                    <a:pt x="20396" y="329779"/>
                  </a:cubicBezTo>
                  <a:lnTo>
                    <a:pt x="53280" y="329779"/>
                  </a:lnTo>
                  <a:cubicBezTo>
                    <a:pt x="57681" y="329800"/>
                    <a:pt x="61521" y="326782"/>
                    <a:pt x="62541" y="322494"/>
                  </a:cubicBezTo>
                  <a:cubicBezTo>
                    <a:pt x="66360" y="306593"/>
                    <a:pt x="72645" y="291389"/>
                    <a:pt x="81168" y="277435"/>
                  </a:cubicBezTo>
                  <a:cubicBezTo>
                    <a:pt x="83374" y="273543"/>
                    <a:pt x="82542" y="268641"/>
                    <a:pt x="79191" y="265675"/>
                  </a:cubicBezTo>
                  <a:lnTo>
                    <a:pt x="55361" y="241741"/>
                  </a:lnTo>
                  <a:lnTo>
                    <a:pt x="96986" y="200635"/>
                  </a:lnTo>
                  <a:lnTo>
                    <a:pt x="120816" y="224050"/>
                  </a:lnTo>
                  <a:cubicBezTo>
                    <a:pt x="123906" y="227234"/>
                    <a:pt x="128797" y="227838"/>
                    <a:pt x="132575" y="225507"/>
                  </a:cubicBezTo>
                  <a:cubicBezTo>
                    <a:pt x="146550" y="216994"/>
                    <a:pt x="161795" y="210782"/>
                    <a:pt x="177737" y="207087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eform 68">
              <a:extLst>
                <a:ext uri="{FF2B5EF4-FFF2-40B4-BE49-F238E27FC236}">
                  <a16:creationId xmlns:a16="http://schemas.microsoft.com/office/drawing/2014/main" id="{17EC5E71-C43B-7E4C-A7BA-ABD7793024A9}"/>
                </a:ext>
              </a:extLst>
            </p:cNvPr>
            <p:cNvSpPr/>
            <p:nvPr/>
          </p:nvSpPr>
          <p:spPr>
            <a:xfrm>
              <a:off x="11527844" y="5152944"/>
              <a:ext cx="32467" cy="32468"/>
            </a:xfrm>
            <a:custGeom>
              <a:avLst/>
              <a:gdLst>
                <a:gd name="connsiteX0" fmla="*/ 16129 w 32467"/>
                <a:gd name="connsiteY0" fmla="*/ 32468 h 32468"/>
                <a:gd name="connsiteX1" fmla="*/ 32467 w 32467"/>
                <a:gd name="connsiteY1" fmla="*/ 16338 h 32468"/>
                <a:gd name="connsiteX2" fmla="*/ 16338 w 32467"/>
                <a:gd name="connsiteY2" fmla="*/ 0 h 32468"/>
                <a:gd name="connsiteX3" fmla="*/ 0 w 32467"/>
                <a:gd name="connsiteY3" fmla="*/ 16130 h 32468"/>
                <a:gd name="connsiteX4" fmla="*/ 0 w 32467"/>
                <a:gd name="connsiteY4" fmla="*/ 16234 h 32468"/>
                <a:gd name="connsiteX5" fmla="*/ 16129 w 32467"/>
                <a:gd name="connsiteY5" fmla="*/ 32468 h 32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467" h="32468">
                  <a:moveTo>
                    <a:pt x="16129" y="32468"/>
                  </a:moveTo>
                  <a:cubicBezTo>
                    <a:pt x="25100" y="32531"/>
                    <a:pt x="32405" y="25309"/>
                    <a:pt x="32467" y="16338"/>
                  </a:cubicBezTo>
                  <a:cubicBezTo>
                    <a:pt x="32519" y="7378"/>
                    <a:pt x="25308" y="63"/>
                    <a:pt x="16338" y="0"/>
                  </a:cubicBezTo>
                  <a:cubicBezTo>
                    <a:pt x="7368" y="-52"/>
                    <a:pt x="52" y="7160"/>
                    <a:pt x="0" y="16130"/>
                  </a:cubicBezTo>
                  <a:cubicBezTo>
                    <a:pt x="0" y="16161"/>
                    <a:pt x="0" y="16203"/>
                    <a:pt x="0" y="16234"/>
                  </a:cubicBezTo>
                  <a:cubicBezTo>
                    <a:pt x="0" y="25163"/>
                    <a:pt x="7201" y="32416"/>
                    <a:pt x="16129" y="32468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eform 69">
              <a:extLst>
                <a:ext uri="{FF2B5EF4-FFF2-40B4-BE49-F238E27FC236}">
                  <a16:creationId xmlns:a16="http://schemas.microsoft.com/office/drawing/2014/main" id="{AED31978-AF9A-A140-9878-A7A408C0AE7F}"/>
                </a:ext>
              </a:extLst>
            </p:cNvPr>
            <p:cNvSpPr/>
            <p:nvPr/>
          </p:nvSpPr>
          <p:spPr>
            <a:xfrm>
              <a:off x="11414520" y="4762704"/>
              <a:ext cx="259009" cy="457985"/>
            </a:xfrm>
            <a:custGeom>
              <a:avLst/>
              <a:gdLst>
                <a:gd name="connsiteX0" fmla="*/ 50886 w 259009"/>
                <a:gd name="connsiteY0" fmla="*/ 457985 h 457985"/>
                <a:gd name="connsiteX1" fmla="*/ 208123 w 259009"/>
                <a:gd name="connsiteY1" fmla="*/ 457985 h 457985"/>
                <a:gd name="connsiteX2" fmla="*/ 259010 w 259009"/>
                <a:gd name="connsiteY2" fmla="*/ 407098 h 457985"/>
                <a:gd name="connsiteX3" fmla="*/ 259010 w 259009"/>
                <a:gd name="connsiteY3" fmla="*/ 50887 h 457985"/>
                <a:gd name="connsiteX4" fmla="*/ 208123 w 259009"/>
                <a:gd name="connsiteY4" fmla="*/ 0 h 457985"/>
                <a:gd name="connsiteX5" fmla="*/ 50886 w 259009"/>
                <a:gd name="connsiteY5" fmla="*/ 0 h 457985"/>
                <a:gd name="connsiteX6" fmla="*/ 0 w 259009"/>
                <a:gd name="connsiteY6" fmla="*/ 50887 h 457985"/>
                <a:gd name="connsiteX7" fmla="*/ 0 w 259009"/>
                <a:gd name="connsiteY7" fmla="*/ 407098 h 457985"/>
                <a:gd name="connsiteX8" fmla="*/ 50886 w 259009"/>
                <a:gd name="connsiteY8" fmla="*/ 457985 h 457985"/>
                <a:gd name="connsiteX9" fmla="*/ 27577 w 259009"/>
                <a:gd name="connsiteY9" fmla="*/ 50887 h 457985"/>
                <a:gd name="connsiteX10" fmla="*/ 50782 w 259009"/>
                <a:gd name="connsiteY10" fmla="*/ 27785 h 457985"/>
                <a:gd name="connsiteX11" fmla="*/ 208020 w 259009"/>
                <a:gd name="connsiteY11" fmla="*/ 27785 h 457985"/>
                <a:gd name="connsiteX12" fmla="*/ 231121 w 259009"/>
                <a:gd name="connsiteY12" fmla="*/ 50887 h 457985"/>
                <a:gd name="connsiteX13" fmla="*/ 231121 w 259009"/>
                <a:gd name="connsiteY13" fmla="*/ 60149 h 457985"/>
                <a:gd name="connsiteX14" fmla="*/ 27577 w 259009"/>
                <a:gd name="connsiteY14" fmla="*/ 60149 h 457985"/>
                <a:gd name="connsiteX15" fmla="*/ 27577 w 259009"/>
                <a:gd name="connsiteY15" fmla="*/ 78672 h 457985"/>
                <a:gd name="connsiteX16" fmla="*/ 231121 w 259009"/>
                <a:gd name="connsiteY16" fmla="*/ 78672 h 457985"/>
                <a:gd name="connsiteX17" fmla="*/ 231121 w 259009"/>
                <a:gd name="connsiteY17" fmla="*/ 365472 h 457985"/>
                <a:gd name="connsiteX18" fmla="*/ 27577 w 259009"/>
                <a:gd name="connsiteY18" fmla="*/ 365472 h 457985"/>
                <a:gd name="connsiteX19" fmla="*/ 27577 w 259009"/>
                <a:gd name="connsiteY19" fmla="*/ 383996 h 457985"/>
                <a:gd name="connsiteX20" fmla="*/ 231121 w 259009"/>
                <a:gd name="connsiteY20" fmla="*/ 383996 h 457985"/>
                <a:gd name="connsiteX21" fmla="*/ 231121 w 259009"/>
                <a:gd name="connsiteY21" fmla="*/ 407098 h 457985"/>
                <a:gd name="connsiteX22" fmla="*/ 208123 w 259009"/>
                <a:gd name="connsiteY22" fmla="*/ 430304 h 457985"/>
                <a:gd name="connsiteX23" fmla="*/ 208020 w 259009"/>
                <a:gd name="connsiteY23" fmla="*/ 430304 h 457985"/>
                <a:gd name="connsiteX24" fmla="*/ 50886 w 259009"/>
                <a:gd name="connsiteY24" fmla="*/ 430304 h 457985"/>
                <a:gd name="connsiteX25" fmla="*/ 27577 w 259009"/>
                <a:gd name="connsiteY25" fmla="*/ 407202 h 457985"/>
                <a:gd name="connsiteX26" fmla="*/ 27577 w 259009"/>
                <a:gd name="connsiteY26" fmla="*/ 407098 h 457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59009" h="457985">
                  <a:moveTo>
                    <a:pt x="50886" y="457985"/>
                  </a:moveTo>
                  <a:lnTo>
                    <a:pt x="208123" y="457985"/>
                  </a:lnTo>
                  <a:cubicBezTo>
                    <a:pt x="236231" y="457985"/>
                    <a:pt x="259010" y="435205"/>
                    <a:pt x="259010" y="407098"/>
                  </a:cubicBezTo>
                  <a:lnTo>
                    <a:pt x="259010" y="50887"/>
                  </a:lnTo>
                  <a:cubicBezTo>
                    <a:pt x="258947" y="22811"/>
                    <a:pt x="236199" y="52"/>
                    <a:pt x="208123" y="0"/>
                  </a:cubicBezTo>
                  <a:lnTo>
                    <a:pt x="50886" y="0"/>
                  </a:lnTo>
                  <a:cubicBezTo>
                    <a:pt x="22810" y="52"/>
                    <a:pt x="52" y="22811"/>
                    <a:pt x="0" y="50887"/>
                  </a:cubicBezTo>
                  <a:lnTo>
                    <a:pt x="0" y="407098"/>
                  </a:lnTo>
                  <a:cubicBezTo>
                    <a:pt x="0" y="435205"/>
                    <a:pt x="22779" y="457985"/>
                    <a:pt x="50886" y="457985"/>
                  </a:cubicBezTo>
                  <a:close/>
                  <a:moveTo>
                    <a:pt x="27577" y="50887"/>
                  </a:moveTo>
                  <a:cubicBezTo>
                    <a:pt x="27629" y="38108"/>
                    <a:pt x="38004" y="27785"/>
                    <a:pt x="50782" y="27785"/>
                  </a:cubicBezTo>
                  <a:lnTo>
                    <a:pt x="208020" y="27785"/>
                  </a:lnTo>
                  <a:cubicBezTo>
                    <a:pt x="220777" y="27785"/>
                    <a:pt x="231121" y="38129"/>
                    <a:pt x="231121" y="50887"/>
                  </a:cubicBezTo>
                  <a:lnTo>
                    <a:pt x="231121" y="60149"/>
                  </a:lnTo>
                  <a:lnTo>
                    <a:pt x="27577" y="60149"/>
                  </a:lnTo>
                  <a:close/>
                  <a:moveTo>
                    <a:pt x="27577" y="78672"/>
                  </a:moveTo>
                  <a:lnTo>
                    <a:pt x="231121" y="78672"/>
                  </a:lnTo>
                  <a:lnTo>
                    <a:pt x="231121" y="365472"/>
                  </a:lnTo>
                  <a:lnTo>
                    <a:pt x="27577" y="365472"/>
                  </a:lnTo>
                  <a:close/>
                  <a:moveTo>
                    <a:pt x="27577" y="383996"/>
                  </a:moveTo>
                  <a:lnTo>
                    <a:pt x="231121" y="383996"/>
                  </a:lnTo>
                  <a:lnTo>
                    <a:pt x="231121" y="407098"/>
                  </a:lnTo>
                  <a:cubicBezTo>
                    <a:pt x="231173" y="419856"/>
                    <a:pt x="220881" y="430242"/>
                    <a:pt x="208123" y="430304"/>
                  </a:cubicBezTo>
                  <a:cubicBezTo>
                    <a:pt x="208092" y="430304"/>
                    <a:pt x="208051" y="430304"/>
                    <a:pt x="208020" y="430304"/>
                  </a:cubicBezTo>
                  <a:lnTo>
                    <a:pt x="50886" y="430304"/>
                  </a:lnTo>
                  <a:cubicBezTo>
                    <a:pt x="38066" y="430366"/>
                    <a:pt x="27639" y="420023"/>
                    <a:pt x="27577" y="407202"/>
                  </a:cubicBezTo>
                  <a:cubicBezTo>
                    <a:pt x="27577" y="407171"/>
                    <a:pt x="27577" y="407129"/>
                    <a:pt x="27577" y="407098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eform 70">
              <a:extLst>
                <a:ext uri="{FF2B5EF4-FFF2-40B4-BE49-F238E27FC236}">
                  <a16:creationId xmlns:a16="http://schemas.microsoft.com/office/drawing/2014/main" id="{9F31552F-BBA3-204A-AD06-E0A9F4BA86A5}"/>
                </a:ext>
              </a:extLst>
            </p:cNvPr>
            <p:cNvSpPr/>
            <p:nvPr/>
          </p:nvSpPr>
          <p:spPr>
            <a:xfrm>
              <a:off x="10859352" y="4503689"/>
              <a:ext cx="749243" cy="582861"/>
            </a:xfrm>
            <a:custGeom>
              <a:avLst/>
              <a:gdLst>
                <a:gd name="connsiteX0" fmla="*/ 721667 w 749243"/>
                <a:gd name="connsiteY0" fmla="*/ 231334 h 582861"/>
                <a:gd name="connsiteX1" fmla="*/ 749244 w 749243"/>
                <a:gd name="connsiteY1" fmla="*/ 231334 h 582861"/>
                <a:gd name="connsiteX2" fmla="*/ 749244 w 749243"/>
                <a:gd name="connsiteY2" fmla="*/ 50887 h 582861"/>
                <a:gd name="connsiteX3" fmla="*/ 698358 w 749243"/>
                <a:gd name="connsiteY3" fmla="*/ 0 h 582861"/>
                <a:gd name="connsiteX4" fmla="*/ 50886 w 749243"/>
                <a:gd name="connsiteY4" fmla="*/ 0 h 582861"/>
                <a:gd name="connsiteX5" fmla="*/ 0 w 749243"/>
                <a:gd name="connsiteY5" fmla="*/ 50887 h 582861"/>
                <a:gd name="connsiteX6" fmla="*/ 0 w 749243"/>
                <a:gd name="connsiteY6" fmla="*/ 531974 h 582861"/>
                <a:gd name="connsiteX7" fmla="*/ 50886 w 749243"/>
                <a:gd name="connsiteY7" fmla="*/ 582862 h 582861"/>
                <a:gd name="connsiteX8" fmla="*/ 527384 w 749243"/>
                <a:gd name="connsiteY8" fmla="*/ 582862 h 582861"/>
                <a:gd name="connsiteX9" fmla="*/ 527384 w 749243"/>
                <a:gd name="connsiteY9" fmla="*/ 555181 h 582861"/>
                <a:gd name="connsiteX10" fmla="*/ 50886 w 749243"/>
                <a:gd name="connsiteY10" fmla="*/ 555181 h 582861"/>
                <a:gd name="connsiteX11" fmla="*/ 27784 w 749243"/>
                <a:gd name="connsiteY11" fmla="*/ 532079 h 582861"/>
                <a:gd name="connsiteX12" fmla="*/ 27784 w 749243"/>
                <a:gd name="connsiteY12" fmla="*/ 531974 h 582861"/>
                <a:gd name="connsiteX13" fmla="*/ 27784 w 749243"/>
                <a:gd name="connsiteY13" fmla="*/ 508873 h 582861"/>
                <a:gd name="connsiteX14" fmla="*/ 527280 w 749243"/>
                <a:gd name="connsiteY14" fmla="*/ 508873 h 582861"/>
                <a:gd name="connsiteX15" fmla="*/ 527280 w 749243"/>
                <a:gd name="connsiteY15" fmla="*/ 490349 h 582861"/>
                <a:gd name="connsiteX16" fmla="*/ 27784 w 749243"/>
                <a:gd name="connsiteY16" fmla="*/ 490349 h 582861"/>
                <a:gd name="connsiteX17" fmla="*/ 27784 w 749243"/>
                <a:gd name="connsiteY17" fmla="*/ 101774 h 582861"/>
                <a:gd name="connsiteX18" fmla="*/ 721667 w 749243"/>
                <a:gd name="connsiteY18" fmla="*/ 101774 h 582861"/>
                <a:gd name="connsiteX19" fmla="*/ 27784 w 749243"/>
                <a:gd name="connsiteY19" fmla="*/ 83251 h 582861"/>
                <a:gd name="connsiteX20" fmla="*/ 27784 w 749243"/>
                <a:gd name="connsiteY20" fmla="*/ 50887 h 582861"/>
                <a:gd name="connsiteX21" fmla="*/ 50678 w 749243"/>
                <a:gd name="connsiteY21" fmla="*/ 27785 h 582861"/>
                <a:gd name="connsiteX22" fmla="*/ 50886 w 749243"/>
                <a:gd name="connsiteY22" fmla="*/ 27785 h 582861"/>
                <a:gd name="connsiteX23" fmla="*/ 698566 w 749243"/>
                <a:gd name="connsiteY23" fmla="*/ 27785 h 582861"/>
                <a:gd name="connsiteX24" fmla="*/ 721667 w 749243"/>
                <a:gd name="connsiteY24" fmla="*/ 50887 h 582861"/>
                <a:gd name="connsiteX25" fmla="*/ 721667 w 749243"/>
                <a:gd name="connsiteY25" fmla="*/ 83251 h 582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749243" h="582861">
                  <a:moveTo>
                    <a:pt x="721667" y="231334"/>
                  </a:moveTo>
                  <a:lnTo>
                    <a:pt x="749244" y="231334"/>
                  </a:lnTo>
                  <a:lnTo>
                    <a:pt x="749244" y="50887"/>
                  </a:lnTo>
                  <a:cubicBezTo>
                    <a:pt x="749192" y="22811"/>
                    <a:pt x="726433" y="63"/>
                    <a:pt x="698358" y="0"/>
                  </a:cubicBezTo>
                  <a:lnTo>
                    <a:pt x="50886" y="0"/>
                  </a:lnTo>
                  <a:cubicBezTo>
                    <a:pt x="22779" y="0"/>
                    <a:pt x="0" y="22780"/>
                    <a:pt x="0" y="50887"/>
                  </a:cubicBezTo>
                  <a:lnTo>
                    <a:pt x="0" y="531974"/>
                  </a:lnTo>
                  <a:cubicBezTo>
                    <a:pt x="0" y="560082"/>
                    <a:pt x="22779" y="582862"/>
                    <a:pt x="50886" y="582862"/>
                  </a:cubicBezTo>
                  <a:lnTo>
                    <a:pt x="527384" y="582862"/>
                  </a:lnTo>
                  <a:lnTo>
                    <a:pt x="527384" y="555181"/>
                  </a:lnTo>
                  <a:lnTo>
                    <a:pt x="50886" y="555181"/>
                  </a:lnTo>
                  <a:cubicBezTo>
                    <a:pt x="38128" y="555181"/>
                    <a:pt x="27784" y="544837"/>
                    <a:pt x="27784" y="532079"/>
                  </a:cubicBezTo>
                  <a:cubicBezTo>
                    <a:pt x="27784" y="532047"/>
                    <a:pt x="27784" y="532006"/>
                    <a:pt x="27784" y="531974"/>
                  </a:cubicBezTo>
                  <a:lnTo>
                    <a:pt x="27784" y="508873"/>
                  </a:lnTo>
                  <a:lnTo>
                    <a:pt x="527280" y="508873"/>
                  </a:lnTo>
                  <a:lnTo>
                    <a:pt x="527280" y="490349"/>
                  </a:lnTo>
                  <a:lnTo>
                    <a:pt x="27784" y="490349"/>
                  </a:lnTo>
                  <a:lnTo>
                    <a:pt x="27784" y="101774"/>
                  </a:lnTo>
                  <a:lnTo>
                    <a:pt x="721667" y="101774"/>
                  </a:lnTo>
                  <a:close/>
                  <a:moveTo>
                    <a:pt x="27784" y="83251"/>
                  </a:moveTo>
                  <a:lnTo>
                    <a:pt x="27784" y="50887"/>
                  </a:lnTo>
                  <a:cubicBezTo>
                    <a:pt x="27722" y="38181"/>
                    <a:pt x="37972" y="27847"/>
                    <a:pt x="50678" y="27785"/>
                  </a:cubicBezTo>
                  <a:cubicBezTo>
                    <a:pt x="50751" y="27785"/>
                    <a:pt x="50813" y="27785"/>
                    <a:pt x="50886" y="27785"/>
                  </a:cubicBezTo>
                  <a:lnTo>
                    <a:pt x="698566" y="27785"/>
                  </a:lnTo>
                  <a:cubicBezTo>
                    <a:pt x="711324" y="27785"/>
                    <a:pt x="721667" y="38129"/>
                    <a:pt x="721667" y="50887"/>
                  </a:cubicBezTo>
                  <a:lnTo>
                    <a:pt x="721667" y="83251"/>
                  </a:ln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eform 71">
              <a:extLst>
                <a:ext uri="{FF2B5EF4-FFF2-40B4-BE49-F238E27FC236}">
                  <a16:creationId xmlns:a16="http://schemas.microsoft.com/office/drawing/2014/main" id="{5FE4AB36-CE4F-B646-AF21-55D97BB98959}"/>
                </a:ext>
              </a:extLst>
            </p:cNvPr>
            <p:cNvSpPr/>
            <p:nvPr/>
          </p:nvSpPr>
          <p:spPr>
            <a:xfrm>
              <a:off x="11049056" y="5105074"/>
              <a:ext cx="337680" cy="115615"/>
            </a:xfrm>
            <a:custGeom>
              <a:avLst/>
              <a:gdLst>
                <a:gd name="connsiteX0" fmla="*/ 138714 w 337680"/>
                <a:gd name="connsiteY0" fmla="*/ 0 h 115615"/>
                <a:gd name="connsiteX1" fmla="*/ 111034 w 337680"/>
                <a:gd name="connsiteY1" fmla="*/ 0 h 115615"/>
                <a:gd name="connsiteX2" fmla="*/ 111034 w 337680"/>
                <a:gd name="connsiteY2" fmla="*/ 55466 h 115615"/>
                <a:gd name="connsiteX3" fmla="*/ 78567 w 337680"/>
                <a:gd name="connsiteY3" fmla="*/ 87934 h 115615"/>
                <a:gd name="connsiteX4" fmla="*/ 0 w 337680"/>
                <a:gd name="connsiteY4" fmla="*/ 87934 h 115615"/>
                <a:gd name="connsiteX5" fmla="*/ 0 w 337680"/>
                <a:gd name="connsiteY5" fmla="*/ 115615 h 115615"/>
                <a:gd name="connsiteX6" fmla="*/ 337680 w 337680"/>
                <a:gd name="connsiteY6" fmla="*/ 115615 h 115615"/>
                <a:gd name="connsiteX7" fmla="*/ 337680 w 337680"/>
                <a:gd name="connsiteY7" fmla="*/ 87934 h 115615"/>
                <a:gd name="connsiteX8" fmla="*/ 291373 w 337680"/>
                <a:gd name="connsiteY8" fmla="*/ 87934 h 115615"/>
                <a:gd name="connsiteX9" fmla="*/ 259010 w 337680"/>
                <a:gd name="connsiteY9" fmla="*/ 55466 h 115615"/>
                <a:gd name="connsiteX10" fmla="*/ 259010 w 337680"/>
                <a:gd name="connsiteY10" fmla="*/ 0 h 115615"/>
                <a:gd name="connsiteX11" fmla="*/ 231225 w 337680"/>
                <a:gd name="connsiteY11" fmla="*/ 0 h 115615"/>
                <a:gd name="connsiteX12" fmla="*/ 231225 w 337680"/>
                <a:gd name="connsiteY12" fmla="*/ 55466 h 115615"/>
                <a:gd name="connsiteX13" fmla="*/ 240799 w 337680"/>
                <a:gd name="connsiteY13" fmla="*/ 87934 h 115615"/>
                <a:gd name="connsiteX14" fmla="*/ 129141 w 337680"/>
                <a:gd name="connsiteY14" fmla="*/ 87934 h 115615"/>
                <a:gd name="connsiteX15" fmla="*/ 138714 w 337680"/>
                <a:gd name="connsiteY15" fmla="*/ 55466 h 11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37680" h="115615">
                  <a:moveTo>
                    <a:pt x="138714" y="0"/>
                  </a:moveTo>
                  <a:lnTo>
                    <a:pt x="111034" y="0"/>
                  </a:lnTo>
                  <a:lnTo>
                    <a:pt x="111034" y="55466"/>
                  </a:lnTo>
                  <a:cubicBezTo>
                    <a:pt x="111034" y="73396"/>
                    <a:pt x="96496" y="87934"/>
                    <a:pt x="78567" y="87934"/>
                  </a:cubicBezTo>
                  <a:lnTo>
                    <a:pt x="0" y="87934"/>
                  </a:lnTo>
                  <a:lnTo>
                    <a:pt x="0" y="115615"/>
                  </a:lnTo>
                  <a:lnTo>
                    <a:pt x="337680" y="115615"/>
                  </a:lnTo>
                  <a:lnTo>
                    <a:pt x="337680" y="87934"/>
                  </a:lnTo>
                  <a:lnTo>
                    <a:pt x="291373" y="87934"/>
                  </a:lnTo>
                  <a:cubicBezTo>
                    <a:pt x="273485" y="87872"/>
                    <a:pt x="259010" y="73355"/>
                    <a:pt x="259010" y="55466"/>
                  </a:cubicBezTo>
                  <a:lnTo>
                    <a:pt x="259010" y="0"/>
                  </a:lnTo>
                  <a:lnTo>
                    <a:pt x="231225" y="0"/>
                  </a:lnTo>
                  <a:lnTo>
                    <a:pt x="231225" y="55466"/>
                  </a:lnTo>
                  <a:cubicBezTo>
                    <a:pt x="231215" y="66986"/>
                    <a:pt x="234545" y="78256"/>
                    <a:pt x="240799" y="87934"/>
                  </a:cubicBezTo>
                  <a:lnTo>
                    <a:pt x="129141" y="87934"/>
                  </a:lnTo>
                  <a:cubicBezTo>
                    <a:pt x="135395" y="78256"/>
                    <a:pt x="138725" y="66986"/>
                    <a:pt x="138714" y="55466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eform 72">
              <a:extLst>
                <a:ext uri="{FF2B5EF4-FFF2-40B4-BE49-F238E27FC236}">
                  <a16:creationId xmlns:a16="http://schemas.microsoft.com/office/drawing/2014/main" id="{A4B432C9-A0BE-1448-9E84-D9E2BB0BC98A}"/>
                </a:ext>
              </a:extLst>
            </p:cNvPr>
            <p:cNvSpPr/>
            <p:nvPr/>
          </p:nvSpPr>
          <p:spPr>
            <a:xfrm>
              <a:off x="11222423" y="4547500"/>
              <a:ext cx="23101" cy="23102"/>
            </a:xfrm>
            <a:custGeom>
              <a:avLst/>
              <a:gdLst>
                <a:gd name="connsiteX0" fmla="*/ 11551 w 23101"/>
                <a:gd name="connsiteY0" fmla="*/ 0 h 23102"/>
                <a:gd name="connsiteX1" fmla="*/ 0 w 23101"/>
                <a:gd name="connsiteY1" fmla="*/ 11551 h 23102"/>
                <a:gd name="connsiteX2" fmla="*/ 11551 w 23101"/>
                <a:gd name="connsiteY2" fmla="*/ 23102 h 23102"/>
                <a:gd name="connsiteX3" fmla="*/ 23101 w 23101"/>
                <a:gd name="connsiteY3" fmla="*/ 11551 h 23102"/>
                <a:gd name="connsiteX4" fmla="*/ 11551 w 23101"/>
                <a:gd name="connsiteY4" fmla="*/ 0 h 2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101" h="23102">
                  <a:moveTo>
                    <a:pt x="11551" y="0"/>
                  </a:moveTo>
                  <a:cubicBezTo>
                    <a:pt x="5172" y="0"/>
                    <a:pt x="0" y="5172"/>
                    <a:pt x="0" y="11551"/>
                  </a:cubicBezTo>
                  <a:cubicBezTo>
                    <a:pt x="0" y="17930"/>
                    <a:pt x="5172" y="23102"/>
                    <a:pt x="11551" y="23102"/>
                  </a:cubicBezTo>
                  <a:cubicBezTo>
                    <a:pt x="17929" y="23102"/>
                    <a:pt x="23101" y="17930"/>
                    <a:pt x="23101" y="11551"/>
                  </a:cubicBezTo>
                  <a:cubicBezTo>
                    <a:pt x="23101" y="5172"/>
                    <a:pt x="17929" y="0"/>
                    <a:pt x="11551" y="0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eform 73">
              <a:extLst>
                <a:ext uri="{FF2B5EF4-FFF2-40B4-BE49-F238E27FC236}">
                  <a16:creationId xmlns:a16="http://schemas.microsoft.com/office/drawing/2014/main" id="{86B47375-9A54-644A-9F31-54BB88E7E2B1}"/>
                </a:ext>
              </a:extLst>
            </p:cNvPr>
            <p:cNvSpPr/>
            <p:nvPr/>
          </p:nvSpPr>
          <p:spPr>
            <a:xfrm>
              <a:off x="11268730" y="5021823"/>
              <a:ext cx="23310" cy="23310"/>
            </a:xfrm>
            <a:custGeom>
              <a:avLst/>
              <a:gdLst>
                <a:gd name="connsiteX0" fmla="*/ 0 w 23310"/>
                <a:gd name="connsiteY0" fmla="*/ 11551 h 23310"/>
                <a:gd name="connsiteX1" fmla="*/ 11551 w 23310"/>
                <a:gd name="connsiteY1" fmla="*/ 23310 h 23310"/>
                <a:gd name="connsiteX2" fmla="*/ 23310 w 23310"/>
                <a:gd name="connsiteY2" fmla="*/ 11759 h 23310"/>
                <a:gd name="connsiteX3" fmla="*/ 11759 w 23310"/>
                <a:gd name="connsiteY3" fmla="*/ 0 h 23310"/>
                <a:gd name="connsiteX4" fmla="*/ 11551 w 23310"/>
                <a:gd name="connsiteY4" fmla="*/ 0 h 23310"/>
                <a:gd name="connsiteX5" fmla="*/ 0 w 23310"/>
                <a:gd name="connsiteY5" fmla="*/ 11551 h 23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310" h="23310">
                  <a:moveTo>
                    <a:pt x="0" y="11551"/>
                  </a:moveTo>
                  <a:cubicBezTo>
                    <a:pt x="-52" y="17993"/>
                    <a:pt x="5109" y="23248"/>
                    <a:pt x="11551" y="23310"/>
                  </a:cubicBezTo>
                  <a:cubicBezTo>
                    <a:pt x="17992" y="23362"/>
                    <a:pt x="23247" y="18191"/>
                    <a:pt x="23310" y="11759"/>
                  </a:cubicBezTo>
                  <a:cubicBezTo>
                    <a:pt x="23362" y="5318"/>
                    <a:pt x="18190" y="63"/>
                    <a:pt x="11759" y="0"/>
                  </a:cubicBezTo>
                  <a:cubicBezTo>
                    <a:pt x="11686" y="0"/>
                    <a:pt x="11623" y="0"/>
                    <a:pt x="11551" y="0"/>
                  </a:cubicBezTo>
                  <a:cubicBezTo>
                    <a:pt x="5172" y="0"/>
                    <a:pt x="0" y="5172"/>
                    <a:pt x="0" y="11551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eform 74">
              <a:extLst>
                <a:ext uri="{FF2B5EF4-FFF2-40B4-BE49-F238E27FC236}">
                  <a16:creationId xmlns:a16="http://schemas.microsoft.com/office/drawing/2014/main" id="{57939640-2362-734A-992C-AD8C92C73B8F}"/>
                </a:ext>
              </a:extLst>
            </p:cNvPr>
            <p:cNvSpPr/>
            <p:nvPr/>
          </p:nvSpPr>
          <p:spPr>
            <a:xfrm>
              <a:off x="11222527" y="5021823"/>
              <a:ext cx="23101" cy="23102"/>
            </a:xfrm>
            <a:custGeom>
              <a:avLst/>
              <a:gdLst>
                <a:gd name="connsiteX0" fmla="*/ 0 w 23101"/>
                <a:gd name="connsiteY0" fmla="*/ 11551 h 23102"/>
                <a:gd name="connsiteX1" fmla="*/ 11551 w 23101"/>
                <a:gd name="connsiteY1" fmla="*/ 23102 h 23102"/>
                <a:gd name="connsiteX2" fmla="*/ 23101 w 23101"/>
                <a:gd name="connsiteY2" fmla="*/ 11551 h 23102"/>
                <a:gd name="connsiteX3" fmla="*/ 11551 w 23101"/>
                <a:gd name="connsiteY3" fmla="*/ 0 h 23102"/>
                <a:gd name="connsiteX4" fmla="*/ 0 w 23101"/>
                <a:gd name="connsiteY4" fmla="*/ 11551 h 2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101" h="23102">
                  <a:moveTo>
                    <a:pt x="0" y="11551"/>
                  </a:moveTo>
                  <a:cubicBezTo>
                    <a:pt x="0" y="17930"/>
                    <a:pt x="5171" y="23102"/>
                    <a:pt x="11551" y="23102"/>
                  </a:cubicBezTo>
                  <a:cubicBezTo>
                    <a:pt x="17929" y="23102"/>
                    <a:pt x="23101" y="17930"/>
                    <a:pt x="23101" y="11551"/>
                  </a:cubicBezTo>
                  <a:cubicBezTo>
                    <a:pt x="23101" y="5172"/>
                    <a:pt x="17929" y="0"/>
                    <a:pt x="11551" y="0"/>
                  </a:cubicBezTo>
                  <a:cubicBezTo>
                    <a:pt x="5171" y="0"/>
                    <a:pt x="0" y="5172"/>
                    <a:pt x="0" y="11551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eform 75">
              <a:extLst>
                <a:ext uri="{FF2B5EF4-FFF2-40B4-BE49-F238E27FC236}">
                  <a16:creationId xmlns:a16="http://schemas.microsoft.com/office/drawing/2014/main" id="{7BAFBC5D-A1EB-254D-A6CB-A35774A04D68}"/>
                </a:ext>
              </a:extLst>
            </p:cNvPr>
            <p:cNvSpPr/>
            <p:nvPr/>
          </p:nvSpPr>
          <p:spPr>
            <a:xfrm>
              <a:off x="11176220" y="5021823"/>
              <a:ext cx="23101" cy="23102"/>
            </a:xfrm>
            <a:custGeom>
              <a:avLst/>
              <a:gdLst>
                <a:gd name="connsiteX0" fmla="*/ 0 w 23101"/>
                <a:gd name="connsiteY0" fmla="*/ 11551 h 23102"/>
                <a:gd name="connsiteX1" fmla="*/ 11551 w 23101"/>
                <a:gd name="connsiteY1" fmla="*/ 23102 h 23102"/>
                <a:gd name="connsiteX2" fmla="*/ 23101 w 23101"/>
                <a:gd name="connsiteY2" fmla="*/ 11551 h 23102"/>
                <a:gd name="connsiteX3" fmla="*/ 11551 w 23101"/>
                <a:gd name="connsiteY3" fmla="*/ 0 h 23102"/>
                <a:gd name="connsiteX4" fmla="*/ 0 w 23101"/>
                <a:gd name="connsiteY4" fmla="*/ 11551 h 2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101" h="23102">
                  <a:moveTo>
                    <a:pt x="0" y="11551"/>
                  </a:moveTo>
                  <a:cubicBezTo>
                    <a:pt x="0" y="17930"/>
                    <a:pt x="5172" y="23102"/>
                    <a:pt x="11551" y="23102"/>
                  </a:cubicBezTo>
                  <a:cubicBezTo>
                    <a:pt x="17929" y="23102"/>
                    <a:pt x="23101" y="17930"/>
                    <a:pt x="23101" y="11551"/>
                  </a:cubicBezTo>
                  <a:cubicBezTo>
                    <a:pt x="23101" y="5172"/>
                    <a:pt x="17929" y="0"/>
                    <a:pt x="11551" y="0"/>
                  </a:cubicBezTo>
                  <a:cubicBezTo>
                    <a:pt x="5172" y="0"/>
                    <a:pt x="0" y="5172"/>
                    <a:pt x="0" y="11551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Freeform 76">
              <a:extLst>
                <a:ext uri="{FF2B5EF4-FFF2-40B4-BE49-F238E27FC236}">
                  <a16:creationId xmlns:a16="http://schemas.microsoft.com/office/drawing/2014/main" id="{A0278BC6-CF3A-684B-A2F3-204006D34997}"/>
                </a:ext>
              </a:extLst>
            </p:cNvPr>
            <p:cNvSpPr/>
            <p:nvPr/>
          </p:nvSpPr>
          <p:spPr>
            <a:xfrm>
              <a:off x="11104209" y="4665716"/>
              <a:ext cx="258488" cy="258495"/>
            </a:xfrm>
            <a:custGeom>
              <a:avLst/>
              <a:gdLst>
                <a:gd name="connsiteX0" fmla="*/ 0 w 258488"/>
                <a:gd name="connsiteY0" fmla="*/ 129144 h 258495"/>
                <a:gd name="connsiteX1" fmla="*/ 129140 w 258488"/>
                <a:gd name="connsiteY1" fmla="*/ 258496 h 258495"/>
                <a:gd name="connsiteX2" fmla="*/ 258489 w 258488"/>
                <a:gd name="connsiteY2" fmla="*/ 129352 h 258495"/>
                <a:gd name="connsiteX3" fmla="*/ 129765 w 258488"/>
                <a:gd name="connsiteY3" fmla="*/ 1 h 258495"/>
                <a:gd name="connsiteX4" fmla="*/ 0 w 258488"/>
                <a:gd name="connsiteY4" fmla="*/ 128728 h 258495"/>
                <a:gd name="connsiteX5" fmla="*/ 0 w 258488"/>
                <a:gd name="connsiteY5" fmla="*/ 129144 h 258495"/>
                <a:gd name="connsiteX6" fmla="*/ 23726 w 258488"/>
                <a:gd name="connsiteY6" fmla="*/ 88768 h 258495"/>
                <a:gd name="connsiteX7" fmla="*/ 86163 w 258488"/>
                <a:gd name="connsiteY7" fmla="*/ 24768 h 258495"/>
                <a:gd name="connsiteX8" fmla="*/ 60147 w 258488"/>
                <a:gd name="connsiteY8" fmla="*/ 88768 h 258495"/>
                <a:gd name="connsiteX9" fmla="*/ 18835 w 258488"/>
                <a:gd name="connsiteY9" fmla="*/ 153391 h 258495"/>
                <a:gd name="connsiteX10" fmla="*/ 16962 w 258488"/>
                <a:gd name="connsiteY10" fmla="*/ 141736 h 258495"/>
                <a:gd name="connsiteX11" fmla="*/ 16962 w 258488"/>
                <a:gd name="connsiteY11" fmla="*/ 141736 h 258495"/>
                <a:gd name="connsiteX12" fmla="*/ 16962 w 258488"/>
                <a:gd name="connsiteY12" fmla="*/ 117177 h 258495"/>
                <a:gd name="connsiteX13" fmla="*/ 16962 w 258488"/>
                <a:gd name="connsiteY13" fmla="*/ 117177 h 258495"/>
                <a:gd name="connsiteX14" fmla="*/ 18835 w 258488"/>
                <a:gd name="connsiteY14" fmla="*/ 105522 h 258495"/>
                <a:gd name="connsiteX15" fmla="*/ 57858 w 258488"/>
                <a:gd name="connsiteY15" fmla="*/ 105522 h 258495"/>
                <a:gd name="connsiteX16" fmla="*/ 57858 w 258488"/>
                <a:gd name="connsiteY16" fmla="*/ 154015 h 258495"/>
                <a:gd name="connsiteX17" fmla="*/ 23726 w 258488"/>
                <a:gd name="connsiteY17" fmla="*/ 169521 h 258495"/>
                <a:gd name="connsiteX18" fmla="*/ 60043 w 258488"/>
                <a:gd name="connsiteY18" fmla="*/ 169521 h 258495"/>
                <a:gd name="connsiteX19" fmla="*/ 86059 w 258488"/>
                <a:gd name="connsiteY19" fmla="*/ 233625 h 258495"/>
                <a:gd name="connsiteX20" fmla="*/ 23726 w 258488"/>
                <a:gd name="connsiteY20" fmla="*/ 169521 h 258495"/>
                <a:gd name="connsiteX21" fmla="*/ 121127 w 258488"/>
                <a:gd name="connsiteY21" fmla="*/ 240805 h 258495"/>
                <a:gd name="connsiteX22" fmla="*/ 76589 w 258488"/>
                <a:gd name="connsiteY22" fmla="*/ 169521 h 258495"/>
                <a:gd name="connsiteX23" fmla="*/ 121127 w 258488"/>
                <a:gd name="connsiteY23" fmla="*/ 169521 h 258495"/>
                <a:gd name="connsiteX24" fmla="*/ 121127 w 258488"/>
                <a:gd name="connsiteY24" fmla="*/ 153391 h 258495"/>
                <a:gd name="connsiteX25" fmla="*/ 74092 w 258488"/>
                <a:gd name="connsiteY25" fmla="*/ 153391 h 258495"/>
                <a:gd name="connsiteX26" fmla="*/ 74092 w 258488"/>
                <a:gd name="connsiteY26" fmla="*/ 104898 h 258495"/>
                <a:gd name="connsiteX27" fmla="*/ 121127 w 258488"/>
                <a:gd name="connsiteY27" fmla="*/ 104898 h 258495"/>
                <a:gd name="connsiteX28" fmla="*/ 121127 w 258488"/>
                <a:gd name="connsiteY28" fmla="*/ 88768 h 258495"/>
                <a:gd name="connsiteX29" fmla="*/ 76589 w 258488"/>
                <a:gd name="connsiteY29" fmla="*/ 88768 h 258495"/>
                <a:gd name="connsiteX30" fmla="*/ 121127 w 258488"/>
                <a:gd name="connsiteY30" fmla="*/ 17484 h 258495"/>
                <a:gd name="connsiteX31" fmla="*/ 234659 w 258488"/>
                <a:gd name="connsiteY31" fmla="*/ 169521 h 258495"/>
                <a:gd name="connsiteX32" fmla="*/ 172222 w 258488"/>
                <a:gd name="connsiteY32" fmla="*/ 233625 h 258495"/>
                <a:gd name="connsiteX33" fmla="*/ 198237 w 258488"/>
                <a:gd name="connsiteY33" fmla="*/ 169521 h 258495"/>
                <a:gd name="connsiteX34" fmla="*/ 239550 w 258488"/>
                <a:gd name="connsiteY34" fmla="*/ 104898 h 258495"/>
                <a:gd name="connsiteX35" fmla="*/ 241527 w 258488"/>
                <a:gd name="connsiteY35" fmla="*/ 116553 h 258495"/>
                <a:gd name="connsiteX36" fmla="*/ 241527 w 258488"/>
                <a:gd name="connsiteY36" fmla="*/ 116553 h 258495"/>
                <a:gd name="connsiteX37" fmla="*/ 241527 w 258488"/>
                <a:gd name="connsiteY37" fmla="*/ 141112 h 258495"/>
                <a:gd name="connsiteX38" fmla="*/ 241527 w 258488"/>
                <a:gd name="connsiteY38" fmla="*/ 141112 h 258495"/>
                <a:gd name="connsiteX39" fmla="*/ 239550 w 258488"/>
                <a:gd name="connsiteY39" fmla="*/ 152767 h 258495"/>
                <a:gd name="connsiteX40" fmla="*/ 200631 w 258488"/>
                <a:gd name="connsiteY40" fmla="*/ 152767 h 258495"/>
                <a:gd name="connsiteX41" fmla="*/ 201879 w 258488"/>
                <a:gd name="connsiteY41" fmla="*/ 128520 h 258495"/>
                <a:gd name="connsiteX42" fmla="*/ 200631 w 258488"/>
                <a:gd name="connsiteY42" fmla="*/ 104273 h 258495"/>
                <a:gd name="connsiteX43" fmla="*/ 234659 w 258488"/>
                <a:gd name="connsiteY43" fmla="*/ 88768 h 258495"/>
                <a:gd name="connsiteX44" fmla="*/ 198342 w 258488"/>
                <a:gd name="connsiteY44" fmla="*/ 88768 h 258495"/>
                <a:gd name="connsiteX45" fmla="*/ 172326 w 258488"/>
                <a:gd name="connsiteY45" fmla="*/ 24768 h 258495"/>
                <a:gd name="connsiteX46" fmla="*/ 234659 w 258488"/>
                <a:gd name="connsiteY46" fmla="*/ 88768 h 258495"/>
                <a:gd name="connsiteX47" fmla="*/ 137257 w 258488"/>
                <a:gd name="connsiteY47" fmla="*/ 17484 h 258495"/>
                <a:gd name="connsiteX48" fmla="*/ 181795 w 258488"/>
                <a:gd name="connsiteY48" fmla="*/ 88768 h 258495"/>
                <a:gd name="connsiteX49" fmla="*/ 137257 w 258488"/>
                <a:gd name="connsiteY49" fmla="*/ 88768 h 258495"/>
                <a:gd name="connsiteX50" fmla="*/ 137257 w 258488"/>
                <a:gd name="connsiteY50" fmla="*/ 104898 h 258495"/>
                <a:gd name="connsiteX51" fmla="*/ 184293 w 258488"/>
                <a:gd name="connsiteY51" fmla="*/ 104898 h 258495"/>
                <a:gd name="connsiteX52" fmla="*/ 184293 w 258488"/>
                <a:gd name="connsiteY52" fmla="*/ 153391 h 258495"/>
                <a:gd name="connsiteX53" fmla="*/ 137257 w 258488"/>
                <a:gd name="connsiteY53" fmla="*/ 153391 h 258495"/>
                <a:gd name="connsiteX54" fmla="*/ 137257 w 258488"/>
                <a:gd name="connsiteY54" fmla="*/ 169521 h 258495"/>
                <a:gd name="connsiteX55" fmla="*/ 181795 w 258488"/>
                <a:gd name="connsiteY55" fmla="*/ 169521 h 258495"/>
                <a:gd name="connsiteX56" fmla="*/ 137257 w 258488"/>
                <a:gd name="connsiteY56" fmla="*/ 240805 h 258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258488" h="258495">
                  <a:moveTo>
                    <a:pt x="0" y="129144"/>
                  </a:moveTo>
                  <a:cubicBezTo>
                    <a:pt x="-52" y="200522"/>
                    <a:pt x="57764" y="258433"/>
                    <a:pt x="129140" y="258496"/>
                  </a:cubicBezTo>
                  <a:cubicBezTo>
                    <a:pt x="200516" y="258548"/>
                    <a:pt x="258437" y="200730"/>
                    <a:pt x="258489" y="129352"/>
                  </a:cubicBezTo>
                  <a:cubicBezTo>
                    <a:pt x="258541" y="58131"/>
                    <a:pt x="200984" y="293"/>
                    <a:pt x="129765" y="1"/>
                  </a:cubicBezTo>
                  <a:cubicBezTo>
                    <a:pt x="58389" y="-290"/>
                    <a:pt x="291" y="57351"/>
                    <a:pt x="0" y="128728"/>
                  </a:cubicBezTo>
                  <a:cubicBezTo>
                    <a:pt x="0" y="128863"/>
                    <a:pt x="0" y="129009"/>
                    <a:pt x="0" y="129144"/>
                  </a:cubicBezTo>
                  <a:close/>
                  <a:moveTo>
                    <a:pt x="23726" y="88768"/>
                  </a:moveTo>
                  <a:cubicBezTo>
                    <a:pt x="34871" y="59765"/>
                    <a:pt x="57442" y="36621"/>
                    <a:pt x="86163" y="24768"/>
                  </a:cubicBezTo>
                  <a:cubicBezTo>
                    <a:pt x="72583" y="43760"/>
                    <a:pt x="63665" y="65686"/>
                    <a:pt x="60147" y="88768"/>
                  </a:cubicBezTo>
                  <a:close/>
                  <a:moveTo>
                    <a:pt x="18835" y="153391"/>
                  </a:moveTo>
                  <a:cubicBezTo>
                    <a:pt x="18002" y="149541"/>
                    <a:pt x="17378" y="145649"/>
                    <a:pt x="16962" y="141736"/>
                  </a:cubicBezTo>
                  <a:lnTo>
                    <a:pt x="16962" y="141736"/>
                  </a:lnTo>
                  <a:cubicBezTo>
                    <a:pt x="15994" y="133577"/>
                    <a:pt x="15994" y="125336"/>
                    <a:pt x="16962" y="117177"/>
                  </a:cubicBezTo>
                  <a:lnTo>
                    <a:pt x="16962" y="117177"/>
                  </a:lnTo>
                  <a:cubicBezTo>
                    <a:pt x="17378" y="113264"/>
                    <a:pt x="18002" y="109372"/>
                    <a:pt x="18835" y="105522"/>
                  </a:cubicBezTo>
                  <a:lnTo>
                    <a:pt x="57858" y="105522"/>
                  </a:lnTo>
                  <a:cubicBezTo>
                    <a:pt x="56058" y="121641"/>
                    <a:pt x="56058" y="137907"/>
                    <a:pt x="57858" y="154015"/>
                  </a:cubicBezTo>
                  <a:close/>
                  <a:moveTo>
                    <a:pt x="23726" y="169521"/>
                  </a:moveTo>
                  <a:lnTo>
                    <a:pt x="60043" y="169521"/>
                  </a:lnTo>
                  <a:cubicBezTo>
                    <a:pt x="63582" y="192634"/>
                    <a:pt x="72500" y="214581"/>
                    <a:pt x="86059" y="233625"/>
                  </a:cubicBezTo>
                  <a:cubicBezTo>
                    <a:pt x="57390" y="221667"/>
                    <a:pt x="34871" y="198513"/>
                    <a:pt x="23726" y="169521"/>
                  </a:cubicBezTo>
                  <a:close/>
                  <a:moveTo>
                    <a:pt x="121127" y="240805"/>
                  </a:moveTo>
                  <a:cubicBezTo>
                    <a:pt x="101043" y="234769"/>
                    <a:pt x="83977" y="206672"/>
                    <a:pt x="76589" y="169521"/>
                  </a:cubicBezTo>
                  <a:lnTo>
                    <a:pt x="121127" y="169521"/>
                  </a:lnTo>
                  <a:close/>
                  <a:moveTo>
                    <a:pt x="121127" y="153391"/>
                  </a:moveTo>
                  <a:lnTo>
                    <a:pt x="74092" y="153391"/>
                  </a:lnTo>
                  <a:cubicBezTo>
                    <a:pt x="72291" y="137272"/>
                    <a:pt x="72291" y="121006"/>
                    <a:pt x="74092" y="104898"/>
                  </a:cubicBezTo>
                  <a:lnTo>
                    <a:pt x="121127" y="104898"/>
                  </a:lnTo>
                  <a:close/>
                  <a:moveTo>
                    <a:pt x="121127" y="88768"/>
                  </a:moveTo>
                  <a:lnTo>
                    <a:pt x="76589" y="88768"/>
                  </a:lnTo>
                  <a:cubicBezTo>
                    <a:pt x="83977" y="51617"/>
                    <a:pt x="101043" y="23520"/>
                    <a:pt x="121127" y="17484"/>
                  </a:cubicBezTo>
                  <a:close/>
                  <a:moveTo>
                    <a:pt x="234659" y="169521"/>
                  </a:moveTo>
                  <a:cubicBezTo>
                    <a:pt x="223493" y="198534"/>
                    <a:pt x="200922" y="221699"/>
                    <a:pt x="172222" y="233625"/>
                  </a:cubicBezTo>
                  <a:cubicBezTo>
                    <a:pt x="185833" y="214612"/>
                    <a:pt x="194741" y="192644"/>
                    <a:pt x="198237" y="169521"/>
                  </a:cubicBezTo>
                  <a:close/>
                  <a:moveTo>
                    <a:pt x="239550" y="104898"/>
                  </a:moveTo>
                  <a:cubicBezTo>
                    <a:pt x="240382" y="108748"/>
                    <a:pt x="241007" y="112598"/>
                    <a:pt x="241527" y="116553"/>
                  </a:cubicBezTo>
                  <a:lnTo>
                    <a:pt x="241527" y="116553"/>
                  </a:lnTo>
                  <a:cubicBezTo>
                    <a:pt x="242495" y="124711"/>
                    <a:pt x="242495" y="132953"/>
                    <a:pt x="241527" y="141112"/>
                  </a:cubicBezTo>
                  <a:lnTo>
                    <a:pt x="241527" y="141112"/>
                  </a:lnTo>
                  <a:cubicBezTo>
                    <a:pt x="241527" y="145066"/>
                    <a:pt x="240382" y="148916"/>
                    <a:pt x="239550" y="152767"/>
                  </a:cubicBezTo>
                  <a:lnTo>
                    <a:pt x="200631" y="152767"/>
                  </a:lnTo>
                  <a:cubicBezTo>
                    <a:pt x="201359" y="144858"/>
                    <a:pt x="201879" y="136845"/>
                    <a:pt x="201879" y="128520"/>
                  </a:cubicBezTo>
                  <a:cubicBezTo>
                    <a:pt x="201879" y="120195"/>
                    <a:pt x="201879" y="112182"/>
                    <a:pt x="200631" y="104273"/>
                  </a:cubicBezTo>
                  <a:close/>
                  <a:moveTo>
                    <a:pt x="234659" y="88768"/>
                  </a:moveTo>
                  <a:lnTo>
                    <a:pt x="198342" y="88768"/>
                  </a:lnTo>
                  <a:cubicBezTo>
                    <a:pt x="194865" y="65676"/>
                    <a:pt x="185947" y="43739"/>
                    <a:pt x="172326" y="24768"/>
                  </a:cubicBezTo>
                  <a:cubicBezTo>
                    <a:pt x="201005" y="36642"/>
                    <a:pt x="223545" y="59786"/>
                    <a:pt x="234659" y="88768"/>
                  </a:cubicBezTo>
                  <a:close/>
                  <a:moveTo>
                    <a:pt x="137257" y="17484"/>
                  </a:moveTo>
                  <a:cubicBezTo>
                    <a:pt x="157445" y="23520"/>
                    <a:pt x="174407" y="51617"/>
                    <a:pt x="181795" y="88768"/>
                  </a:cubicBezTo>
                  <a:lnTo>
                    <a:pt x="137257" y="88768"/>
                  </a:lnTo>
                  <a:close/>
                  <a:moveTo>
                    <a:pt x="137257" y="104898"/>
                  </a:moveTo>
                  <a:lnTo>
                    <a:pt x="184293" y="104898"/>
                  </a:lnTo>
                  <a:cubicBezTo>
                    <a:pt x="186239" y="121006"/>
                    <a:pt x="186239" y="137282"/>
                    <a:pt x="184293" y="153391"/>
                  </a:cubicBezTo>
                  <a:lnTo>
                    <a:pt x="137257" y="153391"/>
                  </a:lnTo>
                  <a:close/>
                  <a:moveTo>
                    <a:pt x="137257" y="169521"/>
                  </a:moveTo>
                  <a:lnTo>
                    <a:pt x="181795" y="169521"/>
                  </a:lnTo>
                  <a:cubicBezTo>
                    <a:pt x="174407" y="206672"/>
                    <a:pt x="157445" y="234769"/>
                    <a:pt x="137257" y="240805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eform 77">
              <a:extLst>
                <a:ext uri="{FF2B5EF4-FFF2-40B4-BE49-F238E27FC236}">
                  <a16:creationId xmlns:a16="http://schemas.microsoft.com/office/drawing/2014/main" id="{211261E3-9032-4946-B532-B9528058B4E1}"/>
                </a:ext>
              </a:extLst>
            </p:cNvPr>
            <p:cNvSpPr/>
            <p:nvPr/>
          </p:nvSpPr>
          <p:spPr>
            <a:xfrm>
              <a:off x="9623828" y="2365281"/>
              <a:ext cx="47763" cy="74613"/>
            </a:xfrm>
            <a:custGeom>
              <a:avLst/>
              <a:gdLst>
                <a:gd name="connsiteX0" fmla="*/ 25079 w 47763"/>
                <a:gd name="connsiteY0" fmla="*/ 0 h 74613"/>
                <a:gd name="connsiteX1" fmla="*/ 22581 w 47763"/>
                <a:gd name="connsiteY1" fmla="*/ 0 h 74613"/>
                <a:gd name="connsiteX2" fmla="*/ 0 w 47763"/>
                <a:gd name="connsiteY2" fmla="*/ 22582 h 74613"/>
                <a:gd name="connsiteX3" fmla="*/ 0 w 47763"/>
                <a:gd name="connsiteY3" fmla="*/ 52032 h 74613"/>
                <a:gd name="connsiteX4" fmla="*/ 22581 w 47763"/>
                <a:gd name="connsiteY4" fmla="*/ 74614 h 74613"/>
                <a:gd name="connsiteX5" fmla="*/ 25079 w 47763"/>
                <a:gd name="connsiteY5" fmla="*/ 74614 h 74613"/>
                <a:gd name="connsiteX6" fmla="*/ 47764 w 47763"/>
                <a:gd name="connsiteY6" fmla="*/ 52032 h 74613"/>
                <a:gd name="connsiteX7" fmla="*/ 47764 w 47763"/>
                <a:gd name="connsiteY7" fmla="*/ 22374 h 74613"/>
                <a:gd name="connsiteX8" fmla="*/ 25079 w 47763"/>
                <a:gd name="connsiteY8" fmla="*/ 0 h 74613"/>
                <a:gd name="connsiteX9" fmla="*/ 34340 w 47763"/>
                <a:gd name="connsiteY9" fmla="*/ 45684 h 74613"/>
                <a:gd name="connsiteX10" fmla="*/ 23934 w 47763"/>
                <a:gd name="connsiteY10" fmla="*/ 58276 h 74613"/>
                <a:gd name="connsiteX11" fmla="*/ 22790 w 47763"/>
                <a:gd name="connsiteY11" fmla="*/ 58276 h 74613"/>
                <a:gd name="connsiteX12" fmla="*/ 12383 w 47763"/>
                <a:gd name="connsiteY12" fmla="*/ 45684 h 74613"/>
                <a:gd name="connsiteX13" fmla="*/ 12383 w 47763"/>
                <a:gd name="connsiteY13" fmla="*/ 29138 h 74613"/>
                <a:gd name="connsiteX14" fmla="*/ 22790 w 47763"/>
                <a:gd name="connsiteY14" fmla="*/ 16546 h 74613"/>
                <a:gd name="connsiteX15" fmla="*/ 23934 w 47763"/>
                <a:gd name="connsiteY15" fmla="*/ 16546 h 74613"/>
                <a:gd name="connsiteX16" fmla="*/ 34340 w 47763"/>
                <a:gd name="connsiteY16" fmla="*/ 29138 h 74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763" h="74613">
                  <a:moveTo>
                    <a:pt x="25079" y="0"/>
                  </a:moveTo>
                  <a:lnTo>
                    <a:pt x="22581" y="0"/>
                  </a:lnTo>
                  <a:cubicBezTo>
                    <a:pt x="10115" y="0"/>
                    <a:pt x="0" y="10115"/>
                    <a:pt x="0" y="22582"/>
                  </a:cubicBezTo>
                  <a:lnTo>
                    <a:pt x="0" y="52032"/>
                  </a:lnTo>
                  <a:cubicBezTo>
                    <a:pt x="0" y="64499"/>
                    <a:pt x="10115" y="74614"/>
                    <a:pt x="22581" y="74614"/>
                  </a:cubicBezTo>
                  <a:lnTo>
                    <a:pt x="25079" y="74614"/>
                  </a:lnTo>
                  <a:cubicBezTo>
                    <a:pt x="37566" y="74614"/>
                    <a:pt x="47702" y="64520"/>
                    <a:pt x="47764" y="52032"/>
                  </a:cubicBezTo>
                  <a:lnTo>
                    <a:pt x="47764" y="22374"/>
                  </a:lnTo>
                  <a:cubicBezTo>
                    <a:pt x="47598" y="9969"/>
                    <a:pt x="37483" y="0"/>
                    <a:pt x="25079" y="0"/>
                  </a:cubicBezTo>
                  <a:close/>
                  <a:moveTo>
                    <a:pt x="34340" y="45684"/>
                  </a:moveTo>
                  <a:cubicBezTo>
                    <a:pt x="34944" y="52032"/>
                    <a:pt x="30282" y="57672"/>
                    <a:pt x="23934" y="58276"/>
                  </a:cubicBezTo>
                  <a:lnTo>
                    <a:pt x="22790" y="58276"/>
                  </a:lnTo>
                  <a:cubicBezTo>
                    <a:pt x="16441" y="57672"/>
                    <a:pt x="11779" y="52032"/>
                    <a:pt x="12383" y="45684"/>
                  </a:cubicBezTo>
                  <a:lnTo>
                    <a:pt x="12383" y="29138"/>
                  </a:lnTo>
                  <a:cubicBezTo>
                    <a:pt x="11779" y="22790"/>
                    <a:pt x="16441" y="17150"/>
                    <a:pt x="22790" y="16546"/>
                  </a:cubicBezTo>
                  <a:lnTo>
                    <a:pt x="23934" y="16546"/>
                  </a:lnTo>
                  <a:cubicBezTo>
                    <a:pt x="30282" y="17150"/>
                    <a:pt x="34944" y="22790"/>
                    <a:pt x="34340" y="29138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" name="Freeform 78">
              <a:extLst>
                <a:ext uri="{FF2B5EF4-FFF2-40B4-BE49-F238E27FC236}">
                  <a16:creationId xmlns:a16="http://schemas.microsoft.com/office/drawing/2014/main" id="{7D9A494F-8EA2-BA49-8692-5C82433B66D4}"/>
                </a:ext>
              </a:extLst>
            </p:cNvPr>
            <p:cNvSpPr/>
            <p:nvPr/>
          </p:nvSpPr>
          <p:spPr>
            <a:xfrm>
              <a:off x="9576167" y="2456545"/>
              <a:ext cx="47660" cy="74718"/>
            </a:xfrm>
            <a:custGeom>
              <a:avLst/>
              <a:gdLst>
                <a:gd name="connsiteX0" fmla="*/ 25079 w 47660"/>
                <a:gd name="connsiteY0" fmla="*/ 0 h 74718"/>
                <a:gd name="connsiteX1" fmla="*/ 22581 w 47660"/>
                <a:gd name="connsiteY1" fmla="*/ 0 h 74718"/>
                <a:gd name="connsiteX2" fmla="*/ 0 w 47660"/>
                <a:gd name="connsiteY2" fmla="*/ 22374 h 74718"/>
                <a:gd name="connsiteX3" fmla="*/ 0 w 47660"/>
                <a:gd name="connsiteY3" fmla="*/ 22582 h 74718"/>
                <a:gd name="connsiteX4" fmla="*/ 0 w 47660"/>
                <a:gd name="connsiteY4" fmla="*/ 52240 h 74718"/>
                <a:gd name="connsiteX5" fmla="*/ 22270 w 47660"/>
                <a:gd name="connsiteY5" fmla="*/ 74718 h 74718"/>
                <a:gd name="connsiteX6" fmla="*/ 22581 w 47660"/>
                <a:gd name="connsiteY6" fmla="*/ 74718 h 74718"/>
                <a:gd name="connsiteX7" fmla="*/ 25079 w 47660"/>
                <a:gd name="connsiteY7" fmla="*/ 74718 h 74718"/>
                <a:gd name="connsiteX8" fmla="*/ 47661 w 47660"/>
                <a:gd name="connsiteY8" fmla="*/ 52344 h 74718"/>
                <a:gd name="connsiteX9" fmla="*/ 47661 w 47660"/>
                <a:gd name="connsiteY9" fmla="*/ 52240 h 74718"/>
                <a:gd name="connsiteX10" fmla="*/ 47661 w 47660"/>
                <a:gd name="connsiteY10" fmla="*/ 22582 h 74718"/>
                <a:gd name="connsiteX11" fmla="*/ 25079 w 47660"/>
                <a:gd name="connsiteY11" fmla="*/ 0 h 74718"/>
                <a:gd name="connsiteX12" fmla="*/ 34341 w 47660"/>
                <a:gd name="connsiteY12" fmla="*/ 45684 h 74718"/>
                <a:gd name="connsiteX13" fmla="*/ 23934 w 47660"/>
                <a:gd name="connsiteY13" fmla="*/ 58276 h 74718"/>
                <a:gd name="connsiteX14" fmla="*/ 22790 w 47660"/>
                <a:gd name="connsiteY14" fmla="*/ 58276 h 74718"/>
                <a:gd name="connsiteX15" fmla="*/ 12904 w 47660"/>
                <a:gd name="connsiteY15" fmla="*/ 45684 h 74718"/>
                <a:gd name="connsiteX16" fmla="*/ 12904 w 47660"/>
                <a:gd name="connsiteY16" fmla="*/ 29138 h 74718"/>
                <a:gd name="connsiteX17" fmla="*/ 22790 w 47660"/>
                <a:gd name="connsiteY17" fmla="*/ 16546 h 74718"/>
                <a:gd name="connsiteX18" fmla="*/ 24039 w 47660"/>
                <a:gd name="connsiteY18" fmla="*/ 16546 h 74718"/>
                <a:gd name="connsiteX19" fmla="*/ 34445 w 47660"/>
                <a:gd name="connsiteY19" fmla="*/ 29138 h 74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7660" h="74718">
                  <a:moveTo>
                    <a:pt x="25079" y="0"/>
                  </a:moveTo>
                  <a:lnTo>
                    <a:pt x="22581" y="0"/>
                  </a:lnTo>
                  <a:cubicBezTo>
                    <a:pt x="10167" y="-62"/>
                    <a:pt x="52" y="9959"/>
                    <a:pt x="0" y="22374"/>
                  </a:cubicBezTo>
                  <a:cubicBezTo>
                    <a:pt x="0" y="22447"/>
                    <a:pt x="0" y="22509"/>
                    <a:pt x="0" y="22582"/>
                  </a:cubicBezTo>
                  <a:lnTo>
                    <a:pt x="0" y="52240"/>
                  </a:lnTo>
                  <a:cubicBezTo>
                    <a:pt x="-62" y="64593"/>
                    <a:pt x="9907" y="74656"/>
                    <a:pt x="22270" y="74718"/>
                  </a:cubicBezTo>
                  <a:cubicBezTo>
                    <a:pt x="22374" y="74718"/>
                    <a:pt x="22477" y="74718"/>
                    <a:pt x="22581" y="74718"/>
                  </a:cubicBezTo>
                  <a:lnTo>
                    <a:pt x="25079" y="74718"/>
                  </a:lnTo>
                  <a:cubicBezTo>
                    <a:pt x="37494" y="74780"/>
                    <a:pt x="47598" y="64759"/>
                    <a:pt x="47661" y="52344"/>
                  </a:cubicBezTo>
                  <a:cubicBezTo>
                    <a:pt x="47661" y="52313"/>
                    <a:pt x="47661" y="52272"/>
                    <a:pt x="47661" y="52240"/>
                  </a:cubicBezTo>
                  <a:lnTo>
                    <a:pt x="47661" y="22582"/>
                  </a:lnTo>
                  <a:cubicBezTo>
                    <a:pt x="47661" y="10115"/>
                    <a:pt x="37545" y="0"/>
                    <a:pt x="25079" y="0"/>
                  </a:cubicBezTo>
                  <a:close/>
                  <a:moveTo>
                    <a:pt x="34341" y="45684"/>
                  </a:moveTo>
                  <a:cubicBezTo>
                    <a:pt x="34944" y="52032"/>
                    <a:pt x="30282" y="57672"/>
                    <a:pt x="23934" y="58276"/>
                  </a:cubicBezTo>
                  <a:lnTo>
                    <a:pt x="22790" y="58276"/>
                  </a:lnTo>
                  <a:cubicBezTo>
                    <a:pt x="16650" y="57412"/>
                    <a:pt x="12290" y="51855"/>
                    <a:pt x="12904" y="45684"/>
                  </a:cubicBezTo>
                  <a:lnTo>
                    <a:pt x="12904" y="29138"/>
                  </a:lnTo>
                  <a:cubicBezTo>
                    <a:pt x="12279" y="22967"/>
                    <a:pt x="16650" y="17410"/>
                    <a:pt x="22790" y="16546"/>
                  </a:cubicBezTo>
                  <a:lnTo>
                    <a:pt x="24039" y="16546"/>
                  </a:lnTo>
                  <a:cubicBezTo>
                    <a:pt x="30386" y="17150"/>
                    <a:pt x="35048" y="22790"/>
                    <a:pt x="34445" y="29138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" name="Freeform 79">
              <a:extLst>
                <a:ext uri="{FF2B5EF4-FFF2-40B4-BE49-F238E27FC236}">
                  <a16:creationId xmlns:a16="http://schemas.microsoft.com/office/drawing/2014/main" id="{B6E64AFF-8313-A14F-9516-1D055D1B18A5}"/>
                </a:ext>
              </a:extLst>
            </p:cNvPr>
            <p:cNvSpPr/>
            <p:nvPr/>
          </p:nvSpPr>
          <p:spPr>
            <a:xfrm>
              <a:off x="9585270" y="2366738"/>
              <a:ext cx="21745" cy="70243"/>
            </a:xfrm>
            <a:custGeom>
              <a:avLst/>
              <a:gdLst>
                <a:gd name="connsiteX0" fmla="*/ 8276 w 21745"/>
                <a:gd name="connsiteY0" fmla="*/ 0 h 70243"/>
                <a:gd name="connsiteX1" fmla="*/ 55 w 21745"/>
                <a:gd name="connsiteY1" fmla="*/ 10406 h 70243"/>
                <a:gd name="connsiteX2" fmla="*/ 55 w 21745"/>
                <a:gd name="connsiteY2" fmla="*/ 59837 h 70243"/>
                <a:gd name="connsiteX3" fmla="*/ 8276 w 21745"/>
                <a:gd name="connsiteY3" fmla="*/ 70243 h 70243"/>
                <a:gd name="connsiteX4" fmla="*/ 13479 w 21745"/>
                <a:gd name="connsiteY4" fmla="*/ 70243 h 70243"/>
                <a:gd name="connsiteX5" fmla="*/ 21700 w 21745"/>
                <a:gd name="connsiteY5" fmla="*/ 59837 h 70243"/>
                <a:gd name="connsiteX6" fmla="*/ 21700 w 21745"/>
                <a:gd name="connsiteY6" fmla="*/ 10406 h 70243"/>
                <a:gd name="connsiteX7" fmla="*/ 13479 w 21745"/>
                <a:gd name="connsiteY7" fmla="*/ 0 h 70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745" h="70243">
                  <a:moveTo>
                    <a:pt x="8276" y="0"/>
                  </a:moveTo>
                  <a:cubicBezTo>
                    <a:pt x="3156" y="656"/>
                    <a:pt x="-496" y="5276"/>
                    <a:pt x="55" y="10406"/>
                  </a:cubicBezTo>
                  <a:lnTo>
                    <a:pt x="55" y="59837"/>
                  </a:lnTo>
                  <a:cubicBezTo>
                    <a:pt x="-445" y="64946"/>
                    <a:pt x="3187" y="69546"/>
                    <a:pt x="8276" y="70243"/>
                  </a:cubicBezTo>
                  <a:lnTo>
                    <a:pt x="13479" y="70243"/>
                  </a:lnTo>
                  <a:cubicBezTo>
                    <a:pt x="18568" y="69546"/>
                    <a:pt x="22199" y="64946"/>
                    <a:pt x="21700" y="59837"/>
                  </a:cubicBezTo>
                  <a:lnTo>
                    <a:pt x="21700" y="10406"/>
                  </a:lnTo>
                  <a:cubicBezTo>
                    <a:pt x="22199" y="5297"/>
                    <a:pt x="18568" y="697"/>
                    <a:pt x="13479" y="0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1" name="Freeform 80">
              <a:extLst>
                <a:ext uri="{FF2B5EF4-FFF2-40B4-BE49-F238E27FC236}">
                  <a16:creationId xmlns:a16="http://schemas.microsoft.com/office/drawing/2014/main" id="{6D99E8E0-E983-094C-BCA4-537249F2FE0C}"/>
                </a:ext>
              </a:extLst>
            </p:cNvPr>
            <p:cNvSpPr/>
            <p:nvPr/>
          </p:nvSpPr>
          <p:spPr>
            <a:xfrm>
              <a:off x="9518101" y="2278180"/>
              <a:ext cx="47764" cy="74718"/>
            </a:xfrm>
            <a:custGeom>
              <a:avLst/>
              <a:gdLst>
                <a:gd name="connsiteX0" fmla="*/ 25183 w 47764"/>
                <a:gd name="connsiteY0" fmla="*/ 0 h 74718"/>
                <a:gd name="connsiteX1" fmla="*/ 22685 w 47764"/>
                <a:gd name="connsiteY1" fmla="*/ 0 h 74718"/>
                <a:gd name="connsiteX2" fmla="*/ 0 w 47764"/>
                <a:gd name="connsiteY2" fmla="*/ 22582 h 74718"/>
                <a:gd name="connsiteX3" fmla="*/ 0 w 47764"/>
                <a:gd name="connsiteY3" fmla="*/ 52240 h 74718"/>
                <a:gd name="connsiteX4" fmla="*/ 22685 w 47764"/>
                <a:gd name="connsiteY4" fmla="*/ 74718 h 74718"/>
                <a:gd name="connsiteX5" fmla="*/ 22685 w 47764"/>
                <a:gd name="connsiteY5" fmla="*/ 74718 h 74718"/>
                <a:gd name="connsiteX6" fmla="*/ 25183 w 47764"/>
                <a:gd name="connsiteY6" fmla="*/ 74718 h 74718"/>
                <a:gd name="connsiteX7" fmla="*/ 47765 w 47764"/>
                <a:gd name="connsiteY7" fmla="*/ 52240 h 74718"/>
                <a:gd name="connsiteX8" fmla="*/ 47765 w 47764"/>
                <a:gd name="connsiteY8" fmla="*/ 22582 h 74718"/>
                <a:gd name="connsiteX9" fmla="*/ 25183 w 47764"/>
                <a:gd name="connsiteY9" fmla="*/ 0 h 74718"/>
                <a:gd name="connsiteX10" fmla="*/ 34340 w 47764"/>
                <a:gd name="connsiteY10" fmla="*/ 45684 h 74718"/>
                <a:gd name="connsiteX11" fmla="*/ 24455 w 47764"/>
                <a:gd name="connsiteY11" fmla="*/ 58276 h 74718"/>
                <a:gd name="connsiteX12" fmla="*/ 23310 w 47764"/>
                <a:gd name="connsiteY12" fmla="*/ 58276 h 74718"/>
                <a:gd name="connsiteX13" fmla="*/ 12904 w 47764"/>
                <a:gd name="connsiteY13" fmla="*/ 45684 h 74718"/>
                <a:gd name="connsiteX14" fmla="*/ 12904 w 47764"/>
                <a:gd name="connsiteY14" fmla="*/ 29138 h 74718"/>
                <a:gd name="connsiteX15" fmla="*/ 23310 w 47764"/>
                <a:gd name="connsiteY15" fmla="*/ 16546 h 74718"/>
                <a:gd name="connsiteX16" fmla="*/ 24455 w 47764"/>
                <a:gd name="connsiteY16" fmla="*/ 16546 h 74718"/>
                <a:gd name="connsiteX17" fmla="*/ 34340 w 47764"/>
                <a:gd name="connsiteY17" fmla="*/ 29138 h 74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7764" h="74718">
                  <a:moveTo>
                    <a:pt x="25183" y="0"/>
                  </a:moveTo>
                  <a:lnTo>
                    <a:pt x="22685" y="0"/>
                  </a:lnTo>
                  <a:cubicBezTo>
                    <a:pt x="10198" y="0"/>
                    <a:pt x="52" y="10094"/>
                    <a:pt x="0" y="22582"/>
                  </a:cubicBezTo>
                  <a:lnTo>
                    <a:pt x="0" y="52240"/>
                  </a:lnTo>
                  <a:cubicBezTo>
                    <a:pt x="52" y="64707"/>
                    <a:pt x="10209" y="74780"/>
                    <a:pt x="22685" y="74718"/>
                  </a:cubicBezTo>
                  <a:cubicBezTo>
                    <a:pt x="22685" y="74718"/>
                    <a:pt x="22685" y="74718"/>
                    <a:pt x="22685" y="74718"/>
                  </a:cubicBezTo>
                  <a:lnTo>
                    <a:pt x="25183" y="74718"/>
                  </a:lnTo>
                  <a:cubicBezTo>
                    <a:pt x="37618" y="74718"/>
                    <a:pt x="47712" y="64676"/>
                    <a:pt x="47765" y="52240"/>
                  </a:cubicBezTo>
                  <a:lnTo>
                    <a:pt x="47765" y="22582"/>
                  </a:lnTo>
                  <a:cubicBezTo>
                    <a:pt x="47765" y="10115"/>
                    <a:pt x="37650" y="0"/>
                    <a:pt x="25183" y="0"/>
                  </a:cubicBezTo>
                  <a:close/>
                  <a:moveTo>
                    <a:pt x="34340" y="45684"/>
                  </a:moveTo>
                  <a:cubicBezTo>
                    <a:pt x="34954" y="51855"/>
                    <a:pt x="30594" y="57412"/>
                    <a:pt x="24455" y="58276"/>
                  </a:cubicBezTo>
                  <a:lnTo>
                    <a:pt x="23310" y="58276"/>
                  </a:lnTo>
                  <a:cubicBezTo>
                    <a:pt x="16962" y="57672"/>
                    <a:pt x="12300" y="52032"/>
                    <a:pt x="12904" y="45684"/>
                  </a:cubicBezTo>
                  <a:lnTo>
                    <a:pt x="12904" y="29138"/>
                  </a:lnTo>
                  <a:cubicBezTo>
                    <a:pt x="12300" y="22790"/>
                    <a:pt x="16962" y="17150"/>
                    <a:pt x="23310" y="16546"/>
                  </a:cubicBezTo>
                  <a:lnTo>
                    <a:pt x="24455" y="16546"/>
                  </a:lnTo>
                  <a:cubicBezTo>
                    <a:pt x="30594" y="17410"/>
                    <a:pt x="34954" y="22967"/>
                    <a:pt x="34340" y="29138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2" name="Freeform 81">
              <a:extLst>
                <a:ext uri="{FF2B5EF4-FFF2-40B4-BE49-F238E27FC236}">
                  <a16:creationId xmlns:a16="http://schemas.microsoft.com/office/drawing/2014/main" id="{B86A21FE-F45D-4346-9247-C641B50ED14B}"/>
                </a:ext>
              </a:extLst>
            </p:cNvPr>
            <p:cNvSpPr/>
            <p:nvPr/>
          </p:nvSpPr>
          <p:spPr>
            <a:xfrm>
              <a:off x="9517893" y="2365281"/>
              <a:ext cx="47659" cy="74613"/>
            </a:xfrm>
            <a:custGeom>
              <a:avLst/>
              <a:gdLst>
                <a:gd name="connsiteX0" fmla="*/ 25079 w 47659"/>
                <a:gd name="connsiteY0" fmla="*/ 0 h 74613"/>
                <a:gd name="connsiteX1" fmla="*/ 22581 w 47659"/>
                <a:gd name="connsiteY1" fmla="*/ 0 h 74613"/>
                <a:gd name="connsiteX2" fmla="*/ 0 w 47659"/>
                <a:gd name="connsiteY2" fmla="*/ 22582 h 74613"/>
                <a:gd name="connsiteX3" fmla="*/ 0 w 47659"/>
                <a:gd name="connsiteY3" fmla="*/ 52032 h 74613"/>
                <a:gd name="connsiteX4" fmla="*/ 22581 w 47659"/>
                <a:gd name="connsiteY4" fmla="*/ 74614 h 74613"/>
                <a:gd name="connsiteX5" fmla="*/ 25079 w 47659"/>
                <a:gd name="connsiteY5" fmla="*/ 74614 h 74613"/>
                <a:gd name="connsiteX6" fmla="*/ 47660 w 47659"/>
                <a:gd name="connsiteY6" fmla="*/ 52032 h 74613"/>
                <a:gd name="connsiteX7" fmla="*/ 47660 w 47659"/>
                <a:gd name="connsiteY7" fmla="*/ 22374 h 74613"/>
                <a:gd name="connsiteX8" fmla="*/ 25079 w 47659"/>
                <a:gd name="connsiteY8" fmla="*/ 0 h 74613"/>
                <a:gd name="connsiteX9" fmla="*/ 34236 w 47659"/>
                <a:gd name="connsiteY9" fmla="*/ 45684 h 74613"/>
                <a:gd name="connsiteX10" fmla="*/ 24038 w 47659"/>
                <a:gd name="connsiteY10" fmla="*/ 58255 h 74613"/>
                <a:gd name="connsiteX11" fmla="*/ 23830 w 47659"/>
                <a:gd name="connsiteY11" fmla="*/ 58276 h 74613"/>
                <a:gd name="connsiteX12" fmla="*/ 22790 w 47659"/>
                <a:gd name="connsiteY12" fmla="*/ 58276 h 74613"/>
                <a:gd name="connsiteX13" fmla="*/ 12362 w 47659"/>
                <a:gd name="connsiteY13" fmla="*/ 45892 h 74613"/>
                <a:gd name="connsiteX14" fmla="*/ 12383 w 47659"/>
                <a:gd name="connsiteY14" fmla="*/ 45684 h 74613"/>
                <a:gd name="connsiteX15" fmla="*/ 12383 w 47659"/>
                <a:gd name="connsiteY15" fmla="*/ 29138 h 74613"/>
                <a:gd name="connsiteX16" fmla="*/ 22581 w 47659"/>
                <a:gd name="connsiteY16" fmla="*/ 16567 h 74613"/>
                <a:gd name="connsiteX17" fmla="*/ 22790 w 47659"/>
                <a:gd name="connsiteY17" fmla="*/ 16546 h 74613"/>
                <a:gd name="connsiteX18" fmla="*/ 23830 w 47659"/>
                <a:gd name="connsiteY18" fmla="*/ 16546 h 74613"/>
                <a:gd name="connsiteX19" fmla="*/ 34257 w 47659"/>
                <a:gd name="connsiteY19" fmla="*/ 28930 h 74613"/>
                <a:gd name="connsiteX20" fmla="*/ 34236 w 47659"/>
                <a:gd name="connsiteY20" fmla="*/ 29138 h 74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7659" h="74613">
                  <a:moveTo>
                    <a:pt x="25079" y="0"/>
                  </a:moveTo>
                  <a:lnTo>
                    <a:pt x="22581" y="0"/>
                  </a:lnTo>
                  <a:cubicBezTo>
                    <a:pt x="10115" y="0"/>
                    <a:pt x="0" y="10115"/>
                    <a:pt x="0" y="22582"/>
                  </a:cubicBezTo>
                  <a:lnTo>
                    <a:pt x="0" y="52032"/>
                  </a:lnTo>
                  <a:cubicBezTo>
                    <a:pt x="0" y="64499"/>
                    <a:pt x="10115" y="74614"/>
                    <a:pt x="22581" y="74614"/>
                  </a:cubicBezTo>
                  <a:lnTo>
                    <a:pt x="25079" y="74614"/>
                  </a:lnTo>
                  <a:cubicBezTo>
                    <a:pt x="37545" y="74614"/>
                    <a:pt x="47660" y="64499"/>
                    <a:pt x="47660" y="52032"/>
                  </a:cubicBezTo>
                  <a:lnTo>
                    <a:pt x="47660" y="22374"/>
                  </a:lnTo>
                  <a:cubicBezTo>
                    <a:pt x="47545" y="9980"/>
                    <a:pt x="37472" y="0"/>
                    <a:pt x="25079" y="0"/>
                  </a:cubicBezTo>
                  <a:close/>
                  <a:moveTo>
                    <a:pt x="34236" y="45684"/>
                  </a:moveTo>
                  <a:cubicBezTo>
                    <a:pt x="34892" y="51970"/>
                    <a:pt x="30324" y="57599"/>
                    <a:pt x="24038" y="58255"/>
                  </a:cubicBezTo>
                  <a:cubicBezTo>
                    <a:pt x="23965" y="58265"/>
                    <a:pt x="23903" y="58265"/>
                    <a:pt x="23830" y="58276"/>
                  </a:cubicBezTo>
                  <a:lnTo>
                    <a:pt x="22790" y="58276"/>
                  </a:lnTo>
                  <a:cubicBezTo>
                    <a:pt x="16493" y="57735"/>
                    <a:pt x="11821" y="52188"/>
                    <a:pt x="12362" y="45892"/>
                  </a:cubicBezTo>
                  <a:cubicBezTo>
                    <a:pt x="12373" y="45819"/>
                    <a:pt x="12373" y="45757"/>
                    <a:pt x="12383" y="45684"/>
                  </a:cubicBezTo>
                  <a:lnTo>
                    <a:pt x="12383" y="29138"/>
                  </a:lnTo>
                  <a:cubicBezTo>
                    <a:pt x="11727" y="22852"/>
                    <a:pt x="16296" y="17223"/>
                    <a:pt x="22581" y="16567"/>
                  </a:cubicBezTo>
                  <a:cubicBezTo>
                    <a:pt x="22654" y="16557"/>
                    <a:pt x="22716" y="16557"/>
                    <a:pt x="22790" y="16546"/>
                  </a:cubicBezTo>
                  <a:lnTo>
                    <a:pt x="23830" y="16546"/>
                  </a:lnTo>
                  <a:cubicBezTo>
                    <a:pt x="30125" y="17087"/>
                    <a:pt x="34798" y="22634"/>
                    <a:pt x="34257" y="28930"/>
                  </a:cubicBezTo>
                  <a:cubicBezTo>
                    <a:pt x="34246" y="29003"/>
                    <a:pt x="34246" y="29065"/>
                    <a:pt x="34236" y="29138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3" name="Freeform 82">
              <a:extLst>
                <a:ext uri="{FF2B5EF4-FFF2-40B4-BE49-F238E27FC236}">
                  <a16:creationId xmlns:a16="http://schemas.microsoft.com/office/drawing/2014/main" id="{0A551E33-E69C-7B4E-852B-A74B1AAEED3A}"/>
                </a:ext>
              </a:extLst>
            </p:cNvPr>
            <p:cNvSpPr/>
            <p:nvPr/>
          </p:nvSpPr>
          <p:spPr>
            <a:xfrm>
              <a:off x="9534696" y="2458939"/>
              <a:ext cx="21754" cy="70243"/>
            </a:xfrm>
            <a:custGeom>
              <a:avLst/>
              <a:gdLst>
                <a:gd name="connsiteX0" fmla="*/ 13479 w 21754"/>
                <a:gd name="connsiteY0" fmla="*/ 0 h 70243"/>
                <a:gd name="connsiteX1" fmla="*/ 8276 w 21754"/>
                <a:gd name="connsiteY1" fmla="*/ 0 h 70243"/>
                <a:gd name="connsiteX2" fmla="*/ 55 w 21754"/>
                <a:gd name="connsiteY2" fmla="*/ 10406 h 70243"/>
                <a:gd name="connsiteX3" fmla="*/ 55 w 21754"/>
                <a:gd name="connsiteY3" fmla="*/ 59837 h 70243"/>
                <a:gd name="connsiteX4" fmla="*/ 8276 w 21754"/>
                <a:gd name="connsiteY4" fmla="*/ 70243 h 70243"/>
                <a:gd name="connsiteX5" fmla="*/ 13479 w 21754"/>
                <a:gd name="connsiteY5" fmla="*/ 70243 h 70243"/>
                <a:gd name="connsiteX6" fmla="*/ 21700 w 21754"/>
                <a:gd name="connsiteY6" fmla="*/ 59837 h 70243"/>
                <a:gd name="connsiteX7" fmla="*/ 21700 w 21754"/>
                <a:gd name="connsiteY7" fmla="*/ 10406 h 70243"/>
                <a:gd name="connsiteX8" fmla="*/ 13479 w 21754"/>
                <a:gd name="connsiteY8" fmla="*/ 0 h 70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754" h="70243">
                  <a:moveTo>
                    <a:pt x="13479" y="0"/>
                  </a:moveTo>
                  <a:lnTo>
                    <a:pt x="8276" y="0"/>
                  </a:lnTo>
                  <a:cubicBezTo>
                    <a:pt x="3187" y="697"/>
                    <a:pt x="-445" y="5297"/>
                    <a:pt x="55" y="10406"/>
                  </a:cubicBezTo>
                  <a:lnTo>
                    <a:pt x="55" y="59837"/>
                  </a:lnTo>
                  <a:cubicBezTo>
                    <a:pt x="-497" y="64967"/>
                    <a:pt x="3156" y="69587"/>
                    <a:pt x="8276" y="70243"/>
                  </a:cubicBezTo>
                  <a:lnTo>
                    <a:pt x="13479" y="70243"/>
                  </a:lnTo>
                  <a:cubicBezTo>
                    <a:pt x="18599" y="69587"/>
                    <a:pt x="22251" y="64967"/>
                    <a:pt x="21700" y="59837"/>
                  </a:cubicBezTo>
                  <a:lnTo>
                    <a:pt x="21700" y="10406"/>
                  </a:lnTo>
                  <a:cubicBezTo>
                    <a:pt x="22199" y="5297"/>
                    <a:pt x="18568" y="697"/>
                    <a:pt x="13479" y="0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4" name="Freeform 83">
              <a:extLst>
                <a:ext uri="{FF2B5EF4-FFF2-40B4-BE49-F238E27FC236}">
                  <a16:creationId xmlns:a16="http://schemas.microsoft.com/office/drawing/2014/main" id="{AC6081E0-7003-C94B-96E1-9312769F11E4}"/>
                </a:ext>
              </a:extLst>
            </p:cNvPr>
            <p:cNvSpPr/>
            <p:nvPr/>
          </p:nvSpPr>
          <p:spPr>
            <a:xfrm>
              <a:off x="9467943" y="2455608"/>
              <a:ext cx="47660" cy="74821"/>
            </a:xfrm>
            <a:custGeom>
              <a:avLst/>
              <a:gdLst>
                <a:gd name="connsiteX0" fmla="*/ 22582 w 47660"/>
                <a:gd name="connsiteY0" fmla="*/ 74822 h 74821"/>
                <a:gd name="connsiteX1" fmla="*/ 25079 w 47660"/>
                <a:gd name="connsiteY1" fmla="*/ 74822 h 74821"/>
                <a:gd name="connsiteX2" fmla="*/ 47660 w 47660"/>
                <a:gd name="connsiteY2" fmla="*/ 52240 h 74821"/>
                <a:gd name="connsiteX3" fmla="*/ 47660 w 47660"/>
                <a:gd name="connsiteY3" fmla="*/ 22582 h 74821"/>
                <a:gd name="connsiteX4" fmla="*/ 25079 w 47660"/>
                <a:gd name="connsiteY4" fmla="*/ 0 h 74821"/>
                <a:gd name="connsiteX5" fmla="*/ 22582 w 47660"/>
                <a:gd name="connsiteY5" fmla="*/ 0 h 74821"/>
                <a:gd name="connsiteX6" fmla="*/ 0 w 47660"/>
                <a:gd name="connsiteY6" fmla="*/ 22582 h 74821"/>
                <a:gd name="connsiteX7" fmla="*/ 0 w 47660"/>
                <a:gd name="connsiteY7" fmla="*/ 52240 h 74821"/>
                <a:gd name="connsiteX8" fmla="*/ 22582 w 47660"/>
                <a:gd name="connsiteY8" fmla="*/ 74822 h 74821"/>
                <a:gd name="connsiteX9" fmla="*/ 13424 w 47660"/>
                <a:gd name="connsiteY9" fmla="*/ 29138 h 74821"/>
                <a:gd name="connsiteX10" fmla="*/ 23310 w 47660"/>
                <a:gd name="connsiteY10" fmla="*/ 16546 h 74821"/>
                <a:gd name="connsiteX11" fmla="*/ 24455 w 47660"/>
                <a:gd name="connsiteY11" fmla="*/ 16546 h 74821"/>
                <a:gd name="connsiteX12" fmla="*/ 34237 w 47660"/>
                <a:gd name="connsiteY12" fmla="*/ 29138 h 74821"/>
                <a:gd name="connsiteX13" fmla="*/ 34237 w 47660"/>
                <a:gd name="connsiteY13" fmla="*/ 45684 h 74821"/>
                <a:gd name="connsiteX14" fmla="*/ 24455 w 47660"/>
                <a:gd name="connsiteY14" fmla="*/ 58276 h 74821"/>
                <a:gd name="connsiteX15" fmla="*/ 23310 w 47660"/>
                <a:gd name="connsiteY15" fmla="*/ 58276 h 74821"/>
                <a:gd name="connsiteX16" fmla="*/ 13424 w 47660"/>
                <a:gd name="connsiteY16" fmla="*/ 45684 h 74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660" h="74821">
                  <a:moveTo>
                    <a:pt x="22582" y="74822"/>
                  </a:moveTo>
                  <a:lnTo>
                    <a:pt x="25079" y="74822"/>
                  </a:lnTo>
                  <a:cubicBezTo>
                    <a:pt x="37546" y="74822"/>
                    <a:pt x="47660" y="64707"/>
                    <a:pt x="47660" y="52240"/>
                  </a:cubicBezTo>
                  <a:lnTo>
                    <a:pt x="47660" y="22582"/>
                  </a:lnTo>
                  <a:cubicBezTo>
                    <a:pt x="47660" y="10115"/>
                    <a:pt x="37546" y="0"/>
                    <a:pt x="25079" y="0"/>
                  </a:cubicBezTo>
                  <a:lnTo>
                    <a:pt x="22582" y="0"/>
                  </a:lnTo>
                  <a:cubicBezTo>
                    <a:pt x="10115" y="0"/>
                    <a:pt x="0" y="10115"/>
                    <a:pt x="0" y="22582"/>
                  </a:cubicBezTo>
                  <a:lnTo>
                    <a:pt x="0" y="52240"/>
                  </a:lnTo>
                  <a:cubicBezTo>
                    <a:pt x="0" y="64707"/>
                    <a:pt x="10115" y="74822"/>
                    <a:pt x="22582" y="74822"/>
                  </a:cubicBezTo>
                  <a:close/>
                  <a:moveTo>
                    <a:pt x="13424" y="29138"/>
                  </a:moveTo>
                  <a:cubicBezTo>
                    <a:pt x="12748" y="22946"/>
                    <a:pt x="17139" y="17358"/>
                    <a:pt x="23310" y="16546"/>
                  </a:cubicBezTo>
                  <a:lnTo>
                    <a:pt x="24455" y="16546"/>
                  </a:lnTo>
                  <a:cubicBezTo>
                    <a:pt x="30584" y="17410"/>
                    <a:pt x="34913" y="22988"/>
                    <a:pt x="34237" y="29138"/>
                  </a:cubicBezTo>
                  <a:lnTo>
                    <a:pt x="34237" y="45684"/>
                  </a:lnTo>
                  <a:cubicBezTo>
                    <a:pt x="34913" y="51834"/>
                    <a:pt x="30584" y="57412"/>
                    <a:pt x="24455" y="58276"/>
                  </a:cubicBezTo>
                  <a:lnTo>
                    <a:pt x="23310" y="58276"/>
                  </a:lnTo>
                  <a:cubicBezTo>
                    <a:pt x="17139" y="57464"/>
                    <a:pt x="12748" y="51876"/>
                    <a:pt x="13424" y="45684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5" name="Freeform 84">
              <a:extLst>
                <a:ext uri="{FF2B5EF4-FFF2-40B4-BE49-F238E27FC236}">
                  <a16:creationId xmlns:a16="http://schemas.microsoft.com/office/drawing/2014/main" id="{D381D692-8141-E045-9886-E990F6955793}"/>
                </a:ext>
              </a:extLst>
            </p:cNvPr>
            <p:cNvSpPr/>
            <p:nvPr/>
          </p:nvSpPr>
          <p:spPr>
            <a:xfrm>
              <a:off x="9477565" y="2280365"/>
              <a:ext cx="21746" cy="70347"/>
            </a:xfrm>
            <a:custGeom>
              <a:avLst/>
              <a:gdLst>
                <a:gd name="connsiteX0" fmla="*/ 8173 w 21746"/>
                <a:gd name="connsiteY0" fmla="*/ 70347 h 70347"/>
                <a:gd name="connsiteX1" fmla="*/ 13480 w 21746"/>
                <a:gd name="connsiteY1" fmla="*/ 70347 h 70347"/>
                <a:gd name="connsiteX2" fmla="*/ 21701 w 21746"/>
                <a:gd name="connsiteY2" fmla="*/ 59941 h 70347"/>
                <a:gd name="connsiteX3" fmla="*/ 21701 w 21746"/>
                <a:gd name="connsiteY3" fmla="*/ 10406 h 70347"/>
                <a:gd name="connsiteX4" fmla="*/ 13480 w 21746"/>
                <a:gd name="connsiteY4" fmla="*/ 0 h 70347"/>
                <a:gd name="connsiteX5" fmla="*/ 8173 w 21746"/>
                <a:gd name="connsiteY5" fmla="*/ 0 h 70347"/>
                <a:gd name="connsiteX6" fmla="*/ 56 w 21746"/>
                <a:gd name="connsiteY6" fmla="*/ 10406 h 70347"/>
                <a:gd name="connsiteX7" fmla="*/ 56 w 21746"/>
                <a:gd name="connsiteY7" fmla="*/ 59941 h 70347"/>
                <a:gd name="connsiteX8" fmla="*/ 8173 w 21746"/>
                <a:gd name="connsiteY8" fmla="*/ 70347 h 70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746" h="70347">
                  <a:moveTo>
                    <a:pt x="8173" y="70347"/>
                  </a:moveTo>
                  <a:lnTo>
                    <a:pt x="13480" y="70347"/>
                  </a:lnTo>
                  <a:cubicBezTo>
                    <a:pt x="18569" y="69650"/>
                    <a:pt x="22201" y="65050"/>
                    <a:pt x="21701" y="59941"/>
                  </a:cubicBezTo>
                  <a:lnTo>
                    <a:pt x="21701" y="10406"/>
                  </a:lnTo>
                  <a:cubicBezTo>
                    <a:pt x="22201" y="5297"/>
                    <a:pt x="18569" y="697"/>
                    <a:pt x="13480" y="0"/>
                  </a:cubicBezTo>
                  <a:lnTo>
                    <a:pt x="8173" y="0"/>
                  </a:lnTo>
                  <a:cubicBezTo>
                    <a:pt x="3095" y="697"/>
                    <a:pt x="-495" y="5318"/>
                    <a:pt x="56" y="10406"/>
                  </a:cubicBezTo>
                  <a:lnTo>
                    <a:pt x="56" y="59941"/>
                  </a:lnTo>
                  <a:cubicBezTo>
                    <a:pt x="-495" y="65030"/>
                    <a:pt x="3095" y="69650"/>
                    <a:pt x="8173" y="70347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6" name="Freeform 85">
              <a:extLst>
                <a:ext uri="{FF2B5EF4-FFF2-40B4-BE49-F238E27FC236}">
                  <a16:creationId xmlns:a16="http://schemas.microsoft.com/office/drawing/2014/main" id="{A7E6BEB4-AD75-1041-A2C6-018BAB1F0665}"/>
                </a:ext>
              </a:extLst>
            </p:cNvPr>
            <p:cNvSpPr/>
            <p:nvPr/>
          </p:nvSpPr>
          <p:spPr>
            <a:xfrm>
              <a:off x="9476838" y="2367883"/>
              <a:ext cx="21754" cy="70243"/>
            </a:xfrm>
            <a:custGeom>
              <a:avLst/>
              <a:gdLst>
                <a:gd name="connsiteX0" fmla="*/ 8276 w 21754"/>
                <a:gd name="connsiteY0" fmla="*/ 70243 h 70243"/>
                <a:gd name="connsiteX1" fmla="*/ 13479 w 21754"/>
                <a:gd name="connsiteY1" fmla="*/ 70243 h 70243"/>
                <a:gd name="connsiteX2" fmla="*/ 21700 w 21754"/>
                <a:gd name="connsiteY2" fmla="*/ 59837 h 70243"/>
                <a:gd name="connsiteX3" fmla="*/ 21700 w 21754"/>
                <a:gd name="connsiteY3" fmla="*/ 10406 h 70243"/>
                <a:gd name="connsiteX4" fmla="*/ 13479 w 21754"/>
                <a:gd name="connsiteY4" fmla="*/ 0 h 70243"/>
                <a:gd name="connsiteX5" fmla="*/ 8276 w 21754"/>
                <a:gd name="connsiteY5" fmla="*/ 0 h 70243"/>
                <a:gd name="connsiteX6" fmla="*/ 55 w 21754"/>
                <a:gd name="connsiteY6" fmla="*/ 10406 h 70243"/>
                <a:gd name="connsiteX7" fmla="*/ 55 w 21754"/>
                <a:gd name="connsiteY7" fmla="*/ 59837 h 70243"/>
                <a:gd name="connsiteX8" fmla="*/ 8276 w 21754"/>
                <a:gd name="connsiteY8" fmla="*/ 70243 h 70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754" h="70243">
                  <a:moveTo>
                    <a:pt x="8276" y="70243"/>
                  </a:moveTo>
                  <a:lnTo>
                    <a:pt x="13479" y="70243"/>
                  </a:lnTo>
                  <a:cubicBezTo>
                    <a:pt x="18599" y="69587"/>
                    <a:pt x="22251" y="64967"/>
                    <a:pt x="21700" y="59837"/>
                  </a:cubicBezTo>
                  <a:lnTo>
                    <a:pt x="21700" y="10406"/>
                  </a:lnTo>
                  <a:cubicBezTo>
                    <a:pt x="22251" y="5276"/>
                    <a:pt x="18599" y="656"/>
                    <a:pt x="13479" y="0"/>
                  </a:cubicBezTo>
                  <a:lnTo>
                    <a:pt x="8276" y="0"/>
                  </a:lnTo>
                  <a:cubicBezTo>
                    <a:pt x="3156" y="656"/>
                    <a:pt x="-497" y="5276"/>
                    <a:pt x="55" y="10406"/>
                  </a:cubicBezTo>
                  <a:lnTo>
                    <a:pt x="55" y="59837"/>
                  </a:lnTo>
                  <a:cubicBezTo>
                    <a:pt x="-497" y="64967"/>
                    <a:pt x="3156" y="69587"/>
                    <a:pt x="8276" y="70243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7" name="Freeform 86">
              <a:extLst>
                <a:ext uri="{FF2B5EF4-FFF2-40B4-BE49-F238E27FC236}">
                  <a16:creationId xmlns:a16="http://schemas.microsoft.com/office/drawing/2014/main" id="{4B575C5A-05CC-8D46-9E89-C574FD446509}"/>
                </a:ext>
              </a:extLst>
            </p:cNvPr>
            <p:cNvSpPr/>
            <p:nvPr/>
          </p:nvSpPr>
          <p:spPr>
            <a:xfrm>
              <a:off x="9630280" y="2007718"/>
              <a:ext cx="224669" cy="49118"/>
            </a:xfrm>
            <a:custGeom>
              <a:avLst/>
              <a:gdLst>
                <a:gd name="connsiteX0" fmla="*/ 0 w 224669"/>
                <a:gd name="connsiteY0" fmla="*/ 0 h 49118"/>
                <a:gd name="connsiteX1" fmla="*/ 224670 w 224669"/>
                <a:gd name="connsiteY1" fmla="*/ 0 h 49118"/>
                <a:gd name="connsiteX2" fmla="*/ 224670 w 224669"/>
                <a:gd name="connsiteY2" fmla="*/ 49118 h 49118"/>
                <a:gd name="connsiteX3" fmla="*/ 0 w 224669"/>
                <a:gd name="connsiteY3" fmla="*/ 49118 h 49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4669" h="49118">
                  <a:moveTo>
                    <a:pt x="0" y="0"/>
                  </a:moveTo>
                  <a:lnTo>
                    <a:pt x="224670" y="0"/>
                  </a:lnTo>
                  <a:lnTo>
                    <a:pt x="224670" y="49118"/>
                  </a:lnTo>
                  <a:lnTo>
                    <a:pt x="0" y="49118"/>
                  </a:ln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8" name="Freeform 87">
              <a:extLst>
                <a:ext uri="{FF2B5EF4-FFF2-40B4-BE49-F238E27FC236}">
                  <a16:creationId xmlns:a16="http://schemas.microsoft.com/office/drawing/2014/main" id="{93289E25-2164-824B-95EF-51CAAAB14E60}"/>
                </a:ext>
              </a:extLst>
            </p:cNvPr>
            <p:cNvSpPr/>
            <p:nvPr/>
          </p:nvSpPr>
          <p:spPr>
            <a:xfrm>
              <a:off x="9483032" y="2196281"/>
              <a:ext cx="224669" cy="49118"/>
            </a:xfrm>
            <a:custGeom>
              <a:avLst/>
              <a:gdLst>
                <a:gd name="connsiteX0" fmla="*/ 0 w 224669"/>
                <a:gd name="connsiteY0" fmla="*/ 0 h 49118"/>
                <a:gd name="connsiteX1" fmla="*/ 224669 w 224669"/>
                <a:gd name="connsiteY1" fmla="*/ 0 h 49118"/>
                <a:gd name="connsiteX2" fmla="*/ 224669 w 224669"/>
                <a:gd name="connsiteY2" fmla="*/ 49118 h 49118"/>
                <a:gd name="connsiteX3" fmla="*/ 0 w 224669"/>
                <a:gd name="connsiteY3" fmla="*/ 49118 h 49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4669" h="49118">
                  <a:moveTo>
                    <a:pt x="0" y="0"/>
                  </a:moveTo>
                  <a:lnTo>
                    <a:pt x="224669" y="0"/>
                  </a:lnTo>
                  <a:lnTo>
                    <a:pt x="224669" y="49118"/>
                  </a:lnTo>
                  <a:lnTo>
                    <a:pt x="0" y="49118"/>
                  </a:ln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9" name="Freeform 88">
              <a:extLst>
                <a:ext uri="{FF2B5EF4-FFF2-40B4-BE49-F238E27FC236}">
                  <a16:creationId xmlns:a16="http://schemas.microsoft.com/office/drawing/2014/main" id="{73A30DF2-0ADC-ED4E-BCB4-1CC421EB2AE4}"/>
                </a:ext>
              </a:extLst>
            </p:cNvPr>
            <p:cNvSpPr/>
            <p:nvPr/>
          </p:nvSpPr>
          <p:spPr>
            <a:xfrm>
              <a:off x="9482616" y="2102624"/>
              <a:ext cx="74404" cy="46412"/>
            </a:xfrm>
            <a:custGeom>
              <a:avLst/>
              <a:gdLst>
                <a:gd name="connsiteX0" fmla="*/ 0 w 74404"/>
                <a:gd name="connsiteY0" fmla="*/ 0 h 46412"/>
                <a:gd name="connsiteX1" fmla="*/ 74404 w 74404"/>
                <a:gd name="connsiteY1" fmla="*/ 0 h 46412"/>
                <a:gd name="connsiteX2" fmla="*/ 74404 w 74404"/>
                <a:gd name="connsiteY2" fmla="*/ 46412 h 46412"/>
                <a:gd name="connsiteX3" fmla="*/ 0 w 74404"/>
                <a:gd name="connsiteY3" fmla="*/ 46412 h 46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404" h="46412">
                  <a:moveTo>
                    <a:pt x="0" y="0"/>
                  </a:moveTo>
                  <a:lnTo>
                    <a:pt x="74404" y="0"/>
                  </a:lnTo>
                  <a:lnTo>
                    <a:pt x="74404" y="46412"/>
                  </a:lnTo>
                  <a:lnTo>
                    <a:pt x="0" y="46412"/>
                  </a:ln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0" name="Freeform 89">
              <a:extLst>
                <a:ext uri="{FF2B5EF4-FFF2-40B4-BE49-F238E27FC236}">
                  <a16:creationId xmlns:a16="http://schemas.microsoft.com/office/drawing/2014/main" id="{FCE01CD9-5A93-CB42-AEC3-6E3F12445F11}"/>
                </a:ext>
              </a:extLst>
            </p:cNvPr>
            <p:cNvSpPr/>
            <p:nvPr/>
          </p:nvSpPr>
          <p:spPr>
            <a:xfrm>
              <a:off x="9482616" y="2009799"/>
              <a:ext cx="74404" cy="46412"/>
            </a:xfrm>
            <a:custGeom>
              <a:avLst/>
              <a:gdLst>
                <a:gd name="connsiteX0" fmla="*/ 0 w 74404"/>
                <a:gd name="connsiteY0" fmla="*/ 0 h 46412"/>
                <a:gd name="connsiteX1" fmla="*/ 74404 w 74404"/>
                <a:gd name="connsiteY1" fmla="*/ 0 h 46412"/>
                <a:gd name="connsiteX2" fmla="*/ 74404 w 74404"/>
                <a:gd name="connsiteY2" fmla="*/ 46412 h 46412"/>
                <a:gd name="connsiteX3" fmla="*/ 0 w 74404"/>
                <a:gd name="connsiteY3" fmla="*/ 46412 h 46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404" h="46412">
                  <a:moveTo>
                    <a:pt x="0" y="0"/>
                  </a:moveTo>
                  <a:lnTo>
                    <a:pt x="74404" y="0"/>
                  </a:lnTo>
                  <a:lnTo>
                    <a:pt x="74404" y="46412"/>
                  </a:lnTo>
                  <a:lnTo>
                    <a:pt x="0" y="46412"/>
                  </a:ln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" name="Freeform 90">
              <a:extLst>
                <a:ext uri="{FF2B5EF4-FFF2-40B4-BE49-F238E27FC236}">
                  <a16:creationId xmlns:a16="http://schemas.microsoft.com/office/drawing/2014/main" id="{67593187-52FF-8F40-8E27-D727F830D709}"/>
                </a:ext>
              </a:extLst>
            </p:cNvPr>
            <p:cNvSpPr/>
            <p:nvPr/>
          </p:nvSpPr>
          <p:spPr>
            <a:xfrm>
              <a:off x="9631320" y="2102624"/>
              <a:ext cx="74404" cy="46412"/>
            </a:xfrm>
            <a:custGeom>
              <a:avLst/>
              <a:gdLst>
                <a:gd name="connsiteX0" fmla="*/ 0 w 74404"/>
                <a:gd name="connsiteY0" fmla="*/ 0 h 46412"/>
                <a:gd name="connsiteX1" fmla="*/ 74404 w 74404"/>
                <a:gd name="connsiteY1" fmla="*/ 0 h 46412"/>
                <a:gd name="connsiteX2" fmla="*/ 74404 w 74404"/>
                <a:gd name="connsiteY2" fmla="*/ 46412 h 46412"/>
                <a:gd name="connsiteX3" fmla="*/ 0 w 74404"/>
                <a:gd name="connsiteY3" fmla="*/ 46412 h 46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404" h="46412">
                  <a:moveTo>
                    <a:pt x="0" y="0"/>
                  </a:moveTo>
                  <a:lnTo>
                    <a:pt x="74404" y="0"/>
                  </a:lnTo>
                  <a:lnTo>
                    <a:pt x="74404" y="46412"/>
                  </a:lnTo>
                  <a:lnTo>
                    <a:pt x="0" y="46412"/>
                  </a:ln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" name="Freeform 91">
              <a:extLst>
                <a:ext uri="{FF2B5EF4-FFF2-40B4-BE49-F238E27FC236}">
                  <a16:creationId xmlns:a16="http://schemas.microsoft.com/office/drawing/2014/main" id="{9D03F814-7910-6449-90A5-6688086B721D}"/>
                </a:ext>
              </a:extLst>
            </p:cNvPr>
            <p:cNvSpPr/>
            <p:nvPr/>
          </p:nvSpPr>
          <p:spPr>
            <a:xfrm>
              <a:off x="9780024" y="2102624"/>
              <a:ext cx="74404" cy="46412"/>
            </a:xfrm>
            <a:custGeom>
              <a:avLst/>
              <a:gdLst>
                <a:gd name="connsiteX0" fmla="*/ 0 w 74404"/>
                <a:gd name="connsiteY0" fmla="*/ 0 h 46412"/>
                <a:gd name="connsiteX1" fmla="*/ 74405 w 74404"/>
                <a:gd name="connsiteY1" fmla="*/ 0 h 46412"/>
                <a:gd name="connsiteX2" fmla="*/ 74405 w 74404"/>
                <a:gd name="connsiteY2" fmla="*/ 46412 h 46412"/>
                <a:gd name="connsiteX3" fmla="*/ 0 w 74404"/>
                <a:gd name="connsiteY3" fmla="*/ 46412 h 46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404" h="46412">
                  <a:moveTo>
                    <a:pt x="0" y="0"/>
                  </a:moveTo>
                  <a:lnTo>
                    <a:pt x="74405" y="0"/>
                  </a:lnTo>
                  <a:lnTo>
                    <a:pt x="74405" y="46412"/>
                  </a:lnTo>
                  <a:lnTo>
                    <a:pt x="0" y="46412"/>
                  </a:ln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" name="Freeform 92">
              <a:extLst>
                <a:ext uri="{FF2B5EF4-FFF2-40B4-BE49-F238E27FC236}">
                  <a16:creationId xmlns:a16="http://schemas.microsoft.com/office/drawing/2014/main" id="{E0B44D75-82F3-B04F-A812-821B92E4D81C}"/>
                </a:ext>
              </a:extLst>
            </p:cNvPr>
            <p:cNvSpPr/>
            <p:nvPr/>
          </p:nvSpPr>
          <p:spPr>
            <a:xfrm>
              <a:off x="9780024" y="2195449"/>
              <a:ext cx="74404" cy="46412"/>
            </a:xfrm>
            <a:custGeom>
              <a:avLst/>
              <a:gdLst>
                <a:gd name="connsiteX0" fmla="*/ 0 w 74404"/>
                <a:gd name="connsiteY0" fmla="*/ 0 h 46412"/>
                <a:gd name="connsiteX1" fmla="*/ 74405 w 74404"/>
                <a:gd name="connsiteY1" fmla="*/ 0 h 46412"/>
                <a:gd name="connsiteX2" fmla="*/ 74405 w 74404"/>
                <a:gd name="connsiteY2" fmla="*/ 46412 h 46412"/>
                <a:gd name="connsiteX3" fmla="*/ 0 w 74404"/>
                <a:gd name="connsiteY3" fmla="*/ 46412 h 46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404" h="46412">
                  <a:moveTo>
                    <a:pt x="0" y="0"/>
                  </a:moveTo>
                  <a:lnTo>
                    <a:pt x="74405" y="0"/>
                  </a:lnTo>
                  <a:lnTo>
                    <a:pt x="74405" y="46412"/>
                  </a:lnTo>
                  <a:lnTo>
                    <a:pt x="0" y="46412"/>
                  </a:ln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" name="Freeform 93">
              <a:extLst>
                <a:ext uri="{FF2B5EF4-FFF2-40B4-BE49-F238E27FC236}">
                  <a16:creationId xmlns:a16="http://schemas.microsoft.com/office/drawing/2014/main" id="{FAA904E2-E611-604F-B19E-0A201F137829}"/>
                </a:ext>
              </a:extLst>
            </p:cNvPr>
            <p:cNvSpPr/>
            <p:nvPr/>
          </p:nvSpPr>
          <p:spPr>
            <a:xfrm>
              <a:off x="5144713" y="2473923"/>
              <a:ext cx="166400" cy="200796"/>
            </a:xfrm>
            <a:custGeom>
              <a:avLst/>
              <a:gdLst>
                <a:gd name="connsiteX0" fmla="*/ 84071 w 166400"/>
                <a:gd name="connsiteY0" fmla="*/ 0 h 200796"/>
                <a:gd name="connsiteX1" fmla="*/ 60033 w 166400"/>
                <a:gd name="connsiteY1" fmla="*/ 23623 h 200796"/>
                <a:gd name="connsiteX2" fmla="*/ 59201 w 166400"/>
                <a:gd name="connsiteY2" fmla="*/ 103232 h 200796"/>
                <a:gd name="connsiteX3" fmla="*/ 54414 w 166400"/>
                <a:gd name="connsiteY3" fmla="*/ 107810 h 200796"/>
                <a:gd name="connsiteX4" fmla="*/ 54414 w 166400"/>
                <a:gd name="connsiteY4" fmla="*/ 107810 h 200796"/>
                <a:gd name="connsiteX5" fmla="*/ 11540 w 166400"/>
                <a:gd name="connsiteY5" fmla="*/ 107810 h 200796"/>
                <a:gd name="connsiteX6" fmla="*/ 62 w 166400"/>
                <a:gd name="connsiteY6" fmla="*/ 117020 h 200796"/>
                <a:gd name="connsiteX7" fmla="*/ 3840 w 166400"/>
                <a:gd name="connsiteY7" fmla="*/ 126230 h 200796"/>
                <a:gd name="connsiteX8" fmla="*/ 75018 w 166400"/>
                <a:gd name="connsiteY8" fmla="*/ 197722 h 200796"/>
                <a:gd name="connsiteX9" fmla="*/ 90211 w 166400"/>
                <a:gd name="connsiteY9" fmla="*/ 197722 h 200796"/>
                <a:gd name="connsiteX10" fmla="*/ 163054 w 166400"/>
                <a:gd name="connsiteY10" fmla="*/ 127791 h 200796"/>
                <a:gd name="connsiteX11" fmla="*/ 165552 w 166400"/>
                <a:gd name="connsiteY11" fmla="*/ 116031 h 200796"/>
                <a:gd name="connsiteX12" fmla="*/ 155145 w 166400"/>
                <a:gd name="connsiteY12" fmla="*/ 109267 h 200796"/>
                <a:gd name="connsiteX13" fmla="*/ 111127 w 166400"/>
                <a:gd name="connsiteY13" fmla="*/ 109267 h 200796"/>
                <a:gd name="connsiteX14" fmla="*/ 106445 w 166400"/>
                <a:gd name="connsiteY14" fmla="*/ 104584 h 200796"/>
                <a:gd name="connsiteX15" fmla="*/ 107277 w 166400"/>
                <a:gd name="connsiteY15" fmla="*/ 24976 h 200796"/>
                <a:gd name="connsiteX16" fmla="*/ 84415 w 166400"/>
                <a:gd name="connsiteY16" fmla="*/ 11 h 200796"/>
                <a:gd name="connsiteX17" fmla="*/ 84071 w 166400"/>
                <a:gd name="connsiteY17" fmla="*/ 0 h 200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6400" h="200796">
                  <a:moveTo>
                    <a:pt x="84071" y="0"/>
                  </a:moveTo>
                  <a:cubicBezTo>
                    <a:pt x="70928" y="-62"/>
                    <a:pt x="60200" y="10490"/>
                    <a:pt x="60033" y="23623"/>
                  </a:cubicBezTo>
                  <a:lnTo>
                    <a:pt x="59201" y="103232"/>
                  </a:lnTo>
                  <a:cubicBezTo>
                    <a:pt x="59148" y="105812"/>
                    <a:pt x="57005" y="107862"/>
                    <a:pt x="54414" y="107810"/>
                  </a:cubicBezTo>
                  <a:cubicBezTo>
                    <a:pt x="54414" y="107810"/>
                    <a:pt x="54414" y="107810"/>
                    <a:pt x="54414" y="107810"/>
                  </a:cubicBezTo>
                  <a:lnTo>
                    <a:pt x="11540" y="107810"/>
                  </a:lnTo>
                  <a:cubicBezTo>
                    <a:pt x="5827" y="107186"/>
                    <a:pt x="687" y="111307"/>
                    <a:pt x="62" y="117020"/>
                  </a:cubicBezTo>
                  <a:cubicBezTo>
                    <a:pt x="-323" y="120527"/>
                    <a:pt x="1093" y="124003"/>
                    <a:pt x="3840" y="126230"/>
                  </a:cubicBezTo>
                  <a:lnTo>
                    <a:pt x="75018" y="197722"/>
                  </a:lnTo>
                  <a:cubicBezTo>
                    <a:pt x="79253" y="201822"/>
                    <a:pt x="85976" y="201822"/>
                    <a:pt x="90211" y="197722"/>
                  </a:cubicBezTo>
                  <a:lnTo>
                    <a:pt x="163054" y="127791"/>
                  </a:lnTo>
                  <a:cubicBezTo>
                    <a:pt x="166290" y="124794"/>
                    <a:pt x="167300" y="120080"/>
                    <a:pt x="165552" y="116031"/>
                  </a:cubicBezTo>
                  <a:cubicBezTo>
                    <a:pt x="163949" y="111723"/>
                    <a:pt x="159724" y="108976"/>
                    <a:pt x="155145" y="109267"/>
                  </a:cubicBezTo>
                  <a:lnTo>
                    <a:pt x="111127" y="109267"/>
                  </a:lnTo>
                  <a:cubicBezTo>
                    <a:pt x="108536" y="109267"/>
                    <a:pt x="106445" y="107176"/>
                    <a:pt x="106445" y="104584"/>
                  </a:cubicBezTo>
                  <a:lnTo>
                    <a:pt x="107277" y="24976"/>
                  </a:lnTo>
                  <a:cubicBezTo>
                    <a:pt x="107860" y="11770"/>
                    <a:pt x="97620" y="593"/>
                    <a:pt x="84415" y="11"/>
                  </a:cubicBezTo>
                  <a:cubicBezTo>
                    <a:pt x="84300" y="11"/>
                    <a:pt x="84186" y="0"/>
                    <a:pt x="84071" y="0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" name="Freeform 94">
              <a:extLst>
                <a:ext uri="{FF2B5EF4-FFF2-40B4-BE49-F238E27FC236}">
                  <a16:creationId xmlns:a16="http://schemas.microsoft.com/office/drawing/2014/main" id="{41EB0520-AD5B-F541-B5D9-FA017E712315}"/>
                </a:ext>
              </a:extLst>
            </p:cNvPr>
            <p:cNvSpPr/>
            <p:nvPr/>
          </p:nvSpPr>
          <p:spPr>
            <a:xfrm>
              <a:off x="4716783" y="2043516"/>
              <a:ext cx="937830" cy="589209"/>
            </a:xfrm>
            <a:custGeom>
              <a:avLst/>
              <a:gdLst>
                <a:gd name="connsiteX0" fmla="*/ 165684 w 937830"/>
                <a:gd name="connsiteY0" fmla="*/ 581925 h 589209"/>
                <a:gd name="connsiteX1" fmla="*/ 168702 w 937830"/>
                <a:gd name="connsiteY1" fmla="*/ 581925 h 589209"/>
                <a:gd name="connsiteX2" fmla="*/ 342693 w 937830"/>
                <a:gd name="connsiteY2" fmla="*/ 583798 h 589209"/>
                <a:gd name="connsiteX3" fmla="*/ 358770 w 937830"/>
                <a:gd name="connsiteY3" fmla="*/ 565015 h 589209"/>
                <a:gd name="connsiteX4" fmla="*/ 342693 w 937830"/>
                <a:gd name="connsiteY4" fmla="*/ 548937 h 589209"/>
                <a:gd name="connsiteX5" fmla="*/ 170263 w 937830"/>
                <a:gd name="connsiteY5" fmla="*/ 547064 h 589209"/>
                <a:gd name="connsiteX6" fmla="*/ 34854 w 937830"/>
                <a:gd name="connsiteY6" fmla="*/ 354421 h 589209"/>
                <a:gd name="connsiteX7" fmla="*/ 201481 w 937830"/>
                <a:gd name="connsiteY7" fmla="*/ 216557 h 589209"/>
                <a:gd name="connsiteX8" fmla="*/ 203250 w 937830"/>
                <a:gd name="connsiteY8" fmla="*/ 216557 h 589209"/>
                <a:gd name="connsiteX9" fmla="*/ 235093 w 937830"/>
                <a:gd name="connsiteY9" fmla="*/ 219991 h 589209"/>
                <a:gd name="connsiteX10" fmla="*/ 249766 w 937830"/>
                <a:gd name="connsiteY10" fmla="*/ 216453 h 589209"/>
                <a:gd name="connsiteX11" fmla="*/ 256113 w 937830"/>
                <a:gd name="connsiteY11" fmla="*/ 202820 h 589209"/>
                <a:gd name="connsiteX12" fmla="*/ 256113 w 937830"/>
                <a:gd name="connsiteY12" fmla="*/ 199699 h 589209"/>
                <a:gd name="connsiteX13" fmla="*/ 422612 w 937830"/>
                <a:gd name="connsiteY13" fmla="*/ 34653 h 589209"/>
                <a:gd name="connsiteX14" fmla="*/ 424485 w 937830"/>
                <a:gd name="connsiteY14" fmla="*/ 34653 h 589209"/>
                <a:gd name="connsiteX15" fmla="*/ 586509 w 937830"/>
                <a:gd name="connsiteY15" fmla="*/ 170561 h 589209"/>
                <a:gd name="connsiteX16" fmla="*/ 606999 w 937830"/>
                <a:gd name="connsiteY16" fmla="*/ 184391 h 589209"/>
                <a:gd name="connsiteX17" fmla="*/ 609611 w 937830"/>
                <a:gd name="connsiteY17" fmla="*/ 183673 h 589209"/>
                <a:gd name="connsiteX18" fmla="*/ 651236 w 937830"/>
                <a:gd name="connsiteY18" fmla="*/ 176388 h 589209"/>
                <a:gd name="connsiteX19" fmla="*/ 767681 w 937830"/>
                <a:gd name="connsiteY19" fmla="*/ 295437 h 589209"/>
                <a:gd name="connsiteX20" fmla="*/ 762269 w 937830"/>
                <a:gd name="connsiteY20" fmla="*/ 329778 h 589209"/>
                <a:gd name="connsiteX21" fmla="*/ 764975 w 937830"/>
                <a:gd name="connsiteY21" fmla="*/ 345596 h 589209"/>
                <a:gd name="connsiteX22" fmla="*/ 779439 w 937830"/>
                <a:gd name="connsiteY22" fmla="*/ 352464 h 589209"/>
                <a:gd name="connsiteX23" fmla="*/ 783394 w 937830"/>
                <a:gd name="connsiteY23" fmla="*/ 352464 h 589209"/>
                <a:gd name="connsiteX24" fmla="*/ 785891 w 937830"/>
                <a:gd name="connsiteY24" fmla="*/ 352464 h 589209"/>
                <a:gd name="connsiteX25" fmla="*/ 902440 w 937830"/>
                <a:gd name="connsiteY25" fmla="*/ 471409 h 589209"/>
                <a:gd name="connsiteX26" fmla="*/ 826579 w 937830"/>
                <a:gd name="connsiteY26" fmla="*/ 554660 h 589209"/>
                <a:gd name="connsiteX27" fmla="*/ 825018 w 937830"/>
                <a:gd name="connsiteY27" fmla="*/ 554660 h 589209"/>
                <a:gd name="connsiteX28" fmla="*/ 668926 w 937830"/>
                <a:gd name="connsiteY28" fmla="*/ 552683 h 589209"/>
                <a:gd name="connsiteX29" fmla="*/ 650143 w 937830"/>
                <a:gd name="connsiteY29" fmla="*/ 568761 h 589209"/>
                <a:gd name="connsiteX30" fmla="*/ 666231 w 937830"/>
                <a:gd name="connsiteY30" fmla="*/ 587545 h 589209"/>
                <a:gd name="connsiteX31" fmla="*/ 668926 w 937830"/>
                <a:gd name="connsiteY31" fmla="*/ 587545 h 589209"/>
                <a:gd name="connsiteX32" fmla="*/ 825747 w 937830"/>
                <a:gd name="connsiteY32" fmla="*/ 589210 h 589209"/>
                <a:gd name="connsiteX33" fmla="*/ 827100 w 937830"/>
                <a:gd name="connsiteY33" fmla="*/ 589210 h 589209"/>
                <a:gd name="connsiteX34" fmla="*/ 937821 w 937830"/>
                <a:gd name="connsiteY34" fmla="*/ 471930 h 589209"/>
                <a:gd name="connsiteX35" fmla="*/ 802541 w 937830"/>
                <a:gd name="connsiteY35" fmla="*/ 318644 h 589209"/>
                <a:gd name="connsiteX36" fmla="*/ 804518 w 937830"/>
                <a:gd name="connsiteY36" fmla="*/ 296166 h 589209"/>
                <a:gd name="connsiteX37" fmla="*/ 653421 w 937830"/>
                <a:gd name="connsiteY37" fmla="*/ 141839 h 589209"/>
                <a:gd name="connsiteX38" fmla="*/ 618144 w 937830"/>
                <a:gd name="connsiteY38" fmla="*/ 145689 h 589209"/>
                <a:gd name="connsiteX39" fmla="*/ 426566 w 937830"/>
                <a:gd name="connsiteY39" fmla="*/ 0 h 589209"/>
                <a:gd name="connsiteX40" fmla="*/ 424381 w 937830"/>
                <a:gd name="connsiteY40" fmla="*/ 0 h 589209"/>
                <a:gd name="connsiteX41" fmla="*/ 223542 w 937830"/>
                <a:gd name="connsiteY41" fmla="*/ 183048 h 589209"/>
                <a:gd name="connsiteX42" fmla="*/ 205331 w 937830"/>
                <a:gd name="connsiteY42" fmla="*/ 182008 h 589209"/>
                <a:gd name="connsiteX43" fmla="*/ 203146 w 937830"/>
                <a:gd name="connsiteY43" fmla="*/ 182008 h 589209"/>
                <a:gd name="connsiteX44" fmla="*/ 6 w 937830"/>
                <a:gd name="connsiteY44" fmla="*/ 381998 h 589209"/>
                <a:gd name="connsiteX45" fmla="*/ 165684 w 937830"/>
                <a:gd name="connsiteY45" fmla="*/ 581925 h 589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937830" h="589209">
                  <a:moveTo>
                    <a:pt x="165684" y="581925"/>
                  </a:moveTo>
                  <a:cubicBezTo>
                    <a:pt x="166683" y="582029"/>
                    <a:pt x="167703" y="582029"/>
                    <a:pt x="168702" y="581925"/>
                  </a:cubicBezTo>
                  <a:lnTo>
                    <a:pt x="342693" y="583798"/>
                  </a:lnTo>
                  <a:cubicBezTo>
                    <a:pt x="352318" y="583049"/>
                    <a:pt x="359519" y="574651"/>
                    <a:pt x="358770" y="565015"/>
                  </a:cubicBezTo>
                  <a:cubicBezTo>
                    <a:pt x="358115" y="556430"/>
                    <a:pt x="351288" y="549603"/>
                    <a:pt x="342693" y="548937"/>
                  </a:cubicBezTo>
                  <a:lnTo>
                    <a:pt x="170263" y="547064"/>
                  </a:lnTo>
                  <a:cubicBezTo>
                    <a:pt x="79677" y="531256"/>
                    <a:pt x="19052" y="445008"/>
                    <a:pt x="34854" y="354421"/>
                  </a:cubicBezTo>
                  <a:cubicBezTo>
                    <a:pt x="48927" y="273740"/>
                    <a:pt x="119595" y="215277"/>
                    <a:pt x="201481" y="216557"/>
                  </a:cubicBezTo>
                  <a:lnTo>
                    <a:pt x="203250" y="216557"/>
                  </a:lnTo>
                  <a:cubicBezTo>
                    <a:pt x="213948" y="216682"/>
                    <a:pt x="224614" y="217837"/>
                    <a:pt x="235093" y="219991"/>
                  </a:cubicBezTo>
                  <a:cubicBezTo>
                    <a:pt x="240265" y="221105"/>
                    <a:pt x="245666" y="219804"/>
                    <a:pt x="249766" y="216453"/>
                  </a:cubicBezTo>
                  <a:cubicBezTo>
                    <a:pt x="253803" y="213081"/>
                    <a:pt x="256134" y="208086"/>
                    <a:pt x="256113" y="202820"/>
                  </a:cubicBezTo>
                  <a:cubicBezTo>
                    <a:pt x="256113" y="201988"/>
                    <a:pt x="256113" y="201155"/>
                    <a:pt x="256113" y="199699"/>
                  </a:cubicBezTo>
                  <a:cubicBezTo>
                    <a:pt x="257248" y="108455"/>
                    <a:pt x="331360" y="34986"/>
                    <a:pt x="422612" y="34653"/>
                  </a:cubicBezTo>
                  <a:lnTo>
                    <a:pt x="424485" y="34653"/>
                  </a:lnTo>
                  <a:cubicBezTo>
                    <a:pt x="504019" y="35434"/>
                    <a:pt x="571899" y="92367"/>
                    <a:pt x="586509" y="170561"/>
                  </a:cubicBezTo>
                  <a:cubicBezTo>
                    <a:pt x="588351" y="180041"/>
                    <a:pt x="597519" y="186233"/>
                    <a:pt x="606999" y="184391"/>
                  </a:cubicBezTo>
                  <a:cubicBezTo>
                    <a:pt x="607894" y="184224"/>
                    <a:pt x="608758" y="183975"/>
                    <a:pt x="609611" y="183673"/>
                  </a:cubicBezTo>
                  <a:cubicBezTo>
                    <a:pt x="622910" y="178667"/>
                    <a:pt x="637031" y="176201"/>
                    <a:pt x="651236" y="176388"/>
                  </a:cubicBezTo>
                  <a:cubicBezTo>
                    <a:pt x="716253" y="177127"/>
                    <a:pt x="768378" y="230418"/>
                    <a:pt x="767681" y="295437"/>
                  </a:cubicBezTo>
                  <a:cubicBezTo>
                    <a:pt x="767556" y="307082"/>
                    <a:pt x="765724" y="318654"/>
                    <a:pt x="762269" y="329778"/>
                  </a:cubicBezTo>
                  <a:cubicBezTo>
                    <a:pt x="760521" y="335179"/>
                    <a:pt x="761531" y="341090"/>
                    <a:pt x="764975" y="345596"/>
                  </a:cubicBezTo>
                  <a:cubicBezTo>
                    <a:pt x="768471" y="350008"/>
                    <a:pt x="773810" y="352547"/>
                    <a:pt x="779439" y="352464"/>
                  </a:cubicBezTo>
                  <a:lnTo>
                    <a:pt x="783394" y="352464"/>
                  </a:lnTo>
                  <a:cubicBezTo>
                    <a:pt x="784226" y="352360"/>
                    <a:pt x="785059" y="352360"/>
                    <a:pt x="785891" y="352464"/>
                  </a:cubicBezTo>
                  <a:cubicBezTo>
                    <a:pt x="850909" y="353151"/>
                    <a:pt x="903075" y="406390"/>
                    <a:pt x="902440" y="471409"/>
                  </a:cubicBezTo>
                  <a:cubicBezTo>
                    <a:pt x="902440" y="498570"/>
                    <a:pt x="883189" y="554660"/>
                    <a:pt x="826579" y="554660"/>
                  </a:cubicBezTo>
                  <a:lnTo>
                    <a:pt x="825018" y="554660"/>
                  </a:lnTo>
                  <a:lnTo>
                    <a:pt x="668926" y="552683"/>
                  </a:lnTo>
                  <a:cubicBezTo>
                    <a:pt x="659300" y="551934"/>
                    <a:pt x="650892" y="559135"/>
                    <a:pt x="650143" y="568761"/>
                  </a:cubicBezTo>
                  <a:cubicBezTo>
                    <a:pt x="649404" y="578397"/>
                    <a:pt x="656605" y="586795"/>
                    <a:pt x="666231" y="587545"/>
                  </a:cubicBezTo>
                  <a:cubicBezTo>
                    <a:pt x="667126" y="587617"/>
                    <a:pt x="668031" y="587617"/>
                    <a:pt x="668926" y="587545"/>
                  </a:cubicBezTo>
                  <a:lnTo>
                    <a:pt x="825747" y="589210"/>
                  </a:lnTo>
                  <a:lnTo>
                    <a:pt x="827100" y="589210"/>
                  </a:lnTo>
                  <a:cubicBezTo>
                    <a:pt x="902649" y="589210"/>
                    <a:pt x="937301" y="520840"/>
                    <a:pt x="937821" y="471930"/>
                  </a:cubicBezTo>
                  <a:cubicBezTo>
                    <a:pt x="938654" y="393726"/>
                    <a:pt x="880244" y="327541"/>
                    <a:pt x="802541" y="318644"/>
                  </a:cubicBezTo>
                  <a:cubicBezTo>
                    <a:pt x="803769" y="311213"/>
                    <a:pt x="804425" y="303700"/>
                    <a:pt x="804518" y="296166"/>
                  </a:cubicBezTo>
                  <a:cubicBezTo>
                    <a:pt x="805382" y="211832"/>
                    <a:pt x="737752" y="142755"/>
                    <a:pt x="653421" y="141839"/>
                  </a:cubicBezTo>
                  <a:cubicBezTo>
                    <a:pt x="641547" y="141725"/>
                    <a:pt x="629705" y="143015"/>
                    <a:pt x="618144" y="145689"/>
                  </a:cubicBezTo>
                  <a:cubicBezTo>
                    <a:pt x="593263" y="60284"/>
                    <a:pt x="515508" y="1166"/>
                    <a:pt x="426566" y="0"/>
                  </a:cubicBezTo>
                  <a:lnTo>
                    <a:pt x="424381" y="0"/>
                  </a:lnTo>
                  <a:cubicBezTo>
                    <a:pt x="320267" y="135"/>
                    <a:pt x="233303" y="79390"/>
                    <a:pt x="223542" y="183048"/>
                  </a:cubicBezTo>
                  <a:cubicBezTo>
                    <a:pt x="217496" y="182393"/>
                    <a:pt x="211419" y="182049"/>
                    <a:pt x="205331" y="182008"/>
                  </a:cubicBezTo>
                  <a:lnTo>
                    <a:pt x="203146" y="182008"/>
                  </a:lnTo>
                  <a:cubicBezTo>
                    <a:pt x="91831" y="181134"/>
                    <a:pt x="878" y="270670"/>
                    <a:pt x="6" y="381998"/>
                  </a:cubicBezTo>
                  <a:cubicBezTo>
                    <a:pt x="-762" y="480067"/>
                    <a:pt x="69177" y="564463"/>
                    <a:pt x="165684" y="581925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" name="Freeform 95">
              <a:extLst>
                <a:ext uri="{FF2B5EF4-FFF2-40B4-BE49-F238E27FC236}">
                  <a16:creationId xmlns:a16="http://schemas.microsoft.com/office/drawing/2014/main" id="{4D54C384-F276-C345-B611-14C206D15F44}"/>
                </a:ext>
              </a:extLst>
            </p:cNvPr>
            <p:cNvSpPr/>
            <p:nvPr/>
          </p:nvSpPr>
          <p:spPr>
            <a:xfrm>
              <a:off x="8333388" y="5476166"/>
              <a:ext cx="290273" cy="26328"/>
            </a:xfrm>
            <a:custGeom>
              <a:avLst/>
              <a:gdLst>
                <a:gd name="connsiteX0" fmla="*/ 278232 w 290273"/>
                <a:gd name="connsiteY0" fmla="*/ 0 h 26328"/>
                <a:gd name="connsiteX1" fmla="*/ 12042 w 290273"/>
                <a:gd name="connsiteY1" fmla="*/ 0 h 26328"/>
                <a:gd name="connsiteX2" fmla="*/ 54 w 290273"/>
                <a:gd name="connsiteY2" fmla="*/ 14340 h 26328"/>
                <a:gd name="connsiteX3" fmla="*/ 12042 w 290273"/>
                <a:gd name="connsiteY3" fmla="*/ 26328 h 26328"/>
                <a:gd name="connsiteX4" fmla="*/ 278232 w 290273"/>
                <a:gd name="connsiteY4" fmla="*/ 26328 h 26328"/>
                <a:gd name="connsiteX5" fmla="*/ 290220 w 290273"/>
                <a:gd name="connsiteY5" fmla="*/ 11988 h 26328"/>
                <a:gd name="connsiteX6" fmla="*/ 278232 w 290273"/>
                <a:gd name="connsiteY6" fmla="*/ 0 h 26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0273" h="26328">
                  <a:moveTo>
                    <a:pt x="278232" y="0"/>
                  </a:moveTo>
                  <a:lnTo>
                    <a:pt x="12042" y="0"/>
                  </a:lnTo>
                  <a:cubicBezTo>
                    <a:pt x="4768" y="645"/>
                    <a:pt x="-602" y="7066"/>
                    <a:pt x="54" y="14340"/>
                  </a:cubicBezTo>
                  <a:cubicBezTo>
                    <a:pt x="616" y="20709"/>
                    <a:pt x="5674" y="25756"/>
                    <a:pt x="12042" y="26328"/>
                  </a:cubicBezTo>
                  <a:lnTo>
                    <a:pt x="278232" y="26328"/>
                  </a:lnTo>
                  <a:cubicBezTo>
                    <a:pt x="285506" y="25683"/>
                    <a:pt x="290875" y="19262"/>
                    <a:pt x="290220" y="11988"/>
                  </a:cubicBezTo>
                  <a:cubicBezTo>
                    <a:pt x="289658" y="5620"/>
                    <a:pt x="284600" y="572"/>
                    <a:pt x="278232" y="0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" name="Freeform 96">
              <a:extLst>
                <a:ext uri="{FF2B5EF4-FFF2-40B4-BE49-F238E27FC236}">
                  <a16:creationId xmlns:a16="http://schemas.microsoft.com/office/drawing/2014/main" id="{E0C58198-CD49-F544-BB17-FBA897EC1981}"/>
                </a:ext>
              </a:extLst>
            </p:cNvPr>
            <p:cNvSpPr/>
            <p:nvPr/>
          </p:nvSpPr>
          <p:spPr>
            <a:xfrm>
              <a:off x="8107786" y="4772437"/>
              <a:ext cx="57445" cy="102409"/>
            </a:xfrm>
            <a:custGeom>
              <a:avLst/>
              <a:gdLst>
                <a:gd name="connsiteX0" fmla="*/ 9333 w 57445"/>
                <a:gd name="connsiteY0" fmla="*/ 25753 h 102409"/>
                <a:gd name="connsiteX1" fmla="*/ 30770 w 57445"/>
                <a:gd name="connsiteY1" fmla="*/ 43860 h 102409"/>
                <a:gd name="connsiteX2" fmla="*/ 9437 w 57445"/>
                <a:gd name="connsiteY2" fmla="*/ 80075 h 102409"/>
                <a:gd name="connsiteX3" fmla="*/ 9895 w 57445"/>
                <a:gd name="connsiteY3" fmla="*/ 98765 h 102409"/>
                <a:gd name="connsiteX4" fmla="*/ 27232 w 57445"/>
                <a:gd name="connsiteY4" fmla="*/ 99535 h 102409"/>
                <a:gd name="connsiteX5" fmla="*/ 56473 w 57445"/>
                <a:gd name="connsiteY5" fmla="*/ 38033 h 102409"/>
                <a:gd name="connsiteX6" fmla="*/ 17138 w 57445"/>
                <a:gd name="connsiteY6" fmla="*/ 570 h 102409"/>
                <a:gd name="connsiteX7" fmla="*/ 592 w 57445"/>
                <a:gd name="connsiteY7" fmla="*/ 9311 h 102409"/>
                <a:gd name="connsiteX8" fmla="*/ 9229 w 57445"/>
                <a:gd name="connsiteY8" fmla="*/ 25722 h 102409"/>
                <a:gd name="connsiteX9" fmla="*/ 9333 w 57445"/>
                <a:gd name="connsiteY9" fmla="*/ 25753 h 102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445" h="102409">
                  <a:moveTo>
                    <a:pt x="9333" y="25753"/>
                  </a:moveTo>
                  <a:cubicBezTo>
                    <a:pt x="13287" y="27002"/>
                    <a:pt x="28481" y="33662"/>
                    <a:pt x="30770" y="43860"/>
                  </a:cubicBezTo>
                  <a:cubicBezTo>
                    <a:pt x="33059" y="54059"/>
                    <a:pt x="25150" y="65610"/>
                    <a:pt x="9437" y="80075"/>
                  </a:cubicBezTo>
                  <a:cubicBezTo>
                    <a:pt x="4401" y="85361"/>
                    <a:pt x="4609" y="93728"/>
                    <a:pt x="9895" y="98765"/>
                  </a:cubicBezTo>
                  <a:cubicBezTo>
                    <a:pt x="14672" y="103312"/>
                    <a:pt x="22070" y="103645"/>
                    <a:pt x="27232" y="99535"/>
                  </a:cubicBezTo>
                  <a:cubicBezTo>
                    <a:pt x="50958" y="77785"/>
                    <a:pt x="60740" y="57076"/>
                    <a:pt x="56473" y="38033"/>
                  </a:cubicBezTo>
                  <a:cubicBezTo>
                    <a:pt x="50542" y="11601"/>
                    <a:pt x="20468" y="1611"/>
                    <a:pt x="17138" y="570"/>
                  </a:cubicBezTo>
                  <a:cubicBezTo>
                    <a:pt x="10155" y="-1532"/>
                    <a:pt x="2788" y="2360"/>
                    <a:pt x="592" y="9311"/>
                  </a:cubicBezTo>
                  <a:cubicBezTo>
                    <a:pt x="-1552" y="16231"/>
                    <a:pt x="2309" y="23578"/>
                    <a:pt x="9229" y="25722"/>
                  </a:cubicBezTo>
                  <a:cubicBezTo>
                    <a:pt x="9260" y="25732"/>
                    <a:pt x="9302" y="25743"/>
                    <a:pt x="9333" y="25753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" name="Freeform 97">
              <a:extLst>
                <a:ext uri="{FF2B5EF4-FFF2-40B4-BE49-F238E27FC236}">
                  <a16:creationId xmlns:a16="http://schemas.microsoft.com/office/drawing/2014/main" id="{7F926C86-4CDC-A14B-A547-61BAF91C40EB}"/>
                </a:ext>
              </a:extLst>
            </p:cNvPr>
            <p:cNvSpPr/>
            <p:nvPr/>
          </p:nvSpPr>
          <p:spPr>
            <a:xfrm>
              <a:off x="7242169" y="1150294"/>
              <a:ext cx="705264" cy="805744"/>
            </a:xfrm>
            <a:custGeom>
              <a:avLst/>
              <a:gdLst>
                <a:gd name="connsiteX0" fmla="*/ 5307 w 705264"/>
                <a:gd name="connsiteY0" fmla="*/ 606629 h 805744"/>
                <a:gd name="connsiteX1" fmla="*/ 348711 w 705264"/>
                <a:gd name="connsiteY1" fmla="*/ 804351 h 805744"/>
                <a:gd name="connsiteX2" fmla="*/ 359117 w 705264"/>
                <a:gd name="connsiteY2" fmla="*/ 804351 h 805744"/>
                <a:gd name="connsiteX3" fmla="*/ 361926 w 705264"/>
                <a:gd name="connsiteY3" fmla="*/ 801853 h 805744"/>
                <a:gd name="connsiteX4" fmla="*/ 700127 w 705264"/>
                <a:gd name="connsiteY4" fmla="*/ 606005 h 805744"/>
                <a:gd name="connsiteX5" fmla="*/ 700127 w 705264"/>
                <a:gd name="connsiteY5" fmla="*/ 606005 h 805744"/>
                <a:gd name="connsiteX6" fmla="*/ 702000 w 705264"/>
                <a:gd name="connsiteY6" fmla="*/ 604548 h 805744"/>
                <a:gd name="connsiteX7" fmla="*/ 702000 w 705264"/>
                <a:gd name="connsiteY7" fmla="*/ 604548 h 805744"/>
                <a:gd name="connsiteX8" fmla="*/ 703353 w 705264"/>
                <a:gd name="connsiteY8" fmla="*/ 602779 h 805744"/>
                <a:gd name="connsiteX9" fmla="*/ 703353 w 705264"/>
                <a:gd name="connsiteY9" fmla="*/ 602155 h 805744"/>
                <a:gd name="connsiteX10" fmla="*/ 704081 w 705264"/>
                <a:gd name="connsiteY10" fmla="*/ 600490 h 805744"/>
                <a:gd name="connsiteX11" fmla="*/ 704081 w 705264"/>
                <a:gd name="connsiteY11" fmla="*/ 599865 h 805744"/>
                <a:gd name="connsiteX12" fmla="*/ 704081 w 705264"/>
                <a:gd name="connsiteY12" fmla="*/ 597472 h 805744"/>
                <a:gd name="connsiteX13" fmla="*/ 705226 w 705264"/>
                <a:gd name="connsiteY13" fmla="*/ 210979 h 805744"/>
                <a:gd name="connsiteX14" fmla="*/ 705226 w 705264"/>
                <a:gd name="connsiteY14" fmla="*/ 209209 h 805744"/>
                <a:gd name="connsiteX15" fmla="*/ 705226 w 705264"/>
                <a:gd name="connsiteY15" fmla="*/ 207961 h 805744"/>
                <a:gd name="connsiteX16" fmla="*/ 700127 w 705264"/>
                <a:gd name="connsiteY16" fmla="*/ 199115 h 805744"/>
                <a:gd name="connsiteX17" fmla="*/ 356723 w 705264"/>
                <a:gd name="connsiteY17" fmla="*/ 1394 h 805744"/>
                <a:gd name="connsiteX18" fmla="*/ 346317 w 705264"/>
                <a:gd name="connsiteY18" fmla="*/ 1394 h 805744"/>
                <a:gd name="connsiteX19" fmla="*/ 6244 w 705264"/>
                <a:gd name="connsiteY19" fmla="*/ 199427 h 805744"/>
                <a:gd name="connsiteX20" fmla="*/ 1145 w 705264"/>
                <a:gd name="connsiteY20" fmla="*/ 208273 h 805744"/>
                <a:gd name="connsiteX21" fmla="*/ 1145 w 705264"/>
                <a:gd name="connsiteY21" fmla="*/ 209001 h 805744"/>
                <a:gd name="connsiteX22" fmla="*/ 1145 w 705264"/>
                <a:gd name="connsiteY22" fmla="*/ 209730 h 805744"/>
                <a:gd name="connsiteX23" fmla="*/ 0 w 705264"/>
                <a:gd name="connsiteY23" fmla="*/ 597784 h 805744"/>
                <a:gd name="connsiteX24" fmla="*/ 5307 w 705264"/>
                <a:gd name="connsiteY24" fmla="*/ 606629 h 805744"/>
                <a:gd name="connsiteX25" fmla="*/ 684518 w 705264"/>
                <a:gd name="connsiteY25" fmla="*/ 591956 h 805744"/>
                <a:gd name="connsiteX26" fmla="*/ 363904 w 705264"/>
                <a:gd name="connsiteY26" fmla="*/ 777919 h 805744"/>
                <a:gd name="connsiteX27" fmla="*/ 364528 w 705264"/>
                <a:gd name="connsiteY27" fmla="*/ 559384 h 805744"/>
                <a:gd name="connsiteX28" fmla="*/ 364528 w 705264"/>
                <a:gd name="connsiteY28" fmla="*/ 413695 h 805744"/>
                <a:gd name="connsiteX29" fmla="*/ 495334 w 705264"/>
                <a:gd name="connsiteY29" fmla="*/ 339185 h 805744"/>
                <a:gd name="connsiteX30" fmla="*/ 497311 w 705264"/>
                <a:gd name="connsiteY30" fmla="*/ 482689 h 805744"/>
                <a:gd name="connsiteX31" fmla="*/ 502826 w 705264"/>
                <a:gd name="connsiteY31" fmla="*/ 491639 h 805744"/>
                <a:gd name="connsiteX32" fmla="*/ 507509 w 705264"/>
                <a:gd name="connsiteY32" fmla="*/ 492783 h 805744"/>
                <a:gd name="connsiteX33" fmla="*/ 513336 w 705264"/>
                <a:gd name="connsiteY33" fmla="*/ 490910 h 805744"/>
                <a:gd name="connsiteX34" fmla="*/ 575773 w 705264"/>
                <a:gd name="connsiteY34" fmla="*/ 439607 h 805744"/>
                <a:gd name="connsiteX35" fmla="*/ 575773 w 705264"/>
                <a:gd name="connsiteY35" fmla="*/ 438358 h 805744"/>
                <a:gd name="connsiteX36" fmla="*/ 574628 w 705264"/>
                <a:gd name="connsiteY36" fmla="*/ 293397 h 805744"/>
                <a:gd name="connsiteX37" fmla="*/ 685975 w 705264"/>
                <a:gd name="connsiteY37" fmla="*/ 228982 h 805744"/>
                <a:gd name="connsiteX38" fmla="*/ 515314 w 705264"/>
                <a:gd name="connsiteY38" fmla="*/ 327530 h 805744"/>
                <a:gd name="connsiteX39" fmla="*/ 553920 w 705264"/>
                <a:gd name="connsiteY39" fmla="*/ 305156 h 805744"/>
                <a:gd name="connsiteX40" fmla="*/ 554961 w 705264"/>
                <a:gd name="connsiteY40" fmla="*/ 435444 h 805744"/>
                <a:gd name="connsiteX41" fmla="*/ 517187 w 705264"/>
                <a:gd name="connsiteY41" fmla="*/ 463125 h 805744"/>
                <a:gd name="connsiteX42" fmla="*/ 352561 w 705264"/>
                <a:gd name="connsiteY42" fmla="*/ 21895 h 805744"/>
                <a:gd name="connsiteX43" fmla="*/ 675152 w 705264"/>
                <a:gd name="connsiteY43" fmla="*/ 208273 h 805744"/>
                <a:gd name="connsiteX44" fmla="*/ 561204 w 705264"/>
                <a:gd name="connsiteY44" fmla="*/ 274458 h 805744"/>
                <a:gd name="connsiteX45" fmla="*/ 557146 w 705264"/>
                <a:gd name="connsiteY45" fmla="*/ 269775 h 805744"/>
                <a:gd name="connsiteX46" fmla="*/ 245586 w 705264"/>
                <a:gd name="connsiteY46" fmla="*/ 84125 h 805744"/>
                <a:gd name="connsiteX47" fmla="*/ 225293 w 705264"/>
                <a:gd name="connsiteY47" fmla="*/ 95884 h 805744"/>
                <a:gd name="connsiteX48" fmla="*/ 543306 w 705264"/>
                <a:gd name="connsiteY48" fmla="*/ 285072 h 805744"/>
                <a:gd name="connsiteX49" fmla="*/ 506260 w 705264"/>
                <a:gd name="connsiteY49" fmla="*/ 306613 h 805744"/>
                <a:gd name="connsiteX50" fmla="*/ 187207 w 705264"/>
                <a:gd name="connsiteY50" fmla="*/ 117945 h 805744"/>
                <a:gd name="connsiteX51" fmla="*/ 167019 w 705264"/>
                <a:gd name="connsiteY51" fmla="*/ 129705 h 805744"/>
                <a:gd name="connsiteX52" fmla="*/ 486072 w 705264"/>
                <a:gd name="connsiteY52" fmla="*/ 318372 h 805744"/>
                <a:gd name="connsiteX53" fmla="*/ 354746 w 705264"/>
                <a:gd name="connsiteY53" fmla="*/ 394651 h 805744"/>
                <a:gd name="connsiteX54" fmla="*/ 32155 w 705264"/>
                <a:gd name="connsiteY54" fmla="*/ 208273 h 805744"/>
                <a:gd name="connsiteX55" fmla="*/ 21333 w 705264"/>
                <a:gd name="connsiteY55" fmla="*/ 227421 h 805744"/>
                <a:gd name="connsiteX56" fmla="*/ 343924 w 705264"/>
                <a:gd name="connsiteY56" fmla="*/ 413903 h 805744"/>
                <a:gd name="connsiteX57" fmla="*/ 343924 w 705264"/>
                <a:gd name="connsiteY57" fmla="*/ 584256 h 805744"/>
                <a:gd name="connsiteX58" fmla="*/ 343508 w 705264"/>
                <a:gd name="connsiteY58" fmla="*/ 777919 h 805744"/>
                <a:gd name="connsiteX59" fmla="*/ 20916 w 705264"/>
                <a:gd name="connsiteY59" fmla="*/ 591540 h 805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705264" h="805744">
                  <a:moveTo>
                    <a:pt x="5307" y="606629"/>
                  </a:moveTo>
                  <a:lnTo>
                    <a:pt x="348711" y="804351"/>
                  </a:lnTo>
                  <a:cubicBezTo>
                    <a:pt x="351926" y="806209"/>
                    <a:pt x="355901" y="806209"/>
                    <a:pt x="359117" y="804351"/>
                  </a:cubicBezTo>
                  <a:cubicBezTo>
                    <a:pt x="360168" y="803662"/>
                    <a:pt x="361115" y="802821"/>
                    <a:pt x="361926" y="801853"/>
                  </a:cubicBezTo>
                  <a:lnTo>
                    <a:pt x="700127" y="606005"/>
                  </a:lnTo>
                  <a:lnTo>
                    <a:pt x="700127" y="606005"/>
                  </a:lnTo>
                  <a:cubicBezTo>
                    <a:pt x="700814" y="605604"/>
                    <a:pt x="701438" y="605115"/>
                    <a:pt x="702000" y="604548"/>
                  </a:cubicBezTo>
                  <a:lnTo>
                    <a:pt x="702000" y="604548"/>
                  </a:lnTo>
                  <a:cubicBezTo>
                    <a:pt x="702510" y="604008"/>
                    <a:pt x="702968" y="603415"/>
                    <a:pt x="703353" y="602779"/>
                  </a:cubicBezTo>
                  <a:lnTo>
                    <a:pt x="703353" y="602155"/>
                  </a:lnTo>
                  <a:cubicBezTo>
                    <a:pt x="703655" y="601629"/>
                    <a:pt x="703904" y="601070"/>
                    <a:pt x="704081" y="600490"/>
                  </a:cubicBezTo>
                  <a:cubicBezTo>
                    <a:pt x="704081" y="600490"/>
                    <a:pt x="704081" y="600490"/>
                    <a:pt x="704081" y="599865"/>
                  </a:cubicBezTo>
                  <a:cubicBezTo>
                    <a:pt x="704185" y="599071"/>
                    <a:pt x="704185" y="598266"/>
                    <a:pt x="704081" y="597472"/>
                  </a:cubicBezTo>
                  <a:lnTo>
                    <a:pt x="705226" y="210979"/>
                  </a:lnTo>
                  <a:cubicBezTo>
                    <a:pt x="705278" y="210390"/>
                    <a:pt x="705278" y="209798"/>
                    <a:pt x="705226" y="209209"/>
                  </a:cubicBezTo>
                  <a:cubicBezTo>
                    <a:pt x="705278" y="208794"/>
                    <a:pt x="705278" y="208376"/>
                    <a:pt x="705226" y="207961"/>
                  </a:cubicBezTo>
                  <a:cubicBezTo>
                    <a:pt x="705184" y="204324"/>
                    <a:pt x="703259" y="200970"/>
                    <a:pt x="700127" y="199115"/>
                  </a:cubicBezTo>
                  <a:lnTo>
                    <a:pt x="356723" y="1394"/>
                  </a:lnTo>
                  <a:cubicBezTo>
                    <a:pt x="353508" y="-465"/>
                    <a:pt x="349533" y="-465"/>
                    <a:pt x="346317" y="1394"/>
                  </a:cubicBezTo>
                  <a:lnTo>
                    <a:pt x="6244" y="199427"/>
                  </a:lnTo>
                  <a:cubicBezTo>
                    <a:pt x="3112" y="201282"/>
                    <a:pt x="1186" y="204636"/>
                    <a:pt x="1145" y="208273"/>
                  </a:cubicBezTo>
                  <a:cubicBezTo>
                    <a:pt x="1145" y="208273"/>
                    <a:pt x="1145" y="208793"/>
                    <a:pt x="1145" y="209001"/>
                  </a:cubicBezTo>
                  <a:cubicBezTo>
                    <a:pt x="1145" y="209209"/>
                    <a:pt x="1145" y="209522"/>
                    <a:pt x="1145" y="209730"/>
                  </a:cubicBezTo>
                  <a:lnTo>
                    <a:pt x="0" y="597784"/>
                  </a:lnTo>
                  <a:cubicBezTo>
                    <a:pt x="83" y="601464"/>
                    <a:pt x="2102" y="604827"/>
                    <a:pt x="5307" y="606629"/>
                  </a:cubicBezTo>
                  <a:close/>
                  <a:moveTo>
                    <a:pt x="684518" y="591956"/>
                  </a:moveTo>
                  <a:lnTo>
                    <a:pt x="363904" y="777919"/>
                  </a:lnTo>
                  <a:lnTo>
                    <a:pt x="364528" y="559384"/>
                  </a:lnTo>
                  <a:lnTo>
                    <a:pt x="364528" y="413695"/>
                  </a:lnTo>
                  <a:lnTo>
                    <a:pt x="495334" y="339185"/>
                  </a:lnTo>
                  <a:lnTo>
                    <a:pt x="497311" y="482689"/>
                  </a:lnTo>
                  <a:cubicBezTo>
                    <a:pt x="497394" y="486450"/>
                    <a:pt x="499506" y="489872"/>
                    <a:pt x="502826" y="491639"/>
                  </a:cubicBezTo>
                  <a:cubicBezTo>
                    <a:pt x="504273" y="492382"/>
                    <a:pt x="505875" y="492774"/>
                    <a:pt x="507509" y="492783"/>
                  </a:cubicBezTo>
                  <a:cubicBezTo>
                    <a:pt x="509600" y="492758"/>
                    <a:pt x="511630" y="492105"/>
                    <a:pt x="513336" y="490910"/>
                  </a:cubicBezTo>
                  <a:cubicBezTo>
                    <a:pt x="575773" y="447828"/>
                    <a:pt x="575773" y="445747"/>
                    <a:pt x="575773" y="439607"/>
                  </a:cubicBezTo>
                  <a:cubicBezTo>
                    <a:pt x="575825" y="439193"/>
                    <a:pt x="575825" y="438773"/>
                    <a:pt x="575773" y="438358"/>
                  </a:cubicBezTo>
                  <a:lnTo>
                    <a:pt x="574628" y="293397"/>
                  </a:lnTo>
                  <a:lnTo>
                    <a:pt x="685975" y="228982"/>
                  </a:lnTo>
                  <a:close/>
                  <a:moveTo>
                    <a:pt x="515314" y="327530"/>
                  </a:moveTo>
                  <a:lnTo>
                    <a:pt x="553920" y="305156"/>
                  </a:lnTo>
                  <a:lnTo>
                    <a:pt x="554961" y="435444"/>
                  </a:lnTo>
                  <a:cubicBezTo>
                    <a:pt x="549029" y="440335"/>
                    <a:pt x="534149" y="451470"/>
                    <a:pt x="517187" y="463125"/>
                  </a:cubicBezTo>
                  <a:close/>
                  <a:moveTo>
                    <a:pt x="352561" y="21895"/>
                  </a:moveTo>
                  <a:lnTo>
                    <a:pt x="675152" y="208273"/>
                  </a:lnTo>
                  <a:lnTo>
                    <a:pt x="561204" y="274458"/>
                  </a:lnTo>
                  <a:cubicBezTo>
                    <a:pt x="560362" y="272521"/>
                    <a:pt x="558947" y="270887"/>
                    <a:pt x="557146" y="269775"/>
                  </a:cubicBezTo>
                  <a:lnTo>
                    <a:pt x="245586" y="84125"/>
                  </a:lnTo>
                  <a:close/>
                  <a:moveTo>
                    <a:pt x="225293" y="95884"/>
                  </a:moveTo>
                  <a:lnTo>
                    <a:pt x="543306" y="285072"/>
                  </a:lnTo>
                  <a:lnTo>
                    <a:pt x="506260" y="306613"/>
                  </a:lnTo>
                  <a:lnTo>
                    <a:pt x="187207" y="117945"/>
                  </a:lnTo>
                  <a:close/>
                  <a:moveTo>
                    <a:pt x="167019" y="129705"/>
                  </a:moveTo>
                  <a:lnTo>
                    <a:pt x="486072" y="318372"/>
                  </a:lnTo>
                  <a:lnTo>
                    <a:pt x="354746" y="394651"/>
                  </a:lnTo>
                  <a:lnTo>
                    <a:pt x="32155" y="208273"/>
                  </a:lnTo>
                  <a:close/>
                  <a:moveTo>
                    <a:pt x="21333" y="227421"/>
                  </a:moveTo>
                  <a:lnTo>
                    <a:pt x="343924" y="413903"/>
                  </a:lnTo>
                  <a:lnTo>
                    <a:pt x="343924" y="584256"/>
                  </a:lnTo>
                  <a:lnTo>
                    <a:pt x="343508" y="777919"/>
                  </a:lnTo>
                  <a:lnTo>
                    <a:pt x="20916" y="591540"/>
                  </a:ln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" name="Freeform 98">
              <a:extLst>
                <a:ext uri="{FF2B5EF4-FFF2-40B4-BE49-F238E27FC236}">
                  <a16:creationId xmlns:a16="http://schemas.microsoft.com/office/drawing/2014/main" id="{B41E340C-CB0B-5B40-B2F8-EA91174306FD}"/>
                </a:ext>
              </a:extLst>
            </p:cNvPr>
            <p:cNvSpPr/>
            <p:nvPr/>
          </p:nvSpPr>
          <p:spPr>
            <a:xfrm>
              <a:off x="7794270" y="1716176"/>
              <a:ext cx="113772" cy="72279"/>
            </a:xfrm>
            <a:custGeom>
              <a:avLst/>
              <a:gdLst>
                <a:gd name="connsiteX0" fmla="*/ 1091 w 113772"/>
                <a:gd name="connsiteY0" fmla="*/ 67076 h 72279"/>
                <a:gd name="connsiteX1" fmla="*/ 10040 w 113772"/>
                <a:gd name="connsiteY1" fmla="*/ 72279 h 72279"/>
                <a:gd name="connsiteX2" fmla="*/ 15035 w 113772"/>
                <a:gd name="connsiteY2" fmla="*/ 71031 h 72279"/>
                <a:gd name="connsiteX3" fmla="*/ 108690 w 113772"/>
                <a:gd name="connsiteY3" fmla="*/ 18999 h 72279"/>
                <a:gd name="connsiteX4" fmla="*/ 112540 w 113772"/>
                <a:gd name="connsiteY4" fmla="*/ 5158 h 72279"/>
                <a:gd name="connsiteX5" fmla="*/ 98700 w 113772"/>
                <a:gd name="connsiteY5" fmla="*/ 1204 h 72279"/>
                <a:gd name="connsiteX6" fmla="*/ 5565 w 113772"/>
                <a:gd name="connsiteY6" fmla="*/ 53236 h 72279"/>
                <a:gd name="connsiteX7" fmla="*/ 1091 w 113772"/>
                <a:gd name="connsiteY7" fmla="*/ 67076 h 72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772" h="72279">
                  <a:moveTo>
                    <a:pt x="1091" y="67076"/>
                  </a:moveTo>
                  <a:cubicBezTo>
                    <a:pt x="2943" y="70276"/>
                    <a:pt x="6346" y="72258"/>
                    <a:pt x="10040" y="72279"/>
                  </a:cubicBezTo>
                  <a:cubicBezTo>
                    <a:pt x="11778" y="72288"/>
                    <a:pt x="13505" y="71859"/>
                    <a:pt x="15035" y="71031"/>
                  </a:cubicBezTo>
                  <a:lnTo>
                    <a:pt x="108690" y="18999"/>
                  </a:lnTo>
                  <a:cubicBezTo>
                    <a:pt x="113467" y="16154"/>
                    <a:pt x="115163" y="10060"/>
                    <a:pt x="112540" y="5158"/>
                  </a:cubicBezTo>
                  <a:cubicBezTo>
                    <a:pt x="109731" y="347"/>
                    <a:pt x="103633" y="-1396"/>
                    <a:pt x="98700" y="1204"/>
                  </a:cubicBezTo>
                  <a:lnTo>
                    <a:pt x="5565" y="53236"/>
                  </a:lnTo>
                  <a:cubicBezTo>
                    <a:pt x="560" y="55867"/>
                    <a:pt x="-1428" y="62014"/>
                    <a:pt x="1091" y="67076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" name="Freeform 99">
              <a:extLst>
                <a:ext uri="{FF2B5EF4-FFF2-40B4-BE49-F238E27FC236}">
                  <a16:creationId xmlns:a16="http://schemas.microsoft.com/office/drawing/2014/main" id="{20171665-5F16-D44D-989A-F85BEE7144D5}"/>
                </a:ext>
              </a:extLst>
            </p:cNvPr>
            <p:cNvSpPr/>
            <p:nvPr/>
          </p:nvSpPr>
          <p:spPr>
            <a:xfrm>
              <a:off x="7796456" y="1691628"/>
              <a:ext cx="77908" cy="53120"/>
            </a:xfrm>
            <a:custGeom>
              <a:avLst/>
              <a:gdLst>
                <a:gd name="connsiteX0" fmla="*/ 1298 w 77908"/>
                <a:gd name="connsiteY0" fmla="*/ 48021 h 53120"/>
                <a:gd name="connsiteX1" fmla="*/ 10144 w 77908"/>
                <a:gd name="connsiteY1" fmla="*/ 53121 h 53120"/>
                <a:gd name="connsiteX2" fmla="*/ 15242 w 77908"/>
                <a:gd name="connsiteY2" fmla="*/ 51768 h 53120"/>
                <a:gd name="connsiteX3" fmla="*/ 72789 w 77908"/>
                <a:gd name="connsiteY3" fmla="*/ 18988 h 53120"/>
                <a:gd name="connsiteX4" fmla="*/ 76639 w 77908"/>
                <a:gd name="connsiteY4" fmla="*/ 5043 h 53120"/>
                <a:gd name="connsiteX5" fmla="*/ 62695 w 77908"/>
                <a:gd name="connsiteY5" fmla="*/ 1297 h 53120"/>
                <a:gd name="connsiteX6" fmla="*/ 5044 w 77908"/>
                <a:gd name="connsiteY6" fmla="*/ 34077 h 53120"/>
                <a:gd name="connsiteX7" fmla="*/ 1298 w 77908"/>
                <a:gd name="connsiteY7" fmla="*/ 48021 h 53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7908" h="53120">
                  <a:moveTo>
                    <a:pt x="1298" y="48021"/>
                  </a:moveTo>
                  <a:cubicBezTo>
                    <a:pt x="3150" y="51150"/>
                    <a:pt x="6511" y="53083"/>
                    <a:pt x="10144" y="53121"/>
                  </a:cubicBezTo>
                  <a:cubicBezTo>
                    <a:pt x="11933" y="53115"/>
                    <a:pt x="13692" y="52649"/>
                    <a:pt x="15242" y="51768"/>
                  </a:cubicBezTo>
                  <a:lnTo>
                    <a:pt x="72789" y="18988"/>
                  </a:lnTo>
                  <a:cubicBezTo>
                    <a:pt x="77617" y="16137"/>
                    <a:pt x="79323" y="9969"/>
                    <a:pt x="76639" y="5043"/>
                  </a:cubicBezTo>
                  <a:cubicBezTo>
                    <a:pt x="73756" y="248"/>
                    <a:pt x="67596" y="-1407"/>
                    <a:pt x="62695" y="1297"/>
                  </a:cubicBezTo>
                  <a:lnTo>
                    <a:pt x="5044" y="34077"/>
                  </a:lnTo>
                  <a:cubicBezTo>
                    <a:pt x="247" y="36962"/>
                    <a:pt x="-1407" y="43122"/>
                    <a:pt x="1298" y="48021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" name="Freeform 100">
              <a:extLst>
                <a:ext uri="{FF2B5EF4-FFF2-40B4-BE49-F238E27FC236}">
                  <a16:creationId xmlns:a16="http://schemas.microsoft.com/office/drawing/2014/main" id="{F0366134-AE47-6542-81E0-CAAE3D9EFB7B}"/>
                </a:ext>
              </a:extLst>
            </p:cNvPr>
            <p:cNvSpPr/>
            <p:nvPr/>
          </p:nvSpPr>
          <p:spPr>
            <a:xfrm>
              <a:off x="6988935" y="1476680"/>
              <a:ext cx="218217" cy="21541"/>
            </a:xfrm>
            <a:custGeom>
              <a:avLst/>
              <a:gdLst>
                <a:gd name="connsiteX0" fmla="*/ 10354 w 218217"/>
                <a:gd name="connsiteY0" fmla="*/ 21541 h 21541"/>
                <a:gd name="connsiteX1" fmla="*/ 207447 w 218217"/>
                <a:gd name="connsiteY1" fmla="*/ 21541 h 21541"/>
                <a:gd name="connsiteX2" fmla="*/ 218217 w 218217"/>
                <a:gd name="connsiteY2" fmla="*/ 10771 h 21541"/>
                <a:gd name="connsiteX3" fmla="*/ 207447 w 218217"/>
                <a:gd name="connsiteY3" fmla="*/ 0 h 21541"/>
                <a:gd name="connsiteX4" fmla="*/ 10770 w 218217"/>
                <a:gd name="connsiteY4" fmla="*/ 0 h 21541"/>
                <a:gd name="connsiteX5" fmla="*/ 0 w 218217"/>
                <a:gd name="connsiteY5" fmla="*/ 10771 h 21541"/>
                <a:gd name="connsiteX6" fmla="*/ 10770 w 218217"/>
                <a:gd name="connsiteY6" fmla="*/ 21541 h 21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217" h="21541">
                  <a:moveTo>
                    <a:pt x="10354" y="21541"/>
                  </a:moveTo>
                  <a:lnTo>
                    <a:pt x="207447" y="21541"/>
                  </a:lnTo>
                  <a:cubicBezTo>
                    <a:pt x="213399" y="21541"/>
                    <a:pt x="218217" y="16719"/>
                    <a:pt x="218217" y="10771"/>
                  </a:cubicBezTo>
                  <a:cubicBezTo>
                    <a:pt x="218217" y="4822"/>
                    <a:pt x="213399" y="0"/>
                    <a:pt x="207447" y="0"/>
                  </a:cubicBezTo>
                  <a:lnTo>
                    <a:pt x="10770" y="0"/>
                  </a:lnTo>
                  <a:cubicBezTo>
                    <a:pt x="4818" y="0"/>
                    <a:pt x="0" y="4822"/>
                    <a:pt x="0" y="10771"/>
                  </a:cubicBezTo>
                  <a:cubicBezTo>
                    <a:pt x="0" y="16719"/>
                    <a:pt x="4818" y="21541"/>
                    <a:pt x="10770" y="21541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" name="Freeform 101">
              <a:extLst>
                <a:ext uri="{FF2B5EF4-FFF2-40B4-BE49-F238E27FC236}">
                  <a16:creationId xmlns:a16="http://schemas.microsoft.com/office/drawing/2014/main" id="{FB53B119-12F7-8947-BB3E-EE4FA7227B33}"/>
                </a:ext>
              </a:extLst>
            </p:cNvPr>
            <p:cNvSpPr/>
            <p:nvPr/>
          </p:nvSpPr>
          <p:spPr>
            <a:xfrm>
              <a:off x="7043827" y="1541720"/>
              <a:ext cx="163376" cy="21645"/>
            </a:xfrm>
            <a:custGeom>
              <a:avLst/>
              <a:gdLst>
                <a:gd name="connsiteX0" fmla="*/ 152554 w 163376"/>
                <a:gd name="connsiteY0" fmla="*/ 0 h 21645"/>
                <a:gd name="connsiteX1" fmla="*/ 10823 w 163376"/>
                <a:gd name="connsiteY1" fmla="*/ 0 h 21645"/>
                <a:gd name="connsiteX2" fmla="*/ 0 w 163376"/>
                <a:gd name="connsiteY2" fmla="*/ 10823 h 21645"/>
                <a:gd name="connsiteX3" fmla="*/ 10823 w 163376"/>
                <a:gd name="connsiteY3" fmla="*/ 21645 h 21645"/>
                <a:gd name="connsiteX4" fmla="*/ 152554 w 163376"/>
                <a:gd name="connsiteY4" fmla="*/ 21645 h 21645"/>
                <a:gd name="connsiteX5" fmla="*/ 163377 w 163376"/>
                <a:gd name="connsiteY5" fmla="*/ 10823 h 21645"/>
                <a:gd name="connsiteX6" fmla="*/ 152554 w 163376"/>
                <a:gd name="connsiteY6" fmla="*/ 0 h 21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3376" h="21645">
                  <a:moveTo>
                    <a:pt x="152554" y="0"/>
                  </a:moveTo>
                  <a:lnTo>
                    <a:pt x="10823" y="0"/>
                  </a:lnTo>
                  <a:cubicBezTo>
                    <a:pt x="4849" y="0"/>
                    <a:pt x="0" y="4845"/>
                    <a:pt x="0" y="10823"/>
                  </a:cubicBezTo>
                  <a:cubicBezTo>
                    <a:pt x="0" y="16800"/>
                    <a:pt x="4849" y="21645"/>
                    <a:pt x="10823" y="21645"/>
                  </a:cubicBezTo>
                  <a:lnTo>
                    <a:pt x="152554" y="21645"/>
                  </a:lnTo>
                  <a:cubicBezTo>
                    <a:pt x="158528" y="21645"/>
                    <a:pt x="163377" y="16800"/>
                    <a:pt x="163377" y="10823"/>
                  </a:cubicBezTo>
                  <a:cubicBezTo>
                    <a:pt x="163377" y="4845"/>
                    <a:pt x="158528" y="0"/>
                    <a:pt x="152554" y="0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4B77A300-DDDA-914E-BE1C-F94DA2BEF2A6}"/>
                </a:ext>
              </a:extLst>
            </p:cNvPr>
            <p:cNvSpPr/>
            <p:nvPr/>
          </p:nvSpPr>
          <p:spPr>
            <a:xfrm>
              <a:off x="7096951" y="1606864"/>
              <a:ext cx="110201" cy="21541"/>
            </a:xfrm>
            <a:custGeom>
              <a:avLst/>
              <a:gdLst>
                <a:gd name="connsiteX0" fmla="*/ 99431 w 110201"/>
                <a:gd name="connsiteY0" fmla="*/ 0 h 21541"/>
                <a:gd name="connsiteX1" fmla="*/ 10770 w 110201"/>
                <a:gd name="connsiteY1" fmla="*/ 0 h 21541"/>
                <a:gd name="connsiteX2" fmla="*/ 0 w 110201"/>
                <a:gd name="connsiteY2" fmla="*/ 10771 h 21541"/>
                <a:gd name="connsiteX3" fmla="*/ 10770 w 110201"/>
                <a:gd name="connsiteY3" fmla="*/ 21541 h 21541"/>
                <a:gd name="connsiteX4" fmla="*/ 99431 w 110201"/>
                <a:gd name="connsiteY4" fmla="*/ 21541 h 21541"/>
                <a:gd name="connsiteX5" fmla="*/ 110201 w 110201"/>
                <a:gd name="connsiteY5" fmla="*/ 10771 h 21541"/>
                <a:gd name="connsiteX6" fmla="*/ 99431 w 110201"/>
                <a:gd name="connsiteY6" fmla="*/ 0 h 21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0201" h="21541">
                  <a:moveTo>
                    <a:pt x="99431" y="0"/>
                  </a:moveTo>
                  <a:lnTo>
                    <a:pt x="10770" y="0"/>
                  </a:lnTo>
                  <a:cubicBezTo>
                    <a:pt x="4818" y="0"/>
                    <a:pt x="0" y="4822"/>
                    <a:pt x="0" y="10771"/>
                  </a:cubicBezTo>
                  <a:cubicBezTo>
                    <a:pt x="0" y="16719"/>
                    <a:pt x="4818" y="21541"/>
                    <a:pt x="10770" y="21541"/>
                  </a:cubicBezTo>
                  <a:lnTo>
                    <a:pt x="99431" y="21541"/>
                  </a:lnTo>
                  <a:cubicBezTo>
                    <a:pt x="105383" y="21541"/>
                    <a:pt x="110201" y="16719"/>
                    <a:pt x="110201" y="10771"/>
                  </a:cubicBezTo>
                  <a:cubicBezTo>
                    <a:pt x="110201" y="4822"/>
                    <a:pt x="105383" y="0"/>
                    <a:pt x="99431" y="0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" name="Freeform 103">
              <a:extLst>
                <a:ext uri="{FF2B5EF4-FFF2-40B4-BE49-F238E27FC236}">
                  <a16:creationId xmlns:a16="http://schemas.microsoft.com/office/drawing/2014/main" id="{DD35B90A-6C38-054B-850A-F270A9B65EE3}"/>
                </a:ext>
              </a:extLst>
            </p:cNvPr>
            <p:cNvSpPr/>
            <p:nvPr/>
          </p:nvSpPr>
          <p:spPr>
            <a:xfrm>
              <a:off x="10893380" y="2885080"/>
              <a:ext cx="127787" cy="127790"/>
            </a:xfrm>
            <a:custGeom>
              <a:avLst/>
              <a:gdLst>
                <a:gd name="connsiteX0" fmla="*/ 63893 w 127787"/>
                <a:gd name="connsiteY0" fmla="*/ 127790 h 127790"/>
                <a:gd name="connsiteX1" fmla="*/ 127787 w 127787"/>
                <a:gd name="connsiteY1" fmla="*/ 63895 h 127790"/>
                <a:gd name="connsiteX2" fmla="*/ 63893 w 127787"/>
                <a:gd name="connsiteY2" fmla="*/ 0 h 127790"/>
                <a:gd name="connsiteX3" fmla="*/ 0 w 127787"/>
                <a:gd name="connsiteY3" fmla="*/ 63895 h 127790"/>
                <a:gd name="connsiteX4" fmla="*/ 0 w 127787"/>
                <a:gd name="connsiteY4" fmla="*/ 63999 h 127790"/>
                <a:gd name="connsiteX5" fmla="*/ 63893 w 127787"/>
                <a:gd name="connsiteY5" fmla="*/ 127790 h 127790"/>
                <a:gd name="connsiteX6" fmla="*/ 63893 w 127787"/>
                <a:gd name="connsiteY6" fmla="*/ 27161 h 127790"/>
                <a:gd name="connsiteX7" fmla="*/ 100732 w 127787"/>
                <a:gd name="connsiteY7" fmla="*/ 63999 h 127790"/>
                <a:gd name="connsiteX8" fmla="*/ 63893 w 127787"/>
                <a:gd name="connsiteY8" fmla="*/ 100838 h 127790"/>
                <a:gd name="connsiteX9" fmla="*/ 27056 w 127787"/>
                <a:gd name="connsiteY9" fmla="*/ 63999 h 127790"/>
                <a:gd name="connsiteX10" fmla="*/ 63893 w 127787"/>
                <a:gd name="connsiteY10" fmla="*/ 27161 h 127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7787" h="127790">
                  <a:moveTo>
                    <a:pt x="63893" y="127790"/>
                  </a:moveTo>
                  <a:cubicBezTo>
                    <a:pt x="99181" y="127790"/>
                    <a:pt x="127787" y="99183"/>
                    <a:pt x="127787" y="63895"/>
                  </a:cubicBezTo>
                  <a:cubicBezTo>
                    <a:pt x="127787" y="28607"/>
                    <a:pt x="99181" y="0"/>
                    <a:pt x="63893" y="0"/>
                  </a:cubicBezTo>
                  <a:cubicBezTo>
                    <a:pt x="28606" y="0"/>
                    <a:pt x="0" y="28607"/>
                    <a:pt x="0" y="63895"/>
                  </a:cubicBezTo>
                  <a:cubicBezTo>
                    <a:pt x="0" y="63926"/>
                    <a:pt x="0" y="63968"/>
                    <a:pt x="0" y="63999"/>
                  </a:cubicBezTo>
                  <a:cubicBezTo>
                    <a:pt x="52" y="99246"/>
                    <a:pt x="28648" y="127790"/>
                    <a:pt x="63893" y="127790"/>
                  </a:cubicBezTo>
                  <a:close/>
                  <a:moveTo>
                    <a:pt x="63893" y="27161"/>
                  </a:moveTo>
                  <a:cubicBezTo>
                    <a:pt x="84238" y="27161"/>
                    <a:pt x="100732" y="43655"/>
                    <a:pt x="100732" y="63999"/>
                  </a:cubicBezTo>
                  <a:cubicBezTo>
                    <a:pt x="100732" y="84344"/>
                    <a:pt x="84238" y="100838"/>
                    <a:pt x="63893" y="100838"/>
                  </a:cubicBezTo>
                  <a:cubicBezTo>
                    <a:pt x="43550" y="100838"/>
                    <a:pt x="27056" y="84344"/>
                    <a:pt x="27056" y="63999"/>
                  </a:cubicBezTo>
                  <a:cubicBezTo>
                    <a:pt x="27056" y="43655"/>
                    <a:pt x="43550" y="27161"/>
                    <a:pt x="63893" y="27161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" name="Freeform 104">
              <a:extLst>
                <a:ext uri="{FF2B5EF4-FFF2-40B4-BE49-F238E27FC236}">
                  <a16:creationId xmlns:a16="http://schemas.microsoft.com/office/drawing/2014/main" id="{7352D26B-416A-9E41-BA79-EA5141C69FB4}"/>
                </a:ext>
              </a:extLst>
            </p:cNvPr>
            <p:cNvSpPr/>
            <p:nvPr/>
          </p:nvSpPr>
          <p:spPr>
            <a:xfrm>
              <a:off x="10832712" y="3031290"/>
              <a:ext cx="250268" cy="184089"/>
            </a:xfrm>
            <a:custGeom>
              <a:avLst/>
              <a:gdLst>
                <a:gd name="connsiteX0" fmla="*/ 25391 w 250268"/>
                <a:gd name="connsiteY0" fmla="*/ 184089 h 184089"/>
                <a:gd name="connsiteX1" fmla="*/ 224357 w 250268"/>
                <a:gd name="connsiteY1" fmla="*/ 184089 h 184089"/>
                <a:gd name="connsiteX2" fmla="*/ 250268 w 250268"/>
                <a:gd name="connsiteY2" fmla="*/ 158385 h 184089"/>
                <a:gd name="connsiteX3" fmla="*/ 250268 w 250268"/>
                <a:gd name="connsiteY3" fmla="*/ 83980 h 184089"/>
                <a:gd name="connsiteX4" fmla="*/ 250268 w 250268"/>
                <a:gd name="connsiteY4" fmla="*/ 83980 h 184089"/>
                <a:gd name="connsiteX5" fmla="*/ 166290 w 250268"/>
                <a:gd name="connsiteY5" fmla="*/ 0 h 184089"/>
                <a:gd name="connsiteX6" fmla="*/ 83770 w 250268"/>
                <a:gd name="connsiteY6" fmla="*/ 0 h 184089"/>
                <a:gd name="connsiteX7" fmla="*/ 0 w 250268"/>
                <a:gd name="connsiteY7" fmla="*/ 83980 h 184089"/>
                <a:gd name="connsiteX8" fmla="*/ 0 w 250268"/>
                <a:gd name="connsiteY8" fmla="*/ 158385 h 184089"/>
                <a:gd name="connsiteX9" fmla="*/ 25391 w 250268"/>
                <a:gd name="connsiteY9" fmla="*/ 184089 h 184089"/>
                <a:gd name="connsiteX10" fmla="*/ 26640 w 250268"/>
                <a:gd name="connsiteY10" fmla="*/ 83980 h 184089"/>
                <a:gd name="connsiteX11" fmla="*/ 83353 w 250268"/>
                <a:gd name="connsiteY11" fmla="*/ 27057 h 184089"/>
                <a:gd name="connsiteX12" fmla="*/ 165874 w 250268"/>
                <a:gd name="connsiteY12" fmla="*/ 27057 h 184089"/>
                <a:gd name="connsiteX13" fmla="*/ 222900 w 250268"/>
                <a:gd name="connsiteY13" fmla="*/ 83980 h 184089"/>
                <a:gd name="connsiteX14" fmla="*/ 222900 w 250268"/>
                <a:gd name="connsiteY14" fmla="*/ 156824 h 184089"/>
                <a:gd name="connsiteX15" fmla="*/ 202088 w 250268"/>
                <a:gd name="connsiteY15" fmla="*/ 156824 h 184089"/>
                <a:gd name="connsiteX16" fmla="*/ 202088 w 250268"/>
                <a:gd name="connsiteY16" fmla="*/ 83980 h 184089"/>
                <a:gd name="connsiteX17" fmla="*/ 192077 w 250268"/>
                <a:gd name="connsiteY17" fmla="*/ 71825 h 184089"/>
                <a:gd name="connsiteX18" fmla="*/ 179922 w 250268"/>
                <a:gd name="connsiteY18" fmla="*/ 81825 h 184089"/>
                <a:gd name="connsiteX19" fmla="*/ 179922 w 250268"/>
                <a:gd name="connsiteY19" fmla="*/ 83980 h 184089"/>
                <a:gd name="connsiteX20" fmla="*/ 179922 w 250268"/>
                <a:gd name="connsiteY20" fmla="*/ 156824 h 184089"/>
                <a:gd name="connsiteX21" fmla="*/ 70033 w 250268"/>
                <a:gd name="connsiteY21" fmla="*/ 156824 h 184089"/>
                <a:gd name="connsiteX22" fmla="*/ 70033 w 250268"/>
                <a:gd name="connsiteY22" fmla="*/ 83980 h 184089"/>
                <a:gd name="connsiteX23" fmla="*/ 58899 w 250268"/>
                <a:gd name="connsiteY23" fmla="*/ 72845 h 184089"/>
                <a:gd name="connsiteX24" fmla="*/ 47765 w 250268"/>
                <a:gd name="connsiteY24" fmla="*/ 83980 h 184089"/>
                <a:gd name="connsiteX25" fmla="*/ 47765 w 250268"/>
                <a:gd name="connsiteY25" fmla="*/ 156824 h 184089"/>
                <a:gd name="connsiteX26" fmla="*/ 26952 w 250268"/>
                <a:gd name="connsiteY26" fmla="*/ 156824 h 184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50268" h="184089">
                  <a:moveTo>
                    <a:pt x="25391" y="184089"/>
                  </a:moveTo>
                  <a:lnTo>
                    <a:pt x="224357" y="184089"/>
                  </a:lnTo>
                  <a:cubicBezTo>
                    <a:pt x="238582" y="184089"/>
                    <a:pt x="250154" y="172611"/>
                    <a:pt x="250268" y="158385"/>
                  </a:cubicBezTo>
                  <a:lnTo>
                    <a:pt x="250268" y="83980"/>
                  </a:lnTo>
                  <a:lnTo>
                    <a:pt x="250268" y="83980"/>
                  </a:lnTo>
                  <a:cubicBezTo>
                    <a:pt x="250206" y="37619"/>
                    <a:pt x="212650" y="62"/>
                    <a:pt x="166290" y="0"/>
                  </a:cubicBezTo>
                  <a:lnTo>
                    <a:pt x="83770" y="0"/>
                  </a:lnTo>
                  <a:cubicBezTo>
                    <a:pt x="37473" y="114"/>
                    <a:pt x="0" y="37682"/>
                    <a:pt x="0" y="83980"/>
                  </a:cubicBezTo>
                  <a:lnTo>
                    <a:pt x="0" y="158385"/>
                  </a:lnTo>
                  <a:cubicBezTo>
                    <a:pt x="52" y="172434"/>
                    <a:pt x="11343" y="183860"/>
                    <a:pt x="25391" y="184089"/>
                  </a:cubicBezTo>
                  <a:close/>
                  <a:moveTo>
                    <a:pt x="26640" y="83980"/>
                  </a:moveTo>
                  <a:cubicBezTo>
                    <a:pt x="26578" y="52604"/>
                    <a:pt x="51979" y="27119"/>
                    <a:pt x="83353" y="27057"/>
                  </a:cubicBezTo>
                  <a:lnTo>
                    <a:pt x="165874" y="27057"/>
                  </a:lnTo>
                  <a:cubicBezTo>
                    <a:pt x="197332" y="27057"/>
                    <a:pt x="222838" y="52521"/>
                    <a:pt x="222900" y="83980"/>
                  </a:cubicBezTo>
                  <a:lnTo>
                    <a:pt x="222900" y="156824"/>
                  </a:lnTo>
                  <a:lnTo>
                    <a:pt x="202088" y="156824"/>
                  </a:lnTo>
                  <a:lnTo>
                    <a:pt x="202088" y="83980"/>
                  </a:lnTo>
                  <a:cubicBezTo>
                    <a:pt x="202681" y="77861"/>
                    <a:pt x="198206" y="72418"/>
                    <a:pt x="192077" y="71825"/>
                  </a:cubicBezTo>
                  <a:cubicBezTo>
                    <a:pt x="185958" y="71232"/>
                    <a:pt x="180516" y="75706"/>
                    <a:pt x="179922" y="81825"/>
                  </a:cubicBezTo>
                  <a:cubicBezTo>
                    <a:pt x="179850" y="82544"/>
                    <a:pt x="179850" y="83262"/>
                    <a:pt x="179922" y="83980"/>
                  </a:cubicBezTo>
                  <a:lnTo>
                    <a:pt x="179922" y="156824"/>
                  </a:lnTo>
                  <a:lnTo>
                    <a:pt x="70033" y="156824"/>
                  </a:lnTo>
                  <a:lnTo>
                    <a:pt x="70033" y="83980"/>
                  </a:lnTo>
                  <a:cubicBezTo>
                    <a:pt x="70033" y="77829"/>
                    <a:pt x="65049" y="72845"/>
                    <a:pt x="58899" y="72845"/>
                  </a:cubicBezTo>
                  <a:cubicBezTo>
                    <a:pt x="52749" y="72845"/>
                    <a:pt x="47765" y="77829"/>
                    <a:pt x="47765" y="83980"/>
                  </a:cubicBezTo>
                  <a:lnTo>
                    <a:pt x="47765" y="156824"/>
                  </a:lnTo>
                  <a:lnTo>
                    <a:pt x="26952" y="156824"/>
                  </a:ln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" name="Freeform 105">
              <a:extLst>
                <a:ext uri="{FF2B5EF4-FFF2-40B4-BE49-F238E27FC236}">
                  <a16:creationId xmlns:a16="http://schemas.microsoft.com/office/drawing/2014/main" id="{F375E7F7-2025-E947-BEC4-319CFFED02C2}"/>
                </a:ext>
              </a:extLst>
            </p:cNvPr>
            <p:cNvSpPr/>
            <p:nvPr/>
          </p:nvSpPr>
          <p:spPr>
            <a:xfrm>
              <a:off x="11310147" y="3056265"/>
              <a:ext cx="135904" cy="135907"/>
            </a:xfrm>
            <a:custGeom>
              <a:avLst/>
              <a:gdLst>
                <a:gd name="connsiteX0" fmla="*/ 0 w 135904"/>
                <a:gd name="connsiteY0" fmla="*/ 67954 h 135907"/>
                <a:gd name="connsiteX1" fmla="*/ 67952 w 135904"/>
                <a:gd name="connsiteY1" fmla="*/ 135908 h 135907"/>
                <a:gd name="connsiteX2" fmla="*/ 135905 w 135904"/>
                <a:gd name="connsiteY2" fmla="*/ 67954 h 135907"/>
                <a:gd name="connsiteX3" fmla="*/ 67952 w 135904"/>
                <a:gd name="connsiteY3" fmla="*/ 0 h 135907"/>
                <a:gd name="connsiteX4" fmla="*/ 0 w 135904"/>
                <a:gd name="connsiteY4" fmla="*/ 67954 h 135907"/>
                <a:gd name="connsiteX5" fmla="*/ 67952 w 135904"/>
                <a:gd name="connsiteY5" fmla="*/ 28826 h 135907"/>
                <a:gd name="connsiteX6" fmla="*/ 107183 w 135904"/>
                <a:gd name="connsiteY6" fmla="*/ 68058 h 135907"/>
                <a:gd name="connsiteX7" fmla="*/ 67952 w 135904"/>
                <a:gd name="connsiteY7" fmla="*/ 107290 h 135907"/>
                <a:gd name="connsiteX8" fmla="*/ 28721 w 135904"/>
                <a:gd name="connsiteY8" fmla="*/ 68058 h 135907"/>
                <a:gd name="connsiteX9" fmla="*/ 28721 w 135904"/>
                <a:gd name="connsiteY9" fmla="*/ 67954 h 135907"/>
                <a:gd name="connsiteX10" fmla="*/ 67952 w 135904"/>
                <a:gd name="connsiteY10" fmla="*/ 28826 h 135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5904" h="135907">
                  <a:moveTo>
                    <a:pt x="0" y="67954"/>
                  </a:moveTo>
                  <a:cubicBezTo>
                    <a:pt x="0" y="105479"/>
                    <a:pt x="30428" y="135908"/>
                    <a:pt x="67952" y="135908"/>
                  </a:cubicBezTo>
                  <a:cubicBezTo>
                    <a:pt x="105477" y="135908"/>
                    <a:pt x="135905" y="105479"/>
                    <a:pt x="135905" y="67954"/>
                  </a:cubicBezTo>
                  <a:cubicBezTo>
                    <a:pt x="135905" y="30428"/>
                    <a:pt x="105477" y="0"/>
                    <a:pt x="67952" y="0"/>
                  </a:cubicBezTo>
                  <a:cubicBezTo>
                    <a:pt x="30448" y="63"/>
                    <a:pt x="62" y="30449"/>
                    <a:pt x="0" y="67954"/>
                  </a:cubicBezTo>
                  <a:close/>
                  <a:moveTo>
                    <a:pt x="67952" y="28826"/>
                  </a:moveTo>
                  <a:cubicBezTo>
                    <a:pt x="89618" y="28826"/>
                    <a:pt x="107183" y="46392"/>
                    <a:pt x="107183" y="68058"/>
                  </a:cubicBezTo>
                  <a:cubicBezTo>
                    <a:pt x="107183" y="89724"/>
                    <a:pt x="89618" y="107290"/>
                    <a:pt x="67952" y="107290"/>
                  </a:cubicBezTo>
                  <a:cubicBezTo>
                    <a:pt x="46287" y="107290"/>
                    <a:pt x="28721" y="89724"/>
                    <a:pt x="28721" y="68058"/>
                  </a:cubicBezTo>
                  <a:cubicBezTo>
                    <a:pt x="28721" y="68027"/>
                    <a:pt x="28721" y="67985"/>
                    <a:pt x="28721" y="67954"/>
                  </a:cubicBezTo>
                  <a:cubicBezTo>
                    <a:pt x="28773" y="46329"/>
                    <a:pt x="46328" y="28826"/>
                    <a:pt x="67952" y="28826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" name="Freeform 106">
              <a:extLst>
                <a:ext uri="{FF2B5EF4-FFF2-40B4-BE49-F238E27FC236}">
                  <a16:creationId xmlns:a16="http://schemas.microsoft.com/office/drawing/2014/main" id="{0E5FFE4D-6211-504E-B698-172111ABAE3E}"/>
                </a:ext>
              </a:extLst>
            </p:cNvPr>
            <p:cNvSpPr/>
            <p:nvPr/>
          </p:nvSpPr>
          <p:spPr>
            <a:xfrm>
              <a:off x="11245004" y="3211945"/>
              <a:ext cx="266397" cy="195952"/>
            </a:xfrm>
            <a:custGeom>
              <a:avLst/>
              <a:gdLst>
                <a:gd name="connsiteX0" fmla="*/ 0 w 266397"/>
                <a:gd name="connsiteY0" fmla="*/ 89287 h 195952"/>
                <a:gd name="connsiteX1" fmla="*/ 0 w 266397"/>
                <a:gd name="connsiteY1" fmla="*/ 168583 h 195952"/>
                <a:gd name="connsiteX2" fmla="*/ 27472 w 266397"/>
                <a:gd name="connsiteY2" fmla="*/ 195952 h 195952"/>
                <a:gd name="connsiteX3" fmla="*/ 238717 w 266397"/>
                <a:gd name="connsiteY3" fmla="*/ 195952 h 195952"/>
                <a:gd name="connsiteX4" fmla="*/ 266398 w 266397"/>
                <a:gd name="connsiteY4" fmla="*/ 168583 h 195952"/>
                <a:gd name="connsiteX5" fmla="*/ 266398 w 266397"/>
                <a:gd name="connsiteY5" fmla="*/ 89287 h 195952"/>
                <a:gd name="connsiteX6" fmla="*/ 266398 w 266397"/>
                <a:gd name="connsiteY6" fmla="*/ 89287 h 195952"/>
                <a:gd name="connsiteX7" fmla="*/ 176905 w 266397"/>
                <a:gd name="connsiteY7" fmla="*/ 0 h 195952"/>
                <a:gd name="connsiteX8" fmla="*/ 89181 w 266397"/>
                <a:gd name="connsiteY8" fmla="*/ 0 h 195952"/>
                <a:gd name="connsiteX9" fmla="*/ 0 w 266397"/>
                <a:gd name="connsiteY9" fmla="*/ 89287 h 195952"/>
                <a:gd name="connsiteX10" fmla="*/ 28825 w 266397"/>
                <a:gd name="connsiteY10" fmla="*/ 89287 h 195952"/>
                <a:gd name="connsiteX11" fmla="*/ 89389 w 266397"/>
                <a:gd name="connsiteY11" fmla="*/ 28722 h 195952"/>
                <a:gd name="connsiteX12" fmla="*/ 177113 w 266397"/>
                <a:gd name="connsiteY12" fmla="*/ 28722 h 195952"/>
                <a:gd name="connsiteX13" fmla="*/ 237781 w 266397"/>
                <a:gd name="connsiteY13" fmla="*/ 89391 h 195952"/>
                <a:gd name="connsiteX14" fmla="*/ 237781 w 266397"/>
                <a:gd name="connsiteY14" fmla="*/ 167231 h 195952"/>
                <a:gd name="connsiteX15" fmla="*/ 215304 w 266397"/>
                <a:gd name="connsiteY15" fmla="*/ 167231 h 195952"/>
                <a:gd name="connsiteX16" fmla="*/ 215304 w 266397"/>
                <a:gd name="connsiteY16" fmla="*/ 89911 h 195952"/>
                <a:gd name="connsiteX17" fmla="*/ 203440 w 266397"/>
                <a:gd name="connsiteY17" fmla="*/ 78048 h 195952"/>
                <a:gd name="connsiteX18" fmla="*/ 191577 w 266397"/>
                <a:gd name="connsiteY18" fmla="*/ 89911 h 195952"/>
                <a:gd name="connsiteX19" fmla="*/ 191577 w 266397"/>
                <a:gd name="connsiteY19" fmla="*/ 167335 h 195952"/>
                <a:gd name="connsiteX20" fmla="*/ 75029 w 266397"/>
                <a:gd name="connsiteY20" fmla="*/ 167335 h 195952"/>
                <a:gd name="connsiteX21" fmla="*/ 75029 w 266397"/>
                <a:gd name="connsiteY21" fmla="*/ 89911 h 195952"/>
                <a:gd name="connsiteX22" fmla="*/ 63166 w 266397"/>
                <a:gd name="connsiteY22" fmla="*/ 78048 h 195952"/>
                <a:gd name="connsiteX23" fmla="*/ 51302 w 266397"/>
                <a:gd name="connsiteY23" fmla="*/ 89911 h 195952"/>
                <a:gd name="connsiteX24" fmla="*/ 51302 w 266397"/>
                <a:gd name="connsiteY24" fmla="*/ 167335 h 195952"/>
                <a:gd name="connsiteX25" fmla="*/ 28825 w 266397"/>
                <a:gd name="connsiteY25" fmla="*/ 167335 h 195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66397" h="195952">
                  <a:moveTo>
                    <a:pt x="0" y="89287"/>
                  </a:moveTo>
                  <a:lnTo>
                    <a:pt x="0" y="168583"/>
                  </a:lnTo>
                  <a:cubicBezTo>
                    <a:pt x="52" y="183714"/>
                    <a:pt x="12341" y="195952"/>
                    <a:pt x="27472" y="195952"/>
                  </a:cubicBezTo>
                  <a:lnTo>
                    <a:pt x="238717" y="195952"/>
                  </a:lnTo>
                  <a:cubicBezTo>
                    <a:pt x="253911" y="196015"/>
                    <a:pt x="266283" y="183777"/>
                    <a:pt x="266398" y="168583"/>
                  </a:cubicBezTo>
                  <a:lnTo>
                    <a:pt x="266398" y="89287"/>
                  </a:lnTo>
                  <a:lnTo>
                    <a:pt x="266398" y="89287"/>
                  </a:lnTo>
                  <a:cubicBezTo>
                    <a:pt x="266283" y="39940"/>
                    <a:pt x="226251" y="0"/>
                    <a:pt x="176905" y="0"/>
                  </a:cubicBezTo>
                  <a:lnTo>
                    <a:pt x="89181" y="0"/>
                  </a:lnTo>
                  <a:cubicBezTo>
                    <a:pt x="39960" y="167"/>
                    <a:pt x="114" y="40065"/>
                    <a:pt x="0" y="89287"/>
                  </a:cubicBezTo>
                  <a:close/>
                  <a:moveTo>
                    <a:pt x="28825" y="89287"/>
                  </a:moveTo>
                  <a:cubicBezTo>
                    <a:pt x="28888" y="55861"/>
                    <a:pt x="55964" y="28784"/>
                    <a:pt x="89389" y="28722"/>
                  </a:cubicBezTo>
                  <a:lnTo>
                    <a:pt x="177113" y="28722"/>
                  </a:lnTo>
                  <a:cubicBezTo>
                    <a:pt x="210600" y="28784"/>
                    <a:pt x="237729" y="55903"/>
                    <a:pt x="237781" y="89391"/>
                  </a:cubicBezTo>
                  <a:lnTo>
                    <a:pt x="237781" y="167231"/>
                  </a:lnTo>
                  <a:lnTo>
                    <a:pt x="215304" y="167231"/>
                  </a:lnTo>
                  <a:lnTo>
                    <a:pt x="215304" y="89911"/>
                  </a:lnTo>
                  <a:cubicBezTo>
                    <a:pt x="215304" y="83355"/>
                    <a:pt x="209996" y="78048"/>
                    <a:pt x="203440" y="78048"/>
                  </a:cubicBezTo>
                  <a:cubicBezTo>
                    <a:pt x="196884" y="78048"/>
                    <a:pt x="191577" y="83355"/>
                    <a:pt x="191577" y="89911"/>
                  </a:cubicBezTo>
                  <a:lnTo>
                    <a:pt x="191577" y="167335"/>
                  </a:lnTo>
                  <a:lnTo>
                    <a:pt x="75029" y="167335"/>
                  </a:lnTo>
                  <a:lnTo>
                    <a:pt x="75029" y="89911"/>
                  </a:lnTo>
                  <a:cubicBezTo>
                    <a:pt x="75029" y="83355"/>
                    <a:pt x="69721" y="78048"/>
                    <a:pt x="63166" y="78048"/>
                  </a:cubicBezTo>
                  <a:cubicBezTo>
                    <a:pt x="56610" y="78048"/>
                    <a:pt x="51302" y="83355"/>
                    <a:pt x="51302" y="89911"/>
                  </a:cubicBezTo>
                  <a:lnTo>
                    <a:pt x="51302" y="167335"/>
                  </a:lnTo>
                  <a:lnTo>
                    <a:pt x="28825" y="167335"/>
                  </a:ln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" name="Freeform 107">
              <a:extLst>
                <a:ext uri="{FF2B5EF4-FFF2-40B4-BE49-F238E27FC236}">
                  <a16:creationId xmlns:a16="http://schemas.microsoft.com/office/drawing/2014/main" id="{42C7136A-0686-7A4D-9CEF-AEA73C6BB68B}"/>
                </a:ext>
              </a:extLst>
            </p:cNvPr>
            <p:cNvSpPr/>
            <p:nvPr/>
          </p:nvSpPr>
          <p:spPr>
            <a:xfrm>
              <a:off x="11681439" y="2878420"/>
              <a:ext cx="126538" cy="126541"/>
            </a:xfrm>
            <a:custGeom>
              <a:avLst/>
              <a:gdLst>
                <a:gd name="connsiteX0" fmla="*/ 0 w 126538"/>
                <a:gd name="connsiteY0" fmla="*/ 63271 h 126541"/>
                <a:gd name="connsiteX1" fmla="*/ 63270 w 126538"/>
                <a:gd name="connsiteY1" fmla="*/ 126542 h 126541"/>
                <a:gd name="connsiteX2" fmla="*/ 126539 w 126538"/>
                <a:gd name="connsiteY2" fmla="*/ 63271 h 126541"/>
                <a:gd name="connsiteX3" fmla="*/ 63270 w 126538"/>
                <a:gd name="connsiteY3" fmla="*/ 0 h 126541"/>
                <a:gd name="connsiteX4" fmla="*/ 0 w 126538"/>
                <a:gd name="connsiteY4" fmla="*/ 63271 h 126541"/>
                <a:gd name="connsiteX5" fmla="*/ 63270 w 126538"/>
                <a:gd name="connsiteY5" fmla="*/ 26848 h 126541"/>
                <a:gd name="connsiteX6" fmla="*/ 99795 w 126538"/>
                <a:gd name="connsiteY6" fmla="*/ 63375 h 126541"/>
                <a:gd name="connsiteX7" fmla="*/ 63270 w 126538"/>
                <a:gd name="connsiteY7" fmla="*/ 99901 h 126541"/>
                <a:gd name="connsiteX8" fmla="*/ 26744 w 126538"/>
                <a:gd name="connsiteY8" fmla="*/ 63375 h 126541"/>
                <a:gd name="connsiteX9" fmla="*/ 26744 w 126538"/>
                <a:gd name="connsiteY9" fmla="*/ 63271 h 126541"/>
                <a:gd name="connsiteX10" fmla="*/ 63061 w 126538"/>
                <a:gd name="connsiteY10" fmla="*/ 26848 h 126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6538" h="126541">
                  <a:moveTo>
                    <a:pt x="0" y="63271"/>
                  </a:moveTo>
                  <a:cubicBezTo>
                    <a:pt x="0" y="98216"/>
                    <a:pt x="28325" y="126542"/>
                    <a:pt x="63270" y="126542"/>
                  </a:cubicBezTo>
                  <a:cubicBezTo>
                    <a:pt x="98213" y="126542"/>
                    <a:pt x="126539" y="98216"/>
                    <a:pt x="126539" y="63271"/>
                  </a:cubicBezTo>
                  <a:cubicBezTo>
                    <a:pt x="126539" y="28326"/>
                    <a:pt x="98213" y="0"/>
                    <a:pt x="63270" y="0"/>
                  </a:cubicBezTo>
                  <a:cubicBezTo>
                    <a:pt x="28325" y="0"/>
                    <a:pt x="0" y="28326"/>
                    <a:pt x="0" y="63271"/>
                  </a:cubicBezTo>
                  <a:close/>
                  <a:moveTo>
                    <a:pt x="63270" y="26848"/>
                  </a:moveTo>
                  <a:cubicBezTo>
                    <a:pt x="83447" y="26848"/>
                    <a:pt x="99795" y="43197"/>
                    <a:pt x="99795" y="63375"/>
                  </a:cubicBezTo>
                  <a:cubicBezTo>
                    <a:pt x="99795" y="83553"/>
                    <a:pt x="83447" y="99901"/>
                    <a:pt x="63270" y="99901"/>
                  </a:cubicBezTo>
                  <a:cubicBezTo>
                    <a:pt x="43092" y="99901"/>
                    <a:pt x="26744" y="83553"/>
                    <a:pt x="26744" y="63375"/>
                  </a:cubicBezTo>
                  <a:cubicBezTo>
                    <a:pt x="26744" y="63344"/>
                    <a:pt x="26744" y="63302"/>
                    <a:pt x="26744" y="63271"/>
                  </a:cubicBezTo>
                  <a:cubicBezTo>
                    <a:pt x="26796" y="43218"/>
                    <a:pt x="43009" y="26963"/>
                    <a:pt x="63061" y="26848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" name="Freeform 108">
              <a:extLst>
                <a:ext uri="{FF2B5EF4-FFF2-40B4-BE49-F238E27FC236}">
                  <a16:creationId xmlns:a16="http://schemas.microsoft.com/office/drawing/2014/main" id="{5B28BED8-C2BC-D844-A7CF-60E84F39135B}"/>
                </a:ext>
              </a:extLst>
            </p:cNvPr>
            <p:cNvSpPr/>
            <p:nvPr/>
          </p:nvSpPr>
          <p:spPr>
            <a:xfrm>
              <a:off x="11620563" y="3023381"/>
              <a:ext cx="248082" cy="182528"/>
            </a:xfrm>
            <a:custGeom>
              <a:avLst/>
              <a:gdLst>
                <a:gd name="connsiteX0" fmla="*/ 83249 w 248082"/>
                <a:gd name="connsiteY0" fmla="*/ 0 h 182528"/>
                <a:gd name="connsiteX1" fmla="*/ 0 w 248082"/>
                <a:gd name="connsiteY1" fmla="*/ 83251 h 182528"/>
                <a:gd name="connsiteX2" fmla="*/ 0 w 248082"/>
                <a:gd name="connsiteY2" fmla="*/ 157032 h 182528"/>
                <a:gd name="connsiteX3" fmla="*/ 25495 w 248082"/>
                <a:gd name="connsiteY3" fmla="*/ 182528 h 182528"/>
                <a:gd name="connsiteX4" fmla="*/ 222380 w 248082"/>
                <a:gd name="connsiteY4" fmla="*/ 182528 h 182528"/>
                <a:gd name="connsiteX5" fmla="*/ 248083 w 248082"/>
                <a:gd name="connsiteY5" fmla="*/ 157032 h 182528"/>
                <a:gd name="connsiteX6" fmla="*/ 248083 w 248082"/>
                <a:gd name="connsiteY6" fmla="*/ 157032 h 182528"/>
                <a:gd name="connsiteX7" fmla="*/ 248083 w 248082"/>
                <a:gd name="connsiteY7" fmla="*/ 83251 h 182528"/>
                <a:gd name="connsiteX8" fmla="*/ 248083 w 248082"/>
                <a:gd name="connsiteY8" fmla="*/ 83251 h 182528"/>
                <a:gd name="connsiteX9" fmla="*/ 164833 w 248082"/>
                <a:gd name="connsiteY9" fmla="*/ 0 h 182528"/>
                <a:gd name="connsiteX10" fmla="*/ 221443 w 248082"/>
                <a:gd name="connsiteY10" fmla="*/ 83251 h 182528"/>
                <a:gd name="connsiteX11" fmla="*/ 221443 w 248082"/>
                <a:gd name="connsiteY11" fmla="*/ 156096 h 182528"/>
                <a:gd name="connsiteX12" fmla="*/ 200631 w 248082"/>
                <a:gd name="connsiteY12" fmla="*/ 156096 h 182528"/>
                <a:gd name="connsiteX13" fmla="*/ 200631 w 248082"/>
                <a:gd name="connsiteY13" fmla="*/ 83979 h 182528"/>
                <a:gd name="connsiteX14" fmla="*/ 189600 w 248082"/>
                <a:gd name="connsiteY14" fmla="*/ 72949 h 182528"/>
                <a:gd name="connsiteX15" fmla="*/ 178570 w 248082"/>
                <a:gd name="connsiteY15" fmla="*/ 83979 h 182528"/>
                <a:gd name="connsiteX16" fmla="*/ 178570 w 248082"/>
                <a:gd name="connsiteY16" fmla="*/ 156096 h 182528"/>
                <a:gd name="connsiteX17" fmla="*/ 69929 w 248082"/>
                <a:gd name="connsiteY17" fmla="*/ 156096 h 182528"/>
                <a:gd name="connsiteX18" fmla="*/ 69929 w 248082"/>
                <a:gd name="connsiteY18" fmla="*/ 83979 h 182528"/>
                <a:gd name="connsiteX19" fmla="*/ 58899 w 248082"/>
                <a:gd name="connsiteY19" fmla="*/ 72949 h 182528"/>
                <a:gd name="connsiteX20" fmla="*/ 47868 w 248082"/>
                <a:gd name="connsiteY20" fmla="*/ 83979 h 182528"/>
                <a:gd name="connsiteX21" fmla="*/ 47868 w 248082"/>
                <a:gd name="connsiteY21" fmla="*/ 156096 h 182528"/>
                <a:gd name="connsiteX22" fmla="*/ 27056 w 248082"/>
                <a:gd name="connsiteY22" fmla="*/ 156096 h 182528"/>
                <a:gd name="connsiteX23" fmla="*/ 27056 w 248082"/>
                <a:gd name="connsiteY23" fmla="*/ 83251 h 182528"/>
                <a:gd name="connsiteX24" fmla="*/ 83457 w 248082"/>
                <a:gd name="connsiteY24" fmla="*/ 26848 h 182528"/>
                <a:gd name="connsiteX25" fmla="*/ 164937 w 248082"/>
                <a:gd name="connsiteY25" fmla="*/ 26848 h 182528"/>
                <a:gd name="connsiteX26" fmla="*/ 221443 w 248082"/>
                <a:gd name="connsiteY26" fmla="*/ 83147 h 182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48082" h="182528">
                  <a:moveTo>
                    <a:pt x="83249" y="0"/>
                  </a:moveTo>
                  <a:cubicBezTo>
                    <a:pt x="37275" y="0"/>
                    <a:pt x="0" y="37276"/>
                    <a:pt x="0" y="83251"/>
                  </a:cubicBezTo>
                  <a:lnTo>
                    <a:pt x="0" y="157032"/>
                  </a:lnTo>
                  <a:cubicBezTo>
                    <a:pt x="0" y="171112"/>
                    <a:pt x="11415" y="182528"/>
                    <a:pt x="25495" y="182528"/>
                  </a:cubicBezTo>
                  <a:lnTo>
                    <a:pt x="222380" y="182528"/>
                  </a:lnTo>
                  <a:cubicBezTo>
                    <a:pt x="236522" y="182590"/>
                    <a:pt x="248020" y="171175"/>
                    <a:pt x="248083" y="157032"/>
                  </a:cubicBezTo>
                  <a:cubicBezTo>
                    <a:pt x="248083" y="157032"/>
                    <a:pt x="248083" y="157032"/>
                    <a:pt x="248083" y="157032"/>
                  </a:cubicBezTo>
                  <a:lnTo>
                    <a:pt x="248083" y="83251"/>
                  </a:lnTo>
                  <a:lnTo>
                    <a:pt x="248083" y="83251"/>
                  </a:lnTo>
                  <a:cubicBezTo>
                    <a:pt x="248083" y="37276"/>
                    <a:pt x="210808" y="0"/>
                    <a:pt x="164833" y="0"/>
                  </a:cubicBezTo>
                  <a:close/>
                  <a:moveTo>
                    <a:pt x="221443" y="83251"/>
                  </a:moveTo>
                  <a:lnTo>
                    <a:pt x="221443" y="156096"/>
                  </a:lnTo>
                  <a:lnTo>
                    <a:pt x="200631" y="156096"/>
                  </a:lnTo>
                  <a:lnTo>
                    <a:pt x="200631" y="83979"/>
                  </a:lnTo>
                  <a:cubicBezTo>
                    <a:pt x="200631" y="77892"/>
                    <a:pt x="195688" y="72949"/>
                    <a:pt x="189600" y="72949"/>
                  </a:cubicBezTo>
                  <a:cubicBezTo>
                    <a:pt x="183512" y="72949"/>
                    <a:pt x="178570" y="77892"/>
                    <a:pt x="178570" y="83979"/>
                  </a:cubicBezTo>
                  <a:lnTo>
                    <a:pt x="178570" y="156096"/>
                  </a:lnTo>
                  <a:lnTo>
                    <a:pt x="69929" y="156096"/>
                  </a:lnTo>
                  <a:lnTo>
                    <a:pt x="69929" y="83979"/>
                  </a:lnTo>
                  <a:cubicBezTo>
                    <a:pt x="69929" y="77892"/>
                    <a:pt x="64986" y="72949"/>
                    <a:pt x="58899" y="72949"/>
                  </a:cubicBezTo>
                  <a:cubicBezTo>
                    <a:pt x="52811" y="72949"/>
                    <a:pt x="47868" y="77892"/>
                    <a:pt x="47868" y="83979"/>
                  </a:cubicBezTo>
                  <a:lnTo>
                    <a:pt x="47868" y="156096"/>
                  </a:lnTo>
                  <a:lnTo>
                    <a:pt x="27056" y="156096"/>
                  </a:lnTo>
                  <a:lnTo>
                    <a:pt x="27056" y="83251"/>
                  </a:lnTo>
                  <a:cubicBezTo>
                    <a:pt x="27108" y="52125"/>
                    <a:pt x="52333" y="26911"/>
                    <a:pt x="83457" y="26848"/>
                  </a:cubicBezTo>
                  <a:lnTo>
                    <a:pt x="164937" y="26848"/>
                  </a:lnTo>
                  <a:cubicBezTo>
                    <a:pt x="196063" y="26848"/>
                    <a:pt x="221329" y="52021"/>
                    <a:pt x="221443" y="83147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0" name="Freeform 109">
              <a:extLst>
                <a:ext uri="{FF2B5EF4-FFF2-40B4-BE49-F238E27FC236}">
                  <a16:creationId xmlns:a16="http://schemas.microsoft.com/office/drawing/2014/main" id="{94918863-16F8-CE4D-AB70-E0D24748DCBB}"/>
                </a:ext>
              </a:extLst>
            </p:cNvPr>
            <p:cNvSpPr/>
            <p:nvPr/>
          </p:nvSpPr>
          <p:spPr>
            <a:xfrm>
              <a:off x="11212615" y="2291394"/>
              <a:ext cx="321768" cy="523851"/>
            </a:xfrm>
            <a:custGeom>
              <a:avLst/>
              <a:gdLst>
                <a:gd name="connsiteX0" fmla="*/ 28226 w 321768"/>
                <a:gd name="connsiteY0" fmla="*/ 249963 h 523851"/>
                <a:gd name="connsiteX1" fmla="*/ 28226 w 321768"/>
                <a:gd name="connsiteY1" fmla="*/ 249963 h 523851"/>
                <a:gd name="connsiteX2" fmla="*/ 79633 w 321768"/>
                <a:gd name="connsiteY2" fmla="*/ 388576 h 523851"/>
                <a:gd name="connsiteX3" fmla="*/ 79633 w 321768"/>
                <a:gd name="connsiteY3" fmla="*/ 388576 h 523851"/>
                <a:gd name="connsiteX4" fmla="*/ 79633 w 321768"/>
                <a:gd name="connsiteY4" fmla="*/ 398150 h 523851"/>
                <a:gd name="connsiteX5" fmla="*/ 79633 w 321768"/>
                <a:gd name="connsiteY5" fmla="*/ 442585 h 523851"/>
                <a:gd name="connsiteX6" fmla="*/ 79633 w 321768"/>
                <a:gd name="connsiteY6" fmla="*/ 442585 h 523851"/>
                <a:gd name="connsiteX7" fmla="*/ 96387 w 321768"/>
                <a:gd name="connsiteY7" fmla="*/ 481609 h 523851"/>
                <a:gd name="connsiteX8" fmla="*/ 96387 w 321768"/>
                <a:gd name="connsiteY8" fmla="*/ 481609 h 523851"/>
                <a:gd name="connsiteX9" fmla="*/ 123963 w 321768"/>
                <a:gd name="connsiteY9" fmla="*/ 508562 h 523851"/>
                <a:gd name="connsiteX10" fmla="*/ 123963 w 321768"/>
                <a:gd name="connsiteY10" fmla="*/ 508562 h 523851"/>
                <a:gd name="connsiteX11" fmla="*/ 199096 w 321768"/>
                <a:gd name="connsiteY11" fmla="*/ 508562 h 523851"/>
                <a:gd name="connsiteX12" fmla="*/ 199096 w 321768"/>
                <a:gd name="connsiteY12" fmla="*/ 508562 h 523851"/>
                <a:gd name="connsiteX13" fmla="*/ 226776 w 321768"/>
                <a:gd name="connsiteY13" fmla="*/ 481713 h 523851"/>
                <a:gd name="connsiteX14" fmla="*/ 226776 w 321768"/>
                <a:gd name="connsiteY14" fmla="*/ 481713 h 523851"/>
                <a:gd name="connsiteX15" fmla="*/ 243634 w 321768"/>
                <a:gd name="connsiteY15" fmla="*/ 442689 h 523851"/>
                <a:gd name="connsiteX16" fmla="*/ 243634 w 321768"/>
                <a:gd name="connsiteY16" fmla="*/ 398358 h 523851"/>
                <a:gd name="connsiteX17" fmla="*/ 244154 w 321768"/>
                <a:gd name="connsiteY17" fmla="*/ 388576 h 523851"/>
                <a:gd name="connsiteX18" fmla="*/ 263822 w 321768"/>
                <a:gd name="connsiteY18" fmla="*/ 311465 h 523851"/>
                <a:gd name="connsiteX19" fmla="*/ 263822 w 321768"/>
                <a:gd name="connsiteY19" fmla="*/ 311465 h 523851"/>
                <a:gd name="connsiteX20" fmla="*/ 295040 w 321768"/>
                <a:gd name="connsiteY20" fmla="*/ 249963 h 523851"/>
                <a:gd name="connsiteX21" fmla="*/ 295040 w 321768"/>
                <a:gd name="connsiteY21" fmla="*/ 249963 h 523851"/>
                <a:gd name="connsiteX22" fmla="*/ 315853 w 321768"/>
                <a:gd name="connsiteY22" fmla="*/ 118218 h 523851"/>
                <a:gd name="connsiteX23" fmla="*/ 315853 w 321768"/>
                <a:gd name="connsiteY23" fmla="*/ 118218 h 523851"/>
                <a:gd name="connsiteX24" fmla="*/ 257786 w 321768"/>
                <a:gd name="connsiteY24" fmla="*/ 32469 h 523851"/>
                <a:gd name="connsiteX25" fmla="*/ 32462 w 321768"/>
                <a:gd name="connsiteY25" fmla="*/ 63980 h 523851"/>
                <a:gd name="connsiteX26" fmla="*/ 26978 w 321768"/>
                <a:gd name="connsiteY26" fmla="*/ 250067 h 523851"/>
                <a:gd name="connsiteX27" fmla="*/ 71516 w 321768"/>
                <a:gd name="connsiteY27" fmla="*/ 64625 h 523851"/>
                <a:gd name="connsiteX28" fmla="*/ 241761 w 321768"/>
                <a:gd name="connsiteY28" fmla="*/ 55259 h 523851"/>
                <a:gd name="connsiteX29" fmla="*/ 289421 w 321768"/>
                <a:gd name="connsiteY29" fmla="*/ 125711 h 523851"/>
                <a:gd name="connsiteX30" fmla="*/ 289421 w 321768"/>
                <a:gd name="connsiteY30" fmla="*/ 125711 h 523851"/>
                <a:gd name="connsiteX31" fmla="*/ 272147 w 321768"/>
                <a:gd name="connsiteY31" fmla="*/ 234041 h 523851"/>
                <a:gd name="connsiteX32" fmla="*/ 272147 w 321768"/>
                <a:gd name="connsiteY32" fmla="*/ 234041 h 523851"/>
                <a:gd name="connsiteX33" fmla="*/ 237599 w 321768"/>
                <a:gd name="connsiteY33" fmla="*/ 300954 h 523851"/>
                <a:gd name="connsiteX34" fmla="*/ 237599 w 321768"/>
                <a:gd name="connsiteY34" fmla="*/ 300954 h 523851"/>
                <a:gd name="connsiteX35" fmla="*/ 216787 w 321768"/>
                <a:gd name="connsiteY35" fmla="*/ 384934 h 523851"/>
                <a:gd name="connsiteX36" fmla="*/ 216787 w 321768"/>
                <a:gd name="connsiteY36" fmla="*/ 384934 h 523851"/>
                <a:gd name="connsiteX37" fmla="*/ 215954 w 321768"/>
                <a:gd name="connsiteY37" fmla="*/ 398150 h 523851"/>
                <a:gd name="connsiteX38" fmla="*/ 215954 w 321768"/>
                <a:gd name="connsiteY38" fmla="*/ 425727 h 523851"/>
                <a:gd name="connsiteX39" fmla="*/ 143111 w 321768"/>
                <a:gd name="connsiteY39" fmla="*/ 425727 h 523851"/>
                <a:gd name="connsiteX40" fmla="*/ 130186 w 321768"/>
                <a:gd name="connsiteY40" fmla="*/ 436424 h 523851"/>
                <a:gd name="connsiteX41" fmla="*/ 140894 w 321768"/>
                <a:gd name="connsiteY41" fmla="*/ 449349 h 523851"/>
                <a:gd name="connsiteX42" fmla="*/ 143111 w 321768"/>
                <a:gd name="connsiteY42" fmla="*/ 449349 h 523851"/>
                <a:gd name="connsiteX43" fmla="*/ 215121 w 321768"/>
                <a:gd name="connsiteY43" fmla="*/ 449349 h 523851"/>
                <a:gd name="connsiteX44" fmla="*/ 208045 w 321768"/>
                <a:gd name="connsiteY44" fmla="*/ 460900 h 523851"/>
                <a:gd name="connsiteX45" fmla="*/ 208045 w 321768"/>
                <a:gd name="connsiteY45" fmla="*/ 460900 h 523851"/>
                <a:gd name="connsiteX46" fmla="*/ 180468 w 321768"/>
                <a:gd name="connsiteY46" fmla="*/ 487749 h 523851"/>
                <a:gd name="connsiteX47" fmla="*/ 145088 w 321768"/>
                <a:gd name="connsiteY47" fmla="*/ 487749 h 523851"/>
                <a:gd name="connsiteX48" fmla="*/ 117511 w 321768"/>
                <a:gd name="connsiteY48" fmla="*/ 460900 h 523851"/>
                <a:gd name="connsiteX49" fmla="*/ 117511 w 321768"/>
                <a:gd name="connsiteY49" fmla="*/ 460900 h 523851"/>
                <a:gd name="connsiteX50" fmla="*/ 109395 w 321768"/>
                <a:gd name="connsiteY50" fmla="*/ 442481 h 523851"/>
                <a:gd name="connsiteX51" fmla="*/ 109395 w 321768"/>
                <a:gd name="connsiteY51" fmla="*/ 398150 h 523851"/>
                <a:gd name="connsiteX52" fmla="*/ 109395 w 321768"/>
                <a:gd name="connsiteY52" fmla="*/ 398150 h 523851"/>
                <a:gd name="connsiteX53" fmla="*/ 109395 w 321768"/>
                <a:gd name="connsiteY53" fmla="*/ 398150 h 523851"/>
                <a:gd name="connsiteX54" fmla="*/ 182862 w 321768"/>
                <a:gd name="connsiteY54" fmla="*/ 398150 h 523851"/>
                <a:gd name="connsiteX55" fmla="*/ 195787 w 321768"/>
                <a:gd name="connsiteY55" fmla="*/ 387452 h 523851"/>
                <a:gd name="connsiteX56" fmla="*/ 185078 w 321768"/>
                <a:gd name="connsiteY56" fmla="*/ 374527 h 523851"/>
                <a:gd name="connsiteX57" fmla="*/ 182862 w 321768"/>
                <a:gd name="connsiteY57" fmla="*/ 374527 h 523851"/>
                <a:gd name="connsiteX58" fmla="*/ 107105 w 321768"/>
                <a:gd name="connsiteY58" fmla="*/ 374527 h 523851"/>
                <a:gd name="connsiteX59" fmla="*/ 52577 w 321768"/>
                <a:gd name="connsiteY59" fmla="*/ 234145 h 523851"/>
                <a:gd name="connsiteX60" fmla="*/ 52577 w 321768"/>
                <a:gd name="connsiteY60" fmla="*/ 234145 h 523851"/>
                <a:gd name="connsiteX61" fmla="*/ 71516 w 321768"/>
                <a:gd name="connsiteY61" fmla="*/ 64625 h 523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321768" h="523851">
                  <a:moveTo>
                    <a:pt x="28226" y="249963"/>
                  </a:moveTo>
                  <a:lnTo>
                    <a:pt x="28226" y="249963"/>
                  </a:lnTo>
                  <a:cubicBezTo>
                    <a:pt x="55751" y="291620"/>
                    <a:pt x="73347" y="339041"/>
                    <a:pt x="79633" y="388576"/>
                  </a:cubicBezTo>
                  <a:lnTo>
                    <a:pt x="79633" y="388576"/>
                  </a:lnTo>
                  <a:cubicBezTo>
                    <a:pt x="79841" y="391760"/>
                    <a:pt x="79841" y="394965"/>
                    <a:pt x="79633" y="398150"/>
                  </a:cubicBezTo>
                  <a:lnTo>
                    <a:pt x="79633" y="442585"/>
                  </a:lnTo>
                  <a:lnTo>
                    <a:pt x="79633" y="442585"/>
                  </a:lnTo>
                  <a:cubicBezTo>
                    <a:pt x="79748" y="457310"/>
                    <a:pt x="85783" y="471380"/>
                    <a:pt x="96387" y="481609"/>
                  </a:cubicBezTo>
                  <a:lnTo>
                    <a:pt x="96387" y="481609"/>
                  </a:lnTo>
                  <a:lnTo>
                    <a:pt x="123963" y="508562"/>
                  </a:lnTo>
                  <a:lnTo>
                    <a:pt x="123963" y="508562"/>
                  </a:lnTo>
                  <a:cubicBezTo>
                    <a:pt x="144859" y="528948"/>
                    <a:pt x="178200" y="528948"/>
                    <a:pt x="199096" y="508562"/>
                  </a:cubicBezTo>
                  <a:lnTo>
                    <a:pt x="199096" y="508562"/>
                  </a:lnTo>
                  <a:lnTo>
                    <a:pt x="226776" y="481713"/>
                  </a:lnTo>
                  <a:lnTo>
                    <a:pt x="226776" y="481713"/>
                  </a:lnTo>
                  <a:cubicBezTo>
                    <a:pt x="237443" y="471525"/>
                    <a:pt x="243530" y="457445"/>
                    <a:pt x="243634" y="442689"/>
                  </a:cubicBezTo>
                  <a:lnTo>
                    <a:pt x="243634" y="398358"/>
                  </a:lnTo>
                  <a:cubicBezTo>
                    <a:pt x="243634" y="395132"/>
                    <a:pt x="243634" y="391698"/>
                    <a:pt x="244154" y="388576"/>
                  </a:cubicBezTo>
                  <a:cubicBezTo>
                    <a:pt x="247567" y="362175"/>
                    <a:pt x="254175" y="336284"/>
                    <a:pt x="263822" y="311465"/>
                  </a:cubicBezTo>
                  <a:lnTo>
                    <a:pt x="263822" y="311465"/>
                  </a:lnTo>
                  <a:cubicBezTo>
                    <a:pt x="272053" y="289934"/>
                    <a:pt x="282522" y="269319"/>
                    <a:pt x="295040" y="249963"/>
                  </a:cubicBezTo>
                  <a:lnTo>
                    <a:pt x="295040" y="249963"/>
                  </a:lnTo>
                  <a:cubicBezTo>
                    <a:pt x="320785" y="211157"/>
                    <a:pt x="328392" y="163070"/>
                    <a:pt x="315853" y="118218"/>
                  </a:cubicBezTo>
                  <a:lnTo>
                    <a:pt x="315853" y="118218"/>
                  </a:lnTo>
                  <a:cubicBezTo>
                    <a:pt x="306352" y="84075"/>
                    <a:pt x="285966" y="53959"/>
                    <a:pt x="257786" y="32469"/>
                  </a:cubicBezTo>
                  <a:cubicBezTo>
                    <a:pt x="186858" y="-21051"/>
                    <a:pt x="85981" y="-6940"/>
                    <a:pt x="32462" y="63980"/>
                  </a:cubicBezTo>
                  <a:cubicBezTo>
                    <a:pt x="-8716" y="118551"/>
                    <a:pt x="-10911" y="193175"/>
                    <a:pt x="26978" y="250067"/>
                  </a:cubicBezTo>
                  <a:close/>
                  <a:moveTo>
                    <a:pt x="71516" y="64625"/>
                  </a:moveTo>
                  <a:cubicBezTo>
                    <a:pt x="118302" y="20211"/>
                    <a:pt x="190386" y="16246"/>
                    <a:pt x="241761" y="55259"/>
                  </a:cubicBezTo>
                  <a:cubicBezTo>
                    <a:pt x="264925" y="72898"/>
                    <a:pt x="281658" y="97645"/>
                    <a:pt x="289421" y="125711"/>
                  </a:cubicBezTo>
                  <a:lnTo>
                    <a:pt x="289421" y="125711"/>
                  </a:lnTo>
                  <a:cubicBezTo>
                    <a:pt x="299661" y="162612"/>
                    <a:pt x="293355" y="202145"/>
                    <a:pt x="272147" y="234041"/>
                  </a:cubicBezTo>
                  <a:lnTo>
                    <a:pt x="272147" y="234041"/>
                  </a:lnTo>
                  <a:cubicBezTo>
                    <a:pt x="258286" y="255052"/>
                    <a:pt x="246704" y="277488"/>
                    <a:pt x="237599" y="300954"/>
                  </a:cubicBezTo>
                  <a:lnTo>
                    <a:pt x="237599" y="300954"/>
                  </a:lnTo>
                  <a:cubicBezTo>
                    <a:pt x="227265" y="328000"/>
                    <a:pt x="220283" y="356202"/>
                    <a:pt x="216787" y="384934"/>
                  </a:cubicBezTo>
                  <a:lnTo>
                    <a:pt x="216787" y="384934"/>
                  </a:lnTo>
                  <a:cubicBezTo>
                    <a:pt x="216245" y="389315"/>
                    <a:pt x="215964" y="393727"/>
                    <a:pt x="215954" y="398150"/>
                  </a:cubicBezTo>
                  <a:lnTo>
                    <a:pt x="215954" y="425727"/>
                  </a:lnTo>
                  <a:lnTo>
                    <a:pt x="143111" y="425727"/>
                  </a:lnTo>
                  <a:cubicBezTo>
                    <a:pt x="136586" y="425113"/>
                    <a:pt x="130800" y="429910"/>
                    <a:pt x="130186" y="436424"/>
                  </a:cubicBezTo>
                  <a:cubicBezTo>
                    <a:pt x="129572" y="442949"/>
                    <a:pt x="134369" y="448735"/>
                    <a:pt x="140894" y="449349"/>
                  </a:cubicBezTo>
                  <a:cubicBezTo>
                    <a:pt x="141633" y="449422"/>
                    <a:pt x="142372" y="449422"/>
                    <a:pt x="143111" y="449349"/>
                  </a:cubicBezTo>
                  <a:lnTo>
                    <a:pt x="215121" y="449349"/>
                  </a:lnTo>
                  <a:cubicBezTo>
                    <a:pt x="213831" y="453761"/>
                    <a:pt x="211385" y="457747"/>
                    <a:pt x="208045" y="460900"/>
                  </a:cubicBezTo>
                  <a:lnTo>
                    <a:pt x="208045" y="460900"/>
                  </a:lnTo>
                  <a:lnTo>
                    <a:pt x="180468" y="487749"/>
                  </a:lnTo>
                  <a:cubicBezTo>
                    <a:pt x="170572" y="497208"/>
                    <a:pt x="154984" y="497208"/>
                    <a:pt x="145088" y="487749"/>
                  </a:cubicBezTo>
                  <a:lnTo>
                    <a:pt x="117511" y="460900"/>
                  </a:lnTo>
                  <a:lnTo>
                    <a:pt x="117511" y="460900"/>
                  </a:lnTo>
                  <a:cubicBezTo>
                    <a:pt x="112412" y="456124"/>
                    <a:pt x="109488" y="449474"/>
                    <a:pt x="109395" y="442481"/>
                  </a:cubicBezTo>
                  <a:lnTo>
                    <a:pt x="109395" y="398150"/>
                  </a:lnTo>
                  <a:lnTo>
                    <a:pt x="109395" y="398150"/>
                  </a:lnTo>
                  <a:lnTo>
                    <a:pt x="109395" y="398150"/>
                  </a:lnTo>
                  <a:lnTo>
                    <a:pt x="182862" y="398150"/>
                  </a:lnTo>
                  <a:cubicBezTo>
                    <a:pt x="189387" y="398764"/>
                    <a:pt x="195173" y="393966"/>
                    <a:pt x="195787" y="387452"/>
                  </a:cubicBezTo>
                  <a:cubicBezTo>
                    <a:pt x="196400" y="380927"/>
                    <a:pt x="191603" y="375141"/>
                    <a:pt x="185078" y="374527"/>
                  </a:cubicBezTo>
                  <a:cubicBezTo>
                    <a:pt x="184340" y="374454"/>
                    <a:pt x="183601" y="374454"/>
                    <a:pt x="182862" y="374527"/>
                  </a:cubicBezTo>
                  <a:lnTo>
                    <a:pt x="107105" y="374527"/>
                  </a:lnTo>
                  <a:cubicBezTo>
                    <a:pt x="99165" y="324379"/>
                    <a:pt x="80570" y="276509"/>
                    <a:pt x="52577" y="234145"/>
                  </a:cubicBezTo>
                  <a:lnTo>
                    <a:pt x="52577" y="234145"/>
                  </a:lnTo>
                  <a:cubicBezTo>
                    <a:pt x="16436" y="180646"/>
                    <a:pt x="24459" y="108821"/>
                    <a:pt x="71516" y="64625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1" name="Freeform 110">
              <a:extLst>
                <a:ext uri="{FF2B5EF4-FFF2-40B4-BE49-F238E27FC236}">
                  <a16:creationId xmlns:a16="http://schemas.microsoft.com/office/drawing/2014/main" id="{A91A26D7-11AA-5240-82CE-039D6473268F}"/>
                </a:ext>
              </a:extLst>
            </p:cNvPr>
            <p:cNvSpPr/>
            <p:nvPr/>
          </p:nvSpPr>
          <p:spPr>
            <a:xfrm>
              <a:off x="11360201" y="2194824"/>
              <a:ext cx="28721" cy="73260"/>
            </a:xfrm>
            <a:custGeom>
              <a:avLst/>
              <a:gdLst>
                <a:gd name="connsiteX0" fmla="*/ 14361 w 28721"/>
                <a:gd name="connsiteY0" fmla="*/ 73261 h 73260"/>
                <a:gd name="connsiteX1" fmla="*/ 28721 w 28721"/>
                <a:gd name="connsiteY1" fmla="*/ 58900 h 73260"/>
                <a:gd name="connsiteX2" fmla="*/ 28721 w 28721"/>
                <a:gd name="connsiteY2" fmla="*/ 14361 h 73260"/>
                <a:gd name="connsiteX3" fmla="*/ 14361 w 28721"/>
                <a:gd name="connsiteY3" fmla="*/ 0 h 73260"/>
                <a:gd name="connsiteX4" fmla="*/ 0 w 28721"/>
                <a:gd name="connsiteY4" fmla="*/ 14361 h 73260"/>
                <a:gd name="connsiteX5" fmla="*/ 0 w 28721"/>
                <a:gd name="connsiteY5" fmla="*/ 59420 h 73260"/>
                <a:gd name="connsiteX6" fmla="*/ 14361 w 28721"/>
                <a:gd name="connsiteY6" fmla="*/ 73261 h 7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721" h="73260">
                  <a:moveTo>
                    <a:pt x="14361" y="73261"/>
                  </a:moveTo>
                  <a:cubicBezTo>
                    <a:pt x="22290" y="73261"/>
                    <a:pt x="28721" y="66830"/>
                    <a:pt x="28721" y="58900"/>
                  </a:cubicBezTo>
                  <a:lnTo>
                    <a:pt x="28721" y="14361"/>
                  </a:lnTo>
                  <a:cubicBezTo>
                    <a:pt x="28721" y="6431"/>
                    <a:pt x="22290" y="0"/>
                    <a:pt x="14361" y="0"/>
                  </a:cubicBezTo>
                  <a:cubicBezTo>
                    <a:pt x="6431" y="0"/>
                    <a:pt x="0" y="6431"/>
                    <a:pt x="0" y="14361"/>
                  </a:cubicBezTo>
                  <a:lnTo>
                    <a:pt x="0" y="59420"/>
                  </a:lnTo>
                  <a:cubicBezTo>
                    <a:pt x="281" y="67152"/>
                    <a:pt x="6629" y="73261"/>
                    <a:pt x="14361" y="73261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" name="Freeform 111">
              <a:extLst>
                <a:ext uri="{FF2B5EF4-FFF2-40B4-BE49-F238E27FC236}">
                  <a16:creationId xmlns:a16="http://schemas.microsoft.com/office/drawing/2014/main" id="{4B76B0C4-0FC5-7042-92E7-576F2BE8B959}"/>
                </a:ext>
              </a:extLst>
            </p:cNvPr>
            <p:cNvSpPr/>
            <p:nvPr/>
          </p:nvSpPr>
          <p:spPr>
            <a:xfrm>
              <a:off x="11173625" y="2281257"/>
              <a:ext cx="63492" cy="57770"/>
            </a:xfrm>
            <a:custGeom>
              <a:avLst/>
              <a:gdLst>
                <a:gd name="connsiteX0" fmla="*/ 39536 w 63492"/>
                <a:gd name="connsiteY0" fmla="*/ 54366 h 57770"/>
                <a:gd name="connsiteX1" fmla="*/ 60088 w 63492"/>
                <a:gd name="connsiteY1" fmla="*/ 52545 h 57770"/>
                <a:gd name="connsiteX2" fmla="*/ 58267 w 63492"/>
                <a:gd name="connsiteY2" fmla="*/ 31992 h 57770"/>
                <a:gd name="connsiteX3" fmla="*/ 23407 w 63492"/>
                <a:gd name="connsiteY3" fmla="*/ 3271 h 57770"/>
                <a:gd name="connsiteX4" fmla="*/ 3271 w 63492"/>
                <a:gd name="connsiteY4" fmla="*/ 5196 h 57770"/>
                <a:gd name="connsiteX5" fmla="*/ 5196 w 63492"/>
                <a:gd name="connsiteY5" fmla="*/ 25332 h 57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492" h="57770">
                  <a:moveTo>
                    <a:pt x="39536" y="54366"/>
                  </a:moveTo>
                  <a:cubicBezTo>
                    <a:pt x="45717" y="59538"/>
                    <a:pt x="54917" y="58726"/>
                    <a:pt x="60088" y="52545"/>
                  </a:cubicBezTo>
                  <a:cubicBezTo>
                    <a:pt x="65260" y="46363"/>
                    <a:pt x="64448" y="37164"/>
                    <a:pt x="58267" y="31992"/>
                  </a:cubicBezTo>
                  <a:lnTo>
                    <a:pt x="23407" y="3271"/>
                  </a:lnTo>
                  <a:cubicBezTo>
                    <a:pt x="17319" y="-1756"/>
                    <a:pt x="8297" y="-892"/>
                    <a:pt x="3271" y="5196"/>
                  </a:cubicBezTo>
                  <a:cubicBezTo>
                    <a:pt x="-1756" y="11283"/>
                    <a:pt x="-892" y="20306"/>
                    <a:pt x="5196" y="25332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" name="Freeform 112">
              <a:extLst>
                <a:ext uri="{FF2B5EF4-FFF2-40B4-BE49-F238E27FC236}">
                  <a16:creationId xmlns:a16="http://schemas.microsoft.com/office/drawing/2014/main" id="{EA385BC9-0C36-7C4E-8FDB-CE43E74FE9C8}"/>
                </a:ext>
              </a:extLst>
            </p:cNvPr>
            <p:cNvSpPr/>
            <p:nvPr/>
          </p:nvSpPr>
          <p:spPr>
            <a:xfrm>
              <a:off x="11120691" y="2472036"/>
              <a:ext cx="73129" cy="36930"/>
            </a:xfrm>
            <a:custGeom>
              <a:avLst/>
              <a:gdLst>
                <a:gd name="connsiteX0" fmla="*/ 14216 w 73129"/>
                <a:gd name="connsiteY0" fmla="*/ 36853 h 36930"/>
                <a:gd name="connsiteX1" fmla="*/ 16818 w 73129"/>
                <a:gd name="connsiteY1" fmla="*/ 36853 h 36930"/>
                <a:gd name="connsiteX2" fmla="*/ 61252 w 73129"/>
                <a:gd name="connsiteY2" fmla="*/ 28528 h 36930"/>
                <a:gd name="connsiteX3" fmla="*/ 72907 w 73129"/>
                <a:gd name="connsiteY3" fmla="*/ 11877 h 36930"/>
                <a:gd name="connsiteX4" fmla="*/ 56258 w 73129"/>
                <a:gd name="connsiteY4" fmla="*/ 222 h 36930"/>
                <a:gd name="connsiteX5" fmla="*/ 11927 w 73129"/>
                <a:gd name="connsiteY5" fmla="*/ 8235 h 36930"/>
                <a:gd name="connsiteX6" fmla="*/ 210 w 73129"/>
                <a:gd name="connsiteY6" fmla="*/ 24823 h 36930"/>
                <a:gd name="connsiteX7" fmla="*/ 14425 w 73129"/>
                <a:gd name="connsiteY7" fmla="*/ 36749 h 36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29" h="36930">
                  <a:moveTo>
                    <a:pt x="14216" y="36853"/>
                  </a:moveTo>
                  <a:cubicBezTo>
                    <a:pt x="15080" y="36957"/>
                    <a:pt x="15954" y="36957"/>
                    <a:pt x="16818" y="36853"/>
                  </a:cubicBezTo>
                  <a:lnTo>
                    <a:pt x="61252" y="28528"/>
                  </a:lnTo>
                  <a:cubicBezTo>
                    <a:pt x="69067" y="27144"/>
                    <a:pt x="74291" y="19693"/>
                    <a:pt x="72907" y="11877"/>
                  </a:cubicBezTo>
                  <a:cubicBezTo>
                    <a:pt x="71523" y="4062"/>
                    <a:pt x="64072" y="-1162"/>
                    <a:pt x="56258" y="222"/>
                  </a:cubicBezTo>
                  <a:lnTo>
                    <a:pt x="11927" y="8235"/>
                  </a:lnTo>
                  <a:cubicBezTo>
                    <a:pt x="4112" y="9578"/>
                    <a:pt x="-1133" y="17008"/>
                    <a:pt x="210" y="24823"/>
                  </a:cubicBezTo>
                  <a:cubicBezTo>
                    <a:pt x="1396" y="31733"/>
                    <a:pt x="7411" y="36780"/>
                    <a:pt x="14425" y="36749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" name="Freeform 113">
              <a:extLst>
                <a:ext uri="{FF2B5EF4-FFF2-40B4-BE49-F238E27FC236}">
                  <a16:creationId xmlns:a16="http://schemas.microsoft.com/office/drawing/2014/main" id="{9321A156-61F0-CC4B-A86A-EE7F6978122F}"/>
                </a:ext>
              </a:extLst>
            </p:cNvPr>
            <p:cNvSpPr/>
            <p:nvPr/>
          </p:nvSpPr>
          <p:spPr>
            <a:xfrm>
              <a:off x="11511452" y="2281397"/>
              <a:ext cx="63697" cy="57475"/>
            </a:xfrm>
            <a:custGeom>
              <a:avLst/>
              <a:gdLst>
                <a:gd name="connsiteX0" fmla="*/ 14832 w 63697"/>
                <a:gd name="connsiteY0" fmla="*/ 57452 h 57475"/>
                <a:gd name="connsiteX1" fmla="*/ 24093 w 63697"/>
                <a:gd name="connsiteY1" fmla="*/ 54122 h 57475"/>
                <a:gd name="connsiteX2" fmla="*/ 58537 w 63697"/>
                <a:gd name="connsiteY2" fmla="*/ 25401 h 57475"/>
                <a:gd name="connsiteX3" fmla="*/ 60359 w 63697"/>
                <a:gd name="connsiteY3" fmla="*/ 5160 h 57475"/>
                <a:gd name="connsiteX4" fmla="*/ 40119 w 63697"/>
                <a:gd name="connsiteY4" fmla="*/ 3339 h 57475"/>
                <a:gd name="connsiteX5" fmla="*/ 5674 w 63697"/>
                <a:gd name="connsiteY5" fmla="*/ 31853 h 57475"/>
                <a:gd name="connsiteX6" fmla="*/ 2927 w 63697"/>
                <a:gd name="connsiteY6" fmla="*/ 51979 h 57475"/>
                <a:gd name="connsiteX7" fmla="*/ 3489 w 63697"/>
                <a:gd name="connsiteY7" fmla="*/ 52665 h 57475"/>
                <a:gd name="connsiteX8" fmla="*/ 14832 w 63697"/>
                <a:gd name="connsiteY8" fmla="*/ 57452 h 57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3697" h="57475">
                  <a:moveTo>
                    <a:pt x="14832" y="57452"/>
                  </a:moveTo>
                  <a:cubicBezTo>
                    <a:pt x="18224" y="57494"/>
                    <a:pt x="21512" y="56318"/>
                    <a:pt x="24093" y="54122"/>
                  </a:cubicBezTo>
                  <a:lnTo>
                    <a:pt x="58537" y="25401"/>
                  </a:lnTo>
                  <a:cubicBezTo>
                    <a:pt x="64625" y="20312"/>
                    <a:pt x="65447" y="11248"/>
                    <a:pt x="60359" y="5160"/>
                  </a:cubicBezTo>
                  <a:cubicBezTo>
                    <a:pt x="55270" y="-928"/>
                    <a:pt x="46206" y="-1750"/>
                    <a:pt x="40119" y="3339"/>
                  </a:cubicBezTo>
                  <a:lnTo>
                    <a:pt x="5674" y="31853"/>
                  </a:lnTo>
                  <a:cubicBezTo>
                    <a:pt x="-642" y="36650"/>
                    <a:pt x="-1871" y="45662"/>
                    <a:pt x="2927" y="51979"/>
                  </a:cubicBezTo>
                  <a:cubicBezTo>
                    <a:pt x="3114" y="52207"/>
                    <a:pt x="3291" y="52436"/>
                    <a:pt x="3489" y="52665"/>
                  </a:cubicBezTo>
                  <a:cubicBezTo>
                    <a:pt x="6319" y="55933"/>
                    <a:pt x="10513" y="57702"/>
                    <a:pt x="14832" y="57452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5" name="Freeform 114">
              <a:extLst>
                <a:ext uri="{FF2B5EF4-FFF2-40B4-BE49-F238E27FC236}">
                  <a16:creationId xmlns:a16="http://schemas.microsoft.com/office/drawing/2014/main" id="{96BD1791-8DF4-D748-AF84-DE3674DA03D5}"/>
                </a:ext>
              </a:extLst>
            </p:cNvPr>
            <p:cNvSpPr/>
            <p:nvPr/>
          </p:nvSpPr>
          <p:spPr>
            <a:xfrm>
              <a:off x="11555496" y="2471786"/>
              <a:ext cx="72830" cy="36688"/>
            </a:xfrm>
            <a:custGeom>
              <a:avLst/>
              <a:gdLst>
                <a:gd name="connsiteX0" fmla="*/ 236 w 72830"/>
                <a:gd name="connsiteY0" fmla="*/ 12232 h 36688"/>
                <a:gd name="connsiteX1" fmla="*/ 11475 w 72830"/>
                <a:gd name="connsiteY1" fmla="*/ 28778 h 36688"/>
                <a:gd name="connsiteX2" fmla="*/ 55805 w 72830"/>
                <a:gd name="connsiteY2" fmla="*/ 36687 h 36688"/>
                <a:gd name="connsiteX3" fmla="*/ 58303 w 72830"/>
                <a:gd name="connsiteY3" fmla="*/ 36687 h 36688"/>
                <a:gd name="connsiteX4" fmla="*/ 72830 w 72830"/>
                <a:gd name="connsiteY4" fmla="*/ 22503 h 36688"/>
                <a:gd name="connsiteX5" fmla="*/ 60904 w 72830"/>
                <a:gd name="connsiteY5" fmla="*/ 8174 h 36688"/>
                <a:gd name="connsiteX6" fmla="*/ 16574 w 72830"/>
                <a:gd name="connsiteY6" fmla="*/ 161 h 36688"/>
                <a:gd name="connsiteX7" fmla="*/ 236 w 72830"/>
                <a:gd name="connsiteY7" fmla="*/ 12222 h 36688"/>
                <a:gd name="connsiteX8" fmla="*/ 236 w 72830"/>
                <a:gd name="connsiteY8" fmla="*/ 12232 h 36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830" h="36688">
                  <a:moveTo>
                    <a:pt x="236" y="12232"/>
                  </a:moveTo>
                  <a:cubicBezTo>
                    <a:pt x="-1169" y="19891"/>
                    <a:pt x="3837" y="27259"/>
                    <a:pt x="11475" y="28778"/>
                  </a:cubicBezTo>
                  <a:lnTo>
                    <a:pt x="55805" y="36687"/>
                  </a:lnTo>
                  <a:lnTo>
                    <a:pt x="58303" y="36687"/>
                  </a:lnTo>
                  <a:cubicBezTo>
                    <a:pt x="66232" y="36781"/>
                    <a:pt x="72736" y="30433"/>
                    <a:pt x="72830" y="22503"/>
                  </a:cubicBezTo>
                  <a:cubicBezTo>
                    <a:pt x="72913" y="15437"/>
                    <a:pt x="67856" y="9370"/>
                    <a:pt x="60904" y="8174"/>
                  </a:cubicBezTo>
                  <a:lnTo>
                    <a:pt x="16574" y="161"/>
                  </a:lnTo>
                  <a:cubicBezTo>
                    <a:pt x="8728" y="-1015"/>
                    <a:pt x="1412" y="4386"/>
                    <a:pt x="236" y="12222"/>
                  </a:cubicBezTo>
                  <a:cubicBezTo>
                    <a:pt x="236" y="12232"/>
                    <a:pt x="236" y="12232"/>
                    <a:pt x="236" y="12232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6" name="Freeform 115">
              <a:extLst>
                <a:ext uri="{FF2B5EF4-FFF2-40B4-BE49-F238E27FC236}">
                  <a16:creationId xmlns:a16="http://schemas.microsoft.com/office/drawing/2014/main" id="{D04D78D2-5426-6342-A456-2655F47F1E58}"/>
                </a:ext>
              </a:extLst>
            </p:cNvPr>
            <p:cNvSpPr/>
            <p:nvPr/>
          </p:nvSpPr>
          <p:spPr>
            <a:xfrm>
              <a:off x="11033176" y="2684174"/>
              <a:ext cx="207707" cy="207358"/>
            </a:xfrm>
            <a:custGeom>
              <a:avLst/>
              <a:gdLst>
                <a:gd name="connsiteX0" fmla="*/ 13487 w 207707"/>
                <a:gd name="connsiteY0" fmla="*/ 207358 h 207358"/>
                <a:gd name="connsiteX1" fmla="*/ 22852 w 207707"/>
                <a:gd name="connsiteY1" fmla="*/ 203507 h 207358"/>
                <a:gd name="connsiteX2" fmla="*/ 203815 w 207707"/>
                <a:gd name="connsiteY2" fmla="*/ 22540 h 207358"/>
                <a:gd name="connsiteX3" fmla="*/ 203857 w 207707"/>
                <a:gd name="connsiteY3" fmla="*/ 3850 h 207358"/>
                <a:gd name="connsiteX4" fmla="*/ 203815 w 207707"/>
                <a:gd name="connsiteY4" fmla="*/ 3809 h 207358"/>
                <a:gd name="connsiteX5" fmla="*/ 185084 w 207707"/>
                <a:gd name="connsiteY5" fmla="*/ 3809 h 207358"/>
                <a:gd name="connsiteX6" fmla="*/ 3809 w 207707"/>
                <a:gd name="connsiteY6" fmla="*/ 184776 h 207358"/>
                <a:gd name="connsiteX7" fmla="*/ 3809 w 207707"/>
                <a:gd name="connsiteY7" fmla="*/ 203507 h 207358"/>
                <a:gd name="connsiteX8" fmla="*/ 13487 w 207707"/>
                <a:gd name="connsiteY8" fmla="*/ 207358 h 207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7707" h="207358">
                  <a:moveTo>
                    <a:pt x="13487" y="207358"/>
                  </a:moveTo>
                  <a:cubicBezTo>
                    <a:pt x="16993" y="207337"/>
                    <a:pt x="20344" y="205953"/>
                    <a:pt x="22852" y="203507"/>
                  </a:cubicBezTo>
                  <a:lnTo>
                    <a:pt x="203815" y="22540"/>
                  </a:lnTo>
                  <a:cubicBezTo>
                    <a:pt x="208987" y="17389"/>
                    <a:pt x="209008" y="9022"/>
                    <a:pt x="203857" y="3850"/>
                  </a:cubicBezTo>
                  <a:cubicBezTo>
                    <a:pt x="203847" y="3840"/>
                    <a:pt x="203826" y="3819"/>
                    <a:pt x="203815" y="3809"/>
                  </a:cubicBezTo>
                  <a:cubicBezTo>
                    <a:pt x="198602" y="-1270"/>
                    <a:pt x="190298" y="-1270"/>
                    <a:pt x="185084" y="3809"/>
                  </a:cubicBezTo>
                  <a:lnTo>
                    <a:pt x="3809" y="184776"/>
                  </a:lnTo>
                  <a:cubicBezTo>
                    <a:pt x="-1270" y="189989"/>
                    <a:pt x="-1270" y="198294"/>
                    <a:pt x="3809" y="203507"/>
                  </a:cubicBezTo>
                  <a:cubicBezTo>
                    <a:pt x="6400" y="206015"/>
                    <a:pt x="9876" y="207399"/>
                    <a:pt x="13487" y="207358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7" name="Freeform 116">
              <a:extLst>
                <a:ext uri="{FF2B5EF4-FFF2-40B4-BE49-F238E27FC236}">
                  <a16:creationId xmlns:a16="http://schemas.microsoft.com/office/drawing/2014/main" id="{51903B20-561B-8542-8C0F-194C68E2CC70}"/>
                </a:ext>
              </a:extLst>
            </p:cNvPr>
            <p:cNvSpPr/>
            <p:nvPr/>
          </p:nvSpPr>
          <p:spPr>
            <a:xfrm>
              <a:off x="11358848" y="2848658"/>
              <a:ext cx="26431" cy="157969"/>
            </a:xfrm>
            <a:custGeom>
              <a:avLst/>
              <a:gdLst>
                <a:gd name="connsiteX0" fmla="*/ 26431 w 26431"/>
                <a:gd name="connsiteY0" fmla="*/ 144753 h 157969"/>
                <a:gd name="connsiteX1" fmla="*/ 26431 w 26431"/>
                <a:gd name="connsiteY1" fmla="*/ 13216 h 157969"/>
                <a:gd name="connsiteX2" fmla="*/ 13216 w 26431"/>
                <a:gd name="connsiteY2" fmla="*/ 0 h 157969"/>
                <a:gd name="connsiteX3" fmla="*/ 0 w 26431"/>
                <a:gd name="connsiteY3" fmla="*/ 13216 h 157969"/>
                <a:gd name="connsiteX4" fmla="*/ 0 w 26431"/>
                <a:gd name="connsiteY4" fmla="*/ 144753 h 157969"/>
                <a:gd name="connsiteX5" fmla="*/ 13216 w 26431"/>
                <a:gd name="connsiteY5" fmla="*/ 157969 h 157969"/>
                <a:gd name="connsiteX6" fmla="*/ 26431 w 26431"/>
                <a:gd name="connsiteY6" fmla="*/ 144753 h 157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431" h="157969">
                  <a:moveTo>
                    <a:pt x="26431" y="144753"/>
                  </a:moveTo>
                  <a:lnTo>
                    <a:pt x="26431" y="13216"/>
                  </a:lnTo>
                  <a:cubicBezTo>
                    <a:pt x="26431" y="5921"/>
                    <a:pt x="20511" y="0"/>
                    <a:pt x="13216" y="0"/>
                  </a:cubicBezTo>
                  <a:cubicBezTo>
                    <a:pt x="5921" y="0"/>
                    <a:pt x="0" y="5921"/>
                    <a:pt x="0" y="13216"/>
                  </a:cubicBezTo>
                  <a:lnTo>
                    <a:pt x="0" y="144753"/>
                  </a:lnTo>
                  <a:cubicBezTo>
                    <a:pt x="0" y="152048"/>
                    <a:pt x="5921" y="157969"/>
                    <a:pt x="13216" y="157969"/>
                  </a:cubicBezTo>
                  <a:cubicBezTo>
                    <a:pt x="20511" y="157969"/>
                    <a:pt x="26431" y="152048"/>
                    <a:pt x="26431" y="144753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8" name="Freeform 117">
              <a:extLst>
                <a:ext uri="{FF2B5EF4-FFF2-40B4-BE49-F238E27FC236}">
                  <a16:creationId xmlns:a16="http://schemas.microsoft.com/office/drawing/2014/main" id="{2DA190B7-86F4-6749-9965-F86511AC7BAD}"/>
                </a:ext>
              </a:extLst>
            </p:cNvPr>
            <p:cNvSpPr/>
            <p:nvPr/>
          </p:nvSpPr>
          <p:spPr>
            <a:xfrm>
              <a:off x="11493717" y="2661088"/>
              <a:ext cx="210701" cy="200871"/>
            </a:xfrm>
            <a:custGeom>
              <a:avLst/>
              <a:gdLst>
                <a:gd name="connsiteX0" fmla="*/ 3637 w 210701"/>
                <a:gd name="connsiteY0" fmla="*/ 4105 h 200871"/>
                <a:gd name="connsiteX1" fmla="*/ 4105 w 210701"/>
                <a:gd name="connsiteY1" fmla="*/ 22785 h 200871"/>
                <a:gd name="connsiteX2" fmla="*/ 4157 w 210701"/>
                <a:gd name="connsiteY2" fmla="*/ 22837 h 200871"/>
                <a:gd name="connsiteX3" fmla="*/ 188347 w 210701"/>
                <a:gd name="connsiteY3" fmla="*/ 197248 h 200871"/>
                <a:gd name="connsiteX4" fmla="*/ 207078 w 210701"/>
                <a:gd name="connsiteY4" fmla="*/ 196727 h 200871"/>
                <a:gd name="connsiteX5" fmla="*/ 206557 w 210701"/>
                <a:gd name="connsiteY5" fmla="*/ 177996 h 200871"/>
                <a:gd name="connsiteX6" fmla="*/ 22264 w 210701"/>
                <a:gd name="connsiteY6" fmla="*/ 3585 h 200871"/>
                <a:gd name="connsiteX7" fmla="*/ 3637 w 210701"/>
                <a:gd name="connsiteY7" fmla="*/ 4105 h 200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0701" h="200871">
                  <a:moveTo>
                    <a:pt x="3637" y="4105"/>
                  </a:moveTo>
                  <a:cubicBezTo>
                    <a:pt x="-1389" y="9392"/>
                    <a:pt x="-1181" y="17758"/>
                    <a:pt x="4105" y="22785"/>
                  </a:cubicBezTo>
                  <a:cubicBezTo>
                    <a:pt x="4126" y="22806"/>
                    <a:pt x="4136" y="22826"/>
                    <a:pt x="4157" y="22837"/>
                  </a:cubicBezTo>
                  <a:lnTo>
                    <a:pt x="188347" y="197248"/>
                  </a:lnTo>
                  <a:cubicBezTo>
                    <a:pt x="193664" y="202274"/>
                    <a:pt x="202052" y="202045"/>
                    <a:pt x="207078" y="196727"/>
                  </a:cubicBezTo>
                  <a:cubicBezTo>
                    <a:pt x="212104" y="191410"/>
                    <a:pt x="211875" y="183022"/>
                    <a:pt x="206557" y="177996"/>
                  </a:cubicBezTo>
                  <a:lnTo>
                    <a:pt x="22264" y="3585"/>
                  </a:lnTo>
                  <a:cubicBezTo>
                    <a:pt x="16968" y="-1389"/>
                    <a:pt x="8643" y="-1160"/>
                    <a:pt x="3637" y="4105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9" name="Freeform 118">
              <a:extLst>
                <a:ext uri="{FF2B5EF4-FFF2-40B4-BE49-F238E27FC236}">
                  <a16:creationId xmlns:a16="http://schemas.microsoft.com/office/drawing/2014/main" id="{D8304121-DA40-E64F-A0B2-273B423944BD}"/>
                </a:ext>
              </a:extLst>
            </p:cNvPr>
            <p:cNvSpPr/>
            <p:nvPr/>
          </p:nvSpPr>
          <p:spPr>
            <a:xfrm>
              <a:off x="4153307" y="3401653"/>
              <a:ext cx="61708" cy="23310"/>
            </a:xfrm>
            <a:custGeom>
              <a:avLst/>
              <a:gdLst>
                <a:gd name="connsiteX0" fmla="*/ 11655 w 61708"/>
                <a:gd name="connsiteY0" fmla="*/ 23310 h 23310"/>
                <a:gd name="connsiteX1" fmla="*/ 50054 w 61708"/>
                <a:gd name="connsiteY1" fmla="*/ 23310 h 23310"/>
                <a:gd name="connsiteX2" fmla="*/ 61709 w 61708"/>
                <a:gd name="connsiteY2" fmla="*/ 11655 h 23310"/>
                <a:gd name="connsiteX3" fmla="*/ 50054 w 61708"/>
                <a:gd name="connsiteY3" fmla="*/ 0 h 23310"/>
                <a:gd name="connsiteX4" fmla="*/ 11655 w 61708"/>
                <a:gd name="connsiteY4" fmla="*/ 0 h 23310"/>
                <a:gd name="connsiteX5" fmla="*/ 0 w 61708"/>
                <a:gd name="connsiteY5" fmla="*/ 11655 h 23310"/>
                <a:gd name="connsiteX6" fmla="*/ 11655 w 61708"/>
                <a:gd name="connsiteY6" fmla="*/ 23310 h 23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1708" h="23310">
                  <a:moveTo>
                    <a:pt x="11655" y="23310"/>
                  </a:moveTo>
                  <a:lnTo>
                    <a:pt x="50054" y="23310"/>
                  </a:lnTo>
                  <a:cubicBezTo>
                    <a:pt x="56491" y="23310"/>
                    <a:pt x="61709" y="18097"/>
                    <a:pt x="61709" y="11655"/>
                  </a:cubicBezTo>
                  <a:cubicBezTo>
                    <a:pt x="61709" y="5214"/>
                    <a:pt x="56491" y="0"/>
                    <a:pt x="50054" y="0"/>
                  </a:cubicBezTo>
                  <a:lnTo>
                    <a:pt x="11655" y="0"/>
                  </a:lnTo>
                  <a:cubicBezTo>
                    <a:pt x="5218" y="0"/>
                    <a:pt x="0" y="5214"/>
                    <a:pt x="0" y="11655"/>
                  </a:cubicBezTo>
                  <a:cubicBezTo>
                    <a:pt x="0" y="18097"/>
                    <a:pt x="5218" y="23310"/>
                    <a:pt x="11655" y="23310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0" name="Freeform 119">
              <a:extLst>
                <a:ext uri="{FF2B5EF4-FFF2-40B4-BE49-F238E27FC236}">
                  <a16:creationId xmlns:a16="http://schemas.microsoft.com/office/drawing/2014/main" id="{B7832DFC-82A2-6D43-9425-BCE5317739EB}"/>
                </a:ext>
              </a:extLst>
            </p:cNvPr>
            <p:cNvSpPr/>
            <p:nvPr/>
          </p:nvSpPr>
          <p:spPr>
            <a:xfrm>
              <a:off x="4114908" y="2891636"/>
              <a:ext cx="61812" cy="23310"/>
            </a:xfrm>
            <a:custGeom>
              <a:avLst/>
              <a:gdLst>
                <a:gd name="connsiteX0" fmla="*/ 50054 w 61812"/>
                <a:gd name="connsiteY0" fmla="*/ 0 h 23310"/>
                <a:gd name="connsiteX1" fmla="*/ 11655 w 61812"/>
                <a:gd name="connsiteY1" fmla="*/ 0 h 23310"/>
                <a:gd name="connsiteX2" fmla="*/ 0 w 61812"/>
                <a:gd name="connsiteY2" fmla="*/ 11655 h 23310"/>
                <a:gd name="connsiteX3" fmla="*/ 11655 w 61812"/>
                <a:gd name="connsiteY3" fmla="*/ 23310 h 23310"/>
                <a:gd name="connsiteX4" fmla="*/ 50158 w 61812"/>
                <a:gd name="connsiteY4" fmla="*/ 23310 h 23310"/>
                <a:gd name="connsiteX5" fmla="*/ 61813 w 61812"/>
                <a:gd name="connsiteY5" fmla="*/ 11655 h 23310"/>
                <a:gd name="connsiteX6" fmla="*/ 50158 w 61812"/>
                <a:gd name="connsiteY6" fmla="*/ 0 h 23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1812" h="23310">
                  <a:moveTo>
                    <a:pt x="50054" y="0"/>
                  </a:moveTo>
                  <a:lnTo>
                    <a:pt x="11655" y="0"/>
                  </a:lnTo>
                  <a:cubicBezTo>
                    <a:pt x="5218" y="0"/>
                    <a:pt x="0" y="5214"/>
                    <a:pt x="0" y="11655"/>
                  </a:cubicBezTo>
                  <a:cubicBezTo>
                    <a:pt x="0" y="18097"/>
                    <a:pt x="5218" y="23310"/>
                    <a:pt x="11655" y="23310"/>
                  </a:cubicBezTo>
                  <a:lnTo>
                    <a:pt x="50158" y="23310"/>
                  </a:lnTo>
                  <a:cubicBezTo>
                    <a:pt x="56595" y="23310"/>
                    <a:pt x="61813" y="18097"/>
                    <a:pt x="61813" y="11655"/>
                  </a:cubicBezTo>
                  <a:cubicBezTo>
                    <a:pt x="61813" y="5214"/>
                    <a:pt x="56595" y="0"/>
                    <a:pt x="50158" y="0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1" name="Freeform 120">
              <a:extLst>
                <a:ext uri="{FF2B5EF4-FFF2-40B4-BE49-F238E27FC236}">
                  <a16:creationId xmlns:a16="http://schemas.microsoft.com/office/drawing/2014/main" id="{06778C87-96B1-9345-9F50-C35159C6728D}"/>
                </a:ext>
              </a:extLst>
            </p:cNvPr>
            <p:cNvSpPr/>
            <p:nvPr/>
          </p:nvSpPr>
          <p:spPr>
            <a:xfrm>
              <a:off x="4191706" y="2891636"/>
              <a:ext cx="61708" cy="23310"/>
            </a:xfrm>
            <a:custGeom>
              <a:avLst/>
              <a:gdLst>
                <a:gd name="connsiteX0" fmla="*/ 50054 w 61708"/>
                <a:gd name="connsiteY0" fmla="*/ 0 h 23310"/>
                <a:gd name="connsiteX1" fmla="*/ 11655 w 61708"/>
                <a:gd name="connsiteY1" fmla="*/ 0 h 23310"/>
                <a:gd name="connsiteX2" fmla="*/ 0 w 61708"/>
                <a:gd name="connsiteY2" fmla="*/ 11655 h 23310"/>
                <a:gd name="connsiteX3" fmla="*/ 11655 w 61708"/>
                <a:gd name="connsiteY3" fmla="*/ 23310 h 23310"/>
                <a:gd name="connsiteX4" fmla="*/ 50054 w 61708"/>
                <a:gd name="connsiteY4" fmla="*/ 23310 h 23310"/>
                <a:gd name="connsiteX5" fmla="*/ 61709 w 61708"/>
                <a:gd name="connsiteY5" fmla="*/ 11655 h 23310"/>
                <a:gd name="connsiteX6" fmla="*/ 50054 w 61708"/>
                <a:gd name="connsiteY6" fmla="*/ 0 h 23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1708" h="23310">
                  <a:moveTo>
                    <a:pt x="50054" y="0"/>
                  </a:moveTo>
                  <a:lnTo>
                    <a:pt x="11655" y="0"/>
                  </a:lnTo>
                  <a:cubicBezTo>
                    <a:pt x="5218" y="0"/>
                    <a:pt x="0" y="5214"/>
                    <a:pt x="0" y="11655"/>
                  </a:cubicBezTo>
                  <a:cubicBezTo>
                    <a:pt x="0" y="18097"/>
                    <a:pt x="5218" y="23310"/>
                    <a:pt x="11655" y="23310"/>
                  </a:cubicBezTo>
                  <a:lnTo>
                    <a:pt x="50054" y="23310"/>
                  </a:lnTo>
                  <a:cubicBezTo>
                    <a:pt x="56491" y="23310"/>
                    <a:pt x="61709" y="18097"/>
                    <a:pt x="61709" y="11655"/>
                  </a:cubicBezTo>
                  <a:cubicBezTo>
                    <a:pt x="61709" y="5214"/>
                    <a:pt x="56491" y="0"/>
                    <a:pt x="50054" y="0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2" name="Freeform 121">
              <a:extLst>
                <a:ext uri="{FF2B5EF4-FFF2-40B4-BE49-F238E27FC236}">
                  <a16:creationId xmlns:a16="http://schemas.microsoft.com/office/drawing/2014/main" id="{184BA642-BA37-6C43-A52A-95FFC8535285}"/>
                </a:ext>
              </a:extLst>
            </p:cNvPr>
            <p:cNvSpPr/>
            <p:nvPr/>
          </p:nvSpPr>
          <p:spPr>
            <a:xfrm>
              <a:off x="4078591" y="3244933"/>
              <a:ext cx="57442" cy="57339"/>
            </a:xfrm>
            <a:custGeom>
              <a:avLst/>
              <a:gdLst>
                <a:gd name="connsiteX0" fmla="*/ 47972 w 57442"/>
                <a:gd name="connsiteY0" fmla="*/ 0 h 57339"/>
                <a:gd name="connsiteX1" fmla="*/ 9470 w 57442"/>
                <a:gd name="connsiteY1" fmla="*/ 0 h 57339"/>
                <a:gd name="connsiteX2" fmla="*/ 0 w 57442"/>
                <a:gd name="connsiteY2" fmla="*/ 9470 h 57339"/>
                <a:gd name="connsiteX3" fmla="*/ 0 w 57442"/>
                <a:gd name="connsiteY3" fmla="*/ 47869 h 57339"/>
                <a:gd name="connsiteX4" fmla="*/ 9470 w 57442"/>
                <a:gd name="connsiteY4" fmla="*/ 57339 h 57339"/>
                <a:gd name="connsiteX5" fmla="*/ 47972 w 57442"/>
                <a:gd name="connsiteY5" fmla="*/ 57339 h 57339"/>
                <a:gd name="connsiteX6" fmla="*/ 57442 w 57442"/>
                <a:gd name="connsiteY6" fmla="*/ 47869 h 57339"/>
                <a:gd name="connsiteX7" fmla="*/ 57442 w 57442"/>
                <a:gd name="connsiteY7" fmla="*/ 9470 h 57339"/>
                <a:gd name="connsiteX8" fmla="*/ 47972 w 57442"/>
                <a:gd name="connsiteY8" fmla="*/ 0 h 57339"/>
                <a:gd name="connsiteX9" fmla="*/ 38503 w 57442"/>
                <a:gd name="connsiteY9" fmla="*/ 38400 h 57339"/>
                <a:gd name="connsiteX10" fmla="*/ 18939 w 57442"/>
                <a:gd name="connsiteY10" fmla="*/ 38400 h 57339"/>
                <a:gd name="connsiteX11" fmla="*/ 18939 w 57442"/>
                <a:gd name="connsiteY11" fmla="*/ 18940 h 57339"/>
                <a:gd name="connsiteX12" fmla="*/ 38399 w 57442"/>
                <a:gd name="connsiteY12" fmla="*/ 18940 h 5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442" h="57339">
                  <a:moveTo>
                    <a:pt x="47972" y="0"/>
                  </a:moveTo>
                  <a:lnTo>
                    <a:pt x="9470" y="0"/>
                  </a:lnTo>
                  <a:cubicBezTo>
                    <a:pt x="4239" y="0"/>
                    <a:pt x="0" y="4235"/>
                    <a:pt x="0" y="9470"/>
                  </a:cubicBezTo>
                  <a:lnTo>
                    <a:pt x="0" y="47869"/>
                  </a:lnTo>
                  <a:cubicBezTo>
                    <a:pt x="0" y="53104"/>
                    <a:pt x="4239" y="57339"/>
                    <a:pt x="9470" y="57339"/>
                  </a:cubicBezTo>
                  <a:lnTo>
                    <a:pt x="47972" y="57339"/>
                  </a:lnTo>
                  <a:cubicBezTo>
                    <a:pt x="53203" y="57339"/>
                    <a:pt x="57442" y="53104"/>
                    <a:pt x="57442" y="47869"/>
                  </a:cubicBezTo>
                  <a:lnTo>
                    <a:pt x="57442" y="9470"/>
                  </a:lnTo>
                  <a:cubicBezTo>
                    <a:pt x="57442" y="4235"/>
                    <a:pt x="53203" y="0"/>
                    <a:pt x="47972" y="0"/>
                  </a:cubicBezTo>
                  <a:close/>
                  <a:moveTo>
                    <a:pt x="38503" y="38400"/>
                  </a:moveTo>
                  <a:lnTo>
                    <a:pt x="18939" y="38400"/>
                  </a:lnTo>
                  <a:lnTo>
                    <a:pt x="18939" y="18940"/>
                  </a:lnTo>
                  <a:lnTo>
                    <a:pt x="38399" y="18940"/>
                  </a:ln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3" name="Freeform 122">
              <a:extLst>
                <a:ext uri="{FF2B5EF4-FFF2-40B4-BE49-F238E27FC236}">
                  <a16:creationId xmlns:a16="http://schemas.microsoft.com/office/drawing/2014/main" id="{7DD62518-CE5D-3E45-A95D-795281A4E904}"/>
                </a:ext>
              </a:extLst>
            </p:cNvPr>
            <p:cNvSpPr/>
            <p:nvPr/>
          </p:nvSpPr>
          <p:spPr>
            <a:xfrm>
              <a:off x="4232290" y="3244933"/>
              <a:ext cx="57339" cy="57339"/>
            </a:xfrm>
            <a:custGeom>
              <a:avLst/>
              <a:gdLst>
                <a:gd name="connsiteX0" fmla="*/ 47972 w 57339"/>
                <a:gd name="connsiteY0" fmla="*/ 0 h 57339"/>
                <a:gd name="connsiteX1" fmla="*/ 9470 w 57339"/>
                <a:gd name="connsiteY1" fmla="*/ 0 h 57339"/>
                <a:gd name="connsiteX2" fmla="*/ 0 w 57339"/>
                <a:gd name="connsiteY2" fmla="*/ 9470 h 57339"/>
                <a:gd name="connsiteX3" fmla="*/ 0 w 57339"/>
                <a:gd name="connsiteY3" fmla="*/ 47869 h 57339"/>
                <a:gd name="connsiteX4" fmla="*/ 9470 w 57339"/>
                <a:gd name="connsiteY4" fmla="*/ 57339 h 57339"/>
                <a:gd name="connsiteX5" fmla="*/ 47972 w 57339"/>
                <a:gd name="connsiteY5" fmla="*/ 57339 h 57339"/>
                <a:gd name="connsiteX6" fmla="*/ 57339 w 57339"/>
                <a:gd name="connsiteY6" fmla="*/ 47973 h 57339"/>
                <a:gd name="connsiteX7" fmla="*/ 57338 w 57339"/>
                <a:gd name="connsiteY7" fmla="*/ 47869 h 57339"/>
                <a:gd name="connsiteX8" fmla="*/ 57338 w 57339"/>
                <a:gd name="connsiteY8" fmla="*/ 9470 h 57339"/>
                <a:gd name="connsiteX9" fmla="*/ 48078 w 57339"/>
                <a:gd name="connsiteY9" fmla="*/ 0 h 57339"/>
                <a:gd name="connsiteX10" fmla="*/ 47972 w 57339"/>
                <a:gd name="connsiteY10" fmla="*/ 0 h 57339"/>
                <a:gd name="connsiteX11" fmla="*/ 38399 w 57339"/>
                <a:gd name="connsiteY11" fmla="*/ 38400 h 57339"/>
                <a:gd name="connsiteX12" fmla="*/ 19147 w 57339"/>
                <a:gd name="connsiteY12" fmla="*/ 38400 h 57339"/>
                <a:gd name="connsiteX13" fmla="*/ 19147 w 57339"/>
                <a:gd name="connsiteY13" fmla="*/ 18940 h 57339"/>
                <a:gd name="connsiteX14" fmla="*/ 38607 w 57339"/>
                <a:gd name="connsiteY14" fmla="*/ 18940 h 5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339" h="57339">
                  <a:moveTo>
                    <a:pt x="47972" y="0"/>
                  </a:moveTo>
                  <a:lnTo>
                    <a:pt x="9470" y="0"/>
                  </a:lnTo>
                  <a:cubicBezTo>
                    <a:pt x="4239" y="0"/>
                    <a:pt x="0" y="4235"/>
                    <a:pt x="0" y="9470"/>
                  </a:cubicBezTo>
                  <a:lnTo>
                    <a:pt x="0" y="47869"/>
                  </a:lnTo>
                  <a:cubicBezTo>
                    <a:pt x="0" y="53104"/>
                    <a:pt x="4239" y="57339"/>
                    <a:pt x="9470" y="57339"/>
                  </a:cubicBezTo>
                  <a:lnTo>
                    <a:pt x="47972" y="57339"/>
                  </a:lnTo>
                  <a:cubicBezTo>
                    <a:pt x="53145" y="57339"/>
                    <a:pt x="57338" y="53145"/>
                    <a:pt x="57339" y="47973"/>
                  </a:cubicBezTo>
                  <a:cubicBezTo>
                    <a:pt x="57339" y="47942"/>
                    <a:pt x="57338" y="47901"/>
                    <a:pt x="57338" y="47869"/>
                  </a:cubicBezTo>
                  <a:lnTo>
                    <a:pt x="57338" y="9470"/>
                  </a:lnTo>
                  <a:cubicBezTo>
                    <a:pt x="57395" y="4298"/>
                    <a:pt x="53249" y="62"/>
                    <a:pt x="48078" y="0"/>
                  </a:cubicBezTo>
                  <a:cubicBezTo>
                    <a:pt x="48042" y="0"/>
                    <a:pt x="48007" y="0"/>
                    <a:pt x="47972" y="0"/>
                  </a:cubicBezTo>
                  <a:close/>
                  <a:moveTo>
                    <a:pt x="38399" y="38400"/>
                  </a:moveTo>
                  <a:lnTo>
                    <a:pt x="19147" y="38400"/>
                  </a:lnTo>
                  <a:lnTo>
                    <a:pt x="19147" y="18940"/>
                  </a:lnTo>
                  <a:lnTo>
                    <a:pt x="38607" y="18940"/>
                  </a:ln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4" name="Freeform 123">
              <a:extLst>
                <a:ext uri="{FF2B5EF4-FFF2-40B4-BE49-F238E27FC236}">
                  <a16:creationId xmlns:a16="http://schemas.microsoft.com/office/drawing/2014/main" id="{E927C762-B963-1646-BCA2-166525BBAA1A}"/>
                </a:ext>
              </a:extLst>
            </p:cNvPr>
            <p:cNvSpPr/>
            <p:nvPr/>
          </p:nvSpPr>
          <p:spPr>
            <a:xfrm>
              <a:off x="4078591" y="3168030"/>
              <a:ext cx="57442" cy="57339"/>
            </a:xfrm>
            <a:custGeom>
              <a:avLst/>
              <a:gdLst>
                <a:gd name="connsiteX0" fmla="*/ 47972 w 57442"/>
                <a:gd name="connsiteY0" fmla="*/ 0 h 57339"/>
                <a:gd name="connsiteX1" fmla="*/ 9470 w 57442"/>
                <a:gd name="connsiteY1" fmla="*/ 0 h 57339"/>
                <a:gd name="connsiteX2" fmla="*/ 0 w 57442"/>
                <a:gd name="connsiteY2" fmla="*/ 9470 h 57339"/>
                <a:gd name="connsiteX3" fmla="*/ 0 w 57442"/>
                <a:gd name="connsiteY3" fmla="*/ 47973 h 57339"/>
                <a:gd name="connsiteX4" fmla="*/ 9365 w 57442"/>
                <a:gd name="connsiteY4" fmla="*/ 57339 h 57339"/>
                <a:gd name="connsiteX5" fmla="*/ 9470 w 57442"/>
                <a:gd name="connsiteY5" fmla="*/ 57339 h 57339"/>
                <a:gd name="connsiteX6" fmla="*/ 47972 w 57442"/>
                <a:gd name="connsiteY6" fmla="*/ 57339 h 57339"/>
                <a:gd name="connsiteX7" fmla="*/ 57441 w 57442"/>
                <a:gd name="connsiteY7" fmla="*/ 48077 h 57339"/>
                <a:gd name="connsiteX8" fmla="*/ 57442 w 57442"/>
                <a:gd name="connsiteY8" fmla="*/ 47973 h 57339"/>
                <a:gd name="connsiteX9" fmla="*/ 57442 w 57442"/>
                <a:gd name="connsiteY9" fmla="*/ 9470 h 57339"/>
                <a:gd name="connsiteX10" fmla="*/ 47972 w 57442"/>
                <a:gd name="connsiteY10" fmla="*/ 0 h 57339"/>
                <a:gd name="connsiteX11" fmla="*/ 38503 w 57442"/>
                <a:gd name="connsiteY11" fmla="*/ 38504 h 57339"/>
                <a:gd name="connsiteX12" fmla="*/ 18939 w 57442"/>
                <a:gd name="connsiteY12" fmla="*/ 38504 h 57339"/>
                <a:gd name="connsiteX13" fmla="*/ 18939 w 57442"/>
                <a:gd name="connsiteY13" fmla="*/ 19356 h 57339"/>
                <a:gd name="connsiteX14" fmla="*/ 38399 w 57442"/>
                <a:gd name="connsiteY14" fmla="*/ 19356 h 5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442" h="57339">
                  <a:moveTo>
                    <a:pt x="47972" y="0"/>
                  </a:moveTo>
                  <a:lnTo>
                    <a:pt x="9470" y="0"/>
                  </a:lnTo>
                  <a:cubicBezTo>
                    <a:pt x="4239" y="0"/>
                    <a:pt x="0" y="4235"/>
                    <a:pt x="0" y="9470"/>
                  </a:cubicBezTo>
                  <a:lnTo>
                    <a:pt x="0" y="47973"/>
                  </a:lnTo>
                  <a:cubicBezTo>
                    <a:pt x="0" y="53145"/>
                    <a:pt x="4193" y="57339"/>
                    <a:pt x="9365" y="57339"/>
                  </a:cubicBezTo>
                  <a:cubicBezTo>
                    <a:pt x="9400" y="57339"/>
                    <a:pt x="9434" y="57339"/>
                    <a:pt x="9470" y="57339"/>
                  </a:cubicBezTo>
                  <a:lnTo>
                    <a:pt x="47972" y="57339"/>
                  </a:lnTo>
                  <a:cubicBezTo>
                    <a:pt x="53144" y="57402"/>
                    <a:pt x="57384" y="53250"/>
                    <a:pt x="57441" y="48077"/>
                  </a:cubicBezTo>
                  <a:cubicBezTo>
                    <a:pt x="57442" y="48046"/>
                    <a:pt x="57442" y="48005"/>
                    <a:pt x="57442" y="47973"/>
                  </a:cubicBezTo>
                  <a:lnTo>
                    <a:pt x="57442" y="9470"/>
                  </a:lnTo>
                  <a:cubicBezTo>
                    <a:pt x="57442" y="4235"/>
                    <a:pt x="53203" y="0"/>
                    <a:pt x="47972" y="0"/>
                  </a:cubicBezTo>
                  <a:close/>
                  <a:moveTo>
                    <a:pt x="38503" y="38504"/>
                  </a:moveTo>
                  <a:lnTo>
                    <a:pt x="18939" y="38504"/>
                  </a:lnTo>
                  <a:lnTo>
                    <a:pt x="18939" y="19356"/>
                  </a:lnTo>
                  <a:lnTo>
                    <a:pt x="38399" y="19356"/>
                  </a:ln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5" name="Freeform 124">
              <a:extLst>
                <a:ext uri="{FF2B5EF4-FFF2-40B4-BE49-F238E27FC236}">
                  <a16:creationId xmlns:a16="http://schemas.microsoft.com/office/drawing/2014/main" id="{863F2362-C00B-874C-AB90-D4C42BDB59A5}"/>
                </a:ext>
              </a:extLst>
            </p:cNvPr>
            <p:cNvSpPr/>
            <p:nvPr/>
          </p:nvSpPr>
          <p:spPr>
            <a:xfrm>
              <a:off x="4232290" y="3168030"/>
              <a:ext cx="57338" cy="57339"/>
            </a:xfrm>
            <a:custGeom>
              <a:avLst/>
              <a:gdLst>
                <a:gd name="connsiteX0" fmla="*/ 47972 w 57338"/>
                <a:gd name="connsiteY0" fmla="*/ 0 h 57339"/>
                <a:gd name="connsiteX1" fmla="*/ 9470 w 57338"/>
                <a:gd name="connsiteY1" fmla="*/ 0 h 57339"/>
                <a:gd name="connsiteX2" fmla="*/ 0 w 57338"/>
                <a:gd name="connsiteY2" fmla="*/ 9470 h 57339"/>
                <a:gd name="connsiteX3" fmla="*/ 0 w 57338"/>
                <a:gd name="connsiteY3" fmla="*/ 47973 h 57339"/>
                <a:gd name="connsiteX4" fmla="*/ 9364 w 57338"/>
                <a:gd name="connsiteY4" fmla="*/ 57339 h 57339"/>
                <a:gd name="connsiteX5" fmla="*/ 9470 w 57338"/>
                <a:gd name="connsiteY5" fmla="*/ 57339 h 57339"/>
                <a:gd name="connsiteX6" fmla="*/ 47972 w 57338"/>
                <a:gd name="connsiteY6" fmla="*/ 57339 h 57339"/>
                <a:gd name="connsiteX7" fmla="*/ 57338 w 57338"/>
                <a:gd name="connsiteY7" fmla="*/ 47973 h 57339"/>
                <a:gd name="connsiteX8" fmla="*/ 57338 w 57338"/>
                <a:gd name="connsiteY8" fmla="*/ 9470 h 57339"/>
                <a:gd name="connsiteX9" fmla="*/ 48078 w 57338"/>
                <a:gd name="connsiteY9" fmla="*/ 0 h 57339"/>
                <a:gd name="connsiteX10" fmla="*/ 47972 w 57338"/>
                <a:gd name="connsiteY10" fmla="*/ 0 h 57339"/>
                <a:gd name="connsiteX11" fmla="*/ 38399 w 57338"/>
                <a:gd name="connsiteY11" fmla="*/ 38504 h 57339"/>
                <a:gd name="connsiteX12" fmla="*/ 19147 w 57338"/>
                <a:gd name="connsiteY12" fmla="*/ 38504 h 57339"/>
                <a:gd name="connsiteX13" fmla="*/ 19147 w 57338"/>
                <a:gd name="connsiteY13" fmla="*/ 19356 h 57339"/>
                <a:gd name="connsiteX14" fmla="*/ 38607 w 57338"/>
                <a:gd name="connsiteY14" fmla="*/ 19356 h 5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338" h="57339">
                  <a:moveTo>
                    <a:pt x="47972" y="0"/>
                  </a:moveTo>
                  <a:lnTo>
                    <a:pt x="9470" y="0"/>
                  </a:lnTo>
                  <a:cubicBezTo>
                    <a:pt x="4239" y="0"/>
                    <a:pt x="0" y="4235"/>
                    <a:pt x="0" y="9470"/>
                  </a:cubicBezTo>
                  <a:lnTo>
                    <a:pt x="0" y="47973"/>
                  </a:lnTo>
                  <a:cubicBezTo>
                    <a:pt x="0" y="53145"/>
                    <a:pt x="4193" y="57339"/>
                    <a:pt x="9364" y="57339"/>
                  </a:cubicBezTo>
                  <a:cubicBezTo>
                    <a:pt x="9400" y="57339"/>
                    <a:pt x="9434" y="57339"/>
                    <a:pt x="9470" y="57339"/>
                  </a:cubicBezTo>
                  <a:lnTo>
                    <a:pt x="47972" y="57339"/>
                  </a:lnTo>
                  <a:cubicBezTo>
                    <a:pt x="53145" y="57339"/>
                    <a:pt x="57338" y="53145"/>
                    <a:pt x="57338" y="47973"/>
                  </a:cubicBezTo>
                  <a:lnTo>
                    <a:pt x="57338" y="9470"/>
                  </a:lnTo>
                  <a:cubicBezTo>
                    <a:pt x="57395" y="4298"/>
                    <a:pt x="53249" y="62"/>
                    <a:pt x="48078" y="0"/>
                  </a:cubicBezTo>
                  <a:cubicBezTo>
                    <a:pt x="48042" y="0"/>
                    <a:pt x="48007" y="0"/>
                    <a:pt x="47972" y="0"/>
                  </a:cubicBezTo>
                  <a:close/>
                  <a:moveTo>
                    <a:pt x="38399" y="38504"/>
                  </a:moveTo>
                  <a:lnTo>
                    <a:pt x="19147" y="38504"/>
                  </a:lnTo>
                  <a:lnTo>
                    <a:pt x="19147" y="19356"/>
                  </a:lnTo>
                  <a:lnTo>
                    <a:pt x="38607" y="19356"/>
                  </a:ln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6" name="Freeform 125">
              <a:extLst>
                <a:ext uri="{FF2B5EF4-FFF2-40B4-BE49-F238E27FC236}">
                  <a16:creationId xmlns:a16="http://schemas.microsoft.com/office/drawing/2014/main" id="{7797D54C-09D0-5C4B-9FBE-D4932B6466AC}"/>
                </a:ext>
              </a:extLst>
            </p:cNvPr>
            <p:cNvSpPr/>
            <p:nvPr/>
          </p:nvSpPr>
          <p:spPr>
            <a:xfrm>
              <a:off x="4078591" y="3091231"/>
              <a:ext cx="57442" cy="57339"/>
            </a:xfrm>
            <a:custGeom>
              <a:avLst/>
              <a:gdLst>
                <a:gd name="connsiteX0" fmla="*/ 47972 w 57442"/>
                <a:gd name="connsiteY0" fmla="*/ 0 h 57339"/>
                <a:gd name="connsiteX1" fmla="*/ 9470 w 57442"/>
                <a:gd name="connsiteY1" fmla="*/ 0 h 57339"/>
                <a:gd name="connsiteX2" fmla="*/ 0 w 57442"/>
                <a:gd name="connsiteY2" fmla="*/ 9470 h 57339"/>
                <a:gd name="connsiteX3" fmla="*/ 0 w 57442"/>
                <a:gd name="connsiteY3" fmla="*/ 47869 h 57339"/>
                <a:gd name="connsiteX4" fmla="*/ 9470 w 57442"/>
                <a:gd name="connsiteY4" fmla="*/ 57339 h 57339"/>
                <a:gd name="connsiteX5" fmla="*/ 47972 w 57442"/>
                <a:gd name="connsiteY5" fmla="*/ 57339 h 57339"/>
                <a:gd name="connsiteX6" fmla="*/ 57442 w 57442"/>
                <a:gd name="connsiteY6" fmla="*/ 47869 h 57339"/>
                <a:gd name="connsiteX7" fmla="*/ 57442 w 57442"/>
                <a:gd name="connsiteY7" fmla="*/ 9470 h 57339"/>
                <a:gd name="connsiteX8" fmla="*/ 47972 w 57442"/>
                <a:gd name="connsiteY8" fmla="*/ 0 h 57339"/>
                <a:gd name="connsiteX9" fmla="*/ 38503 w 57442"/>
                <a:gd name="connsiteY9" fmla="*/ 38400 h 57339"/>
                <a:gd name="connsiteX10" fmla="*/ 18939 w 57442"/>
                <a:gd name="connsiteY10" fmla="*/ 38400 h 57339"/>
                <a:gd name="connsiteX11" fmla="*/ 18939 w 57442"/>
                <a:gd name="connsiteY11" fmla="*/ 18940 h 57339"/>
                <a:gd name="connsiteX12" fmla="*/ 38399 w 57442"/>
                <a:gd name="connsiteY12" fmla="*/ 18940 h 5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442" h="57339">
                  <a:moveTo>
                    <a:pt x="47972" y="0"/>
                  </a:moveTo>
                  <a:lnTo>
                    <a:pt x="9470" y="0"/>
                  </a:lnTo>
                  <a:cubicBezTo>
                    <a:pt x="4239" y="0"/>
                    <a:pt x="0" y="4236"/>
                    <a:pt x="0" y="9470"/>
                  </a:cubicBezTo>
                  <a:lnTo>
                    <a:pt x="0" y="47869"/>
                  </a:lnTo>
                  <a:cubicBezTo>
                    <a:pt x="0" y="53104"/>
                    <a:pt x="4239" y="57339"/>
                    <a:pt x="9470" y="57339"/>
                  </a:cubicBezTo>
                  <a:lnTo>
                    <a:pt x="47972" y="57339"/>
                  </a:lnTo>
                  <a:cubicBezTo>
                    <a:pt x="53203" y="57339"/>
                    <a:pt x="57442" y="53104"/>
                    <a:pt x="57442" y="47869"/>
                  </a:cubicBezTo>
                  <a:lnTo>
                    <a:pt x="57442" y="9470"/>
                  </a:lnTo>
                  <a:cubicBezTo>
                    <a:pt x="57442" y="4236"/>
                    <a:pt x="53203" y="0"/>
                    <a:pt x="47972" y="0"/>
                  </a:cubicBezTo>
                  <a:close/>
                  <a:moveTo>
                    <a:pt x="38503" y="38400"/>
                  </a:moveTo>
                  <a:lnTo>
                    <a:pt x="18939" y="38400"/>
                  </a:lnTo>
                  <a:lnTo>
                    <a:pt x="18939" y="18940"/>
                  </a:lnTo>
                  <a:lnTo>
                    <a:pt x="38399" y="18940"/>
                  </a:ln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7" name="Freeform 126">
              <a:extLst>
                <a:ext uri="{FF2B5EF4-FFF2-40B4-BE49-F238E27FC236}">
                  <a16:creationId xmlns:a16="http://schemas.microsoft.com/office/drawing/2014/main" id="{9CA22893-5B3F-EA4F-ADB7-FD284DE20069}"/>
                </a:ext>
              </a:extLst>
            </p:cNvPr>
            <p:cNvSpPr/>
            <p:nvPr/>
          </p:nvSpPr>
          <p:spPr>
            <a:xfrm>
              <a:off x="4232290" y="3091231"/>
              <a:ext cx="57339" cy="57339"/>
            </a:xfrm>
            <a:custGeom>
              <a:avLst/>
              <a:gdLst>
                <a:gd name="connsiteX0" fmla="*/ 47972 w 57339"/>
                <a:gd name="connsiteY0" fmla="*/ 0 h 57339"/>
                <a:gd name="connsiteX1" fmla="*/ 9470 w 57339"/>
                <a:gd name="connsiteY1" fmla="*/ 0 h 57339"/>
                <a:gd name="connsiteX2" fmla="*/ 0 w 57339"/>
                <a:gd name="connsiteY2" fmla="*/ 9470 h 57339"/>
                <a:gd name="connsiteX3" fmla="*/ 0 w 57339"/>
                <a:gd name="connsiteY3" fmla="*/ 47869 h 57339"/>
                <a:gd name="connsiteX4" fmla="*/ 9470 w 57339"/>
                <a:gd name="connsiteY4" fmla="*/ 57339 h 57339"/>
                <a:gd name="connsiteX5" fmla="*/ 47972 w 57339"/>
                <a:gd name="connsiteY5" fmla="*/ 57339 h 57339"/>
                <a:gd name="connsiteX6" fmla="*/ 57339 w 57339"/>
                <a:gd name="connsiteY6" fmla="*/ 47973 h 57339"/>
                <a:gd name="connsiteX7" fmla="*/ 57338 w 57339"/>
                <a:gd name="connsiteY7" fmla="*/ 47869 h 57339"/>
                <a:gd name="connsiteX8" fmla="*/ 57338 w 57339"/>
                <a:gd name="connsiteY8" fmla="*/ 9470 h 57339"/>
                <a:gd name="connsiteX9" fmla="*/ 48078 w 57339"/>
                <a:gd name="connsiteY9" fmla="*/ 0 h 57339"/>
                <a:gd name="connsiteX10" fmla="*/ 47972 w 57339"/>
                <a:gd name="connsiteY10" fmla="*/ 0 h 57339"/>
                <a:gd name="connsiteX11" fmla="*/ 38399 w 57339"/>
                <a:gd name="connsiteY11" fmla="*/ 38400 h 57339"/>
                <a:gd name="connsiteX12" fmla="*/ 19147 w 57339"/>
                <a:gd name="connsiteY12" fmla="*/ 38400 h 57339"/>
                <a:gd name="connsiteX13" fmla="*/ 19147 w 57339"/>
                <a:gd name="connsiteY13" fmla="*/ 18940 h 57339"/>
                <a:gd name="connsiteX14" fmla="*/ 38607 w 57339"/>
                <a:gd name="connsiteY14" fmla="*/ 18940 h 5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339" h="57339">
                  <a:moveTo>
                    <a:pt x="47972" y="0"/>
                  </a:moveTo>
                  <a:lnTo>
                    <a:pt x="9470" y="0"/>
                  </a:lnTo>
                  <a:cubicBezTo>
                    <a:pt x="4239" y="0"/>
                    <a:pt x="0" y="4236"/>
                    <a:pt x="0" y="9470"/>
                  </a:cubicBezTo>
                  <a:lnTo>
                    <a:pt x="0" y="47869"/>
                  </a:lnTo>
                  <a:cubicBezTo>
                    <a:pt x="0" y="53104"/>
                    <a:pt x="4239" y="57339"/>
                    <a:pt x="9470" y="57339"/>
                  </a:cubicBezTo>
                  <a:lnTo>
                    <a:pt x="47972" y="57339"/>
                  </a:lnTo>
                  <a:cubicBezTo>
                    <a:pt x="53145" y="57339"/>
                    <a:pt x="57338" y="53146"/>
                    <a:pt x="57339" y="47973"/>
                  </a:cubicBezTo>
                  <a:cubicBezTo>
                    <a:pt x="57339" y="47942"/>
                    <a:pt x="57338" y="47901"/>
                    <a:pt x="57338" y="47869"/>
                  </a:cubicBezTo>
                  <a:lnTo>
                    <a:pt x="57338" y="9470"/>
                  </a:lnTo>
                  <a:cubicBezTo>
                    <a:pt x="57395" y="4298"/>
                    <a:pt x="53249" y="63"/>
                    <a:pt x="48078" y="0"/>
                  </a:cubicBezTo>
                  <a:cubicBezTo>
                    <a:pt x="48042" y="0"/>
                    <a:pt x="48007" y="0"/>
                    <a:pt x="47972" y="0"/>
                  </a:cubicBezTo>
                  <a:close/>
                  <a:moveTo>
                    <a:pt x="38399" y="38400"/>
                  </a:moveTo>
                  <a:lnTo>
                    <a:pt x="19147" y="38400"/>
                  </a:lnTo>
                  <a:lnTo>
                    <a:pt x="19147" y="18940"/>
                  </a:lnTo>
                  <a:lnTo>
                    <a:pt x="38607" y="18940"/>
                  </a:ln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8" name="Freeform 127">
              <a:extLst>
                <a:ext uri="{FF2B5EF4-FFF2-40B4-BE49-F238E27FC236}">
                  <a16:creationId xmlns:a16="http://schemas.microsoft.com/office/drawing/2014/main" id="{48B7FDA3-6C74-CA4D-84A3-0D10F24EF030}"/>
                </a:ext>
              </a:extLst>
            </p:cNvPr>
            <p:cNvSpPr/>
            <p:nvPr/>
          </p:nvSpPr>
          <p:spPr>
            <a:xfrm>
              <a:off x="4078591" y="3014327"/>
              <a:ext cx="57444" cy="57651"/>
            </a:xfrm>
            <a:custGeom>
              <a:avLst/>
              <a:gdLst>
                <a:gd name="connsiteX0" fmla="*/ 47972 w 57444"/>
                <a:gd name="connsiteY0" fmla="*/ 0 h 57651"/>
                <a:gd name="connsiteX1" fmla="*/ 9470 w 57444"/>
                <a:gd name="connsiteY1" fmla="*/ 0 h 57651"/>
                <a:gd name="connsiteX2" fmla="*/ 0 w 57444"/>
                <a:gd name="connsiteY2" fmla="*/ 9470 h 57651"/>
                <a:gd name="connsiteX3" fmla="*/ 0 w 57444"/>
                <a:gd name="connsiteY3" fmla="*/ 48182 h 57651"/>
                <a:gd name="connsiteX4" fmla="*/ 9470 w 57444"/>
                <a:gd name="connsiteY4" fmla="*/ 57651 h 57651"/>
                <a:gd name="connsiteX5" fmla="*/ 47972 w 57444"/>
                <a:gd name="connsiteY5" fmla="*/ 57651 h 57651"/>
                <a:gd name="connsiteX6" fmla="*/ 57442 w 57444"/>
                <a:gd name="connsiteY6" fmla="*/ 48182 h 57651"/>
                <a:gd name="connsiteX7" fmla="*/ 57442 w 57444"/>
                <a:gd name="connsiteY7" fmla="*/ 9678 h 57651"/>
                <a:gd name="connsiteX8" fmla="*/ 48183 w 57444"/>
                <a:gd name="connsiteY8" fmla="*/ 0 h 57651"/>
                <a:gd name="connsiteX9" fmla="*/ 47972 w 57444"/>
                <a:gd name="connsiteY9" fmla="*/ 0 h 57651"/>
                <a:gd name="connsiteX10" fmla="*/ 38503 w 57444"/>
                <a:gd name="connsiteY10" fmla="*/ 38504 h 57651"/>
                <a:gd name="connsiteX11" fmla="*/ 18939 w 57444"/>
                <a:gd name="connsiteY11" fmla="*/ 38504 h 57651"/>
                <a:gd name="connsiteX12" fmla="*/ 18939 w 57444"/>
                <a:gd name="connsiteY12" fmla="*/ 18940 h 57651"/>
                <a:gd name="connsiteX13" fmla="*/ 38399 w 57444"/>
                <a:gd name="connsiteY13" fmla="*/ 18940 h 57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444" h="57651">
                  <a:moveTo>
                    <a:pt x="47972" y="0"/>
                  </a:moveTo>
                  <a:lnTo>
                    <a:pt x="9470" y="0"/>
                  </a:lnTo>
                  <a:cubicBezTo>
                    <a:pt x="4239" y="0"/>
                    <a:pt x="0" y="4235"/>
                    <a:pt x="0" y="9470"/>
                  </a:cubicBezTo>
                  <a:lnTo>
                    <a:pt x="0" y="48182"/>
                  </a:lnTo>
                  <a:cubicBezTo>
                    <a:pt x="0" y="53416"/>
                    <a:pt x="4239" y="57651"/>
                    <a:pt x="9470" y="57651"/>
                  </a:cubicBezTo>
                  <a:lnTo>
                    <a:pt x="47972" y="57651"/>
                  </a:lnTo>
                  <a:cubicBezTo>
                    <a:pt x="53203" y="57651"/>
                    <a:pt x="57442" y="53416"/>
                    <a:pt x="57442" y="48182"/>
                  </a:cubicBezTo>
                  <a:lnTo>
                    <a:pt x="57442" y="9678"/>
                  </a:lnTo>
                  <a:cubicBezTo>
                    <a:pt x="57557" y="4454"/>
                    <a:pt x="53412" y="114"/>
                    <a:pt x="48183" y="0"/>
                  </a:cubicBezTo>
                  <a:cubicBezTo>
                    <a:pt x="48113" y="0"/>
                    <a:pt x="48042" y="0"/>
                    <a:pt x="47972" y="0"/>
                  </a:cubicBezTo>
                  <a:close/>
                  <a:moveTo>
                    <a:pt x="38503" y="38504"/>
                  </a:moveTo>
                  <a:lnTo>
                    <a:pt x="18939" y="38504"/>
                  </a:lnTo>
                  <a:lnTo>
                    <a:pt x="18939" y="18940"/>
                  </a:lnTo>
                  <a:lnTo>
                    <a:pt x="38399" y="18940"/>
                  </a:ln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" name="Freeform 128">
              <a:extLst>
                <a:ext uri="{FF2B5EF4-FFF2-40B4-BE49-F238E27FC236}">
                  <a16:creationId xmlns:a16="http://schemas.microsoft.com/office/drawing/2014/main" id="{D04AD988-DEA5-0B4E-978E-CF849BF658AB}"/>
                </a:ext>
              </a:extLst>
            </p:cNvPr>
            <p:cNvSpPr/>
            <p:nvPr/>
          </p:nvSpPr>
          <p:spPr>
            <a:xfrm>
              <a:off x="4155492" y="3244933"/>
              <a:ext cx="57337" cy="57339"/>
            </a:xfrm>
            <a:custGeom>
              <a:avLst/>
              <a:gdLst>
                <a:gd name="connsiteX0" fmla="*/ 47868 w 57337"/>
                <a:gd name="connsiteY0" fmla="*/ 0 h 57339"/>
                <a:gd name="connsiteX1" fmla="*/ 9470 w 57337"/>
                <a:gd name="connsiteY1" fmla="*/ 0 h 57339"/>
                <a:gd name="connsiteX2" fmla="*/ 0 w 57337"/>
                <a:gd name="connsiteY2" fmla="*/ 9470 h 57339"/>
                <a:gd name="connsiteX3" fmla="*/ 0 w 57337"/>
                <a:gd name="connsiteY3" fmla="*/ 47869 h 57339"/>
                <a:gd name="connsiteX4" fmla="*/ 9470 w 57337"/>
                <a:gd name="connsiteY4" fmla="*/ 57339 h 57339"/>
                <a:gd name="connsiteX5" fmla="*/ 47868 w 57337"/>
                <a:gd name="connsiteY5" fmla="*/ 57339 h 57339"/>
                <a:gd name="connsiteX6" fmla="*/ 57338 w 57337"/>
                <a:gd name="connsiteY6" fmla="*/ 47869 h 57339"/>
                <a:gd name="connsiteX7" fmla="*/ 57338 w 57337"/>
                <a:gd name="connsiteY7" fmla="*/ 9470 h 57339"/>
                <a:gd name="connsiteX8" fmla="*/ 47868 w 57337"/>
                <a:gd name="connsiteY8" fmla="*/ 0 h 57339"/>
                <a:gd name="connsiteX9" fmla="*/ 38399 w 57337"/>
                <a:gd name="connsiteY9" fmla="*/ 38400 h 57339"/>
                <a:gd name="connsiteX10" fmla="*/ 18939 w 57337"/>
                <a:gd name="connsiteY10" fmla="*/ 38400 h 57339"/>
                <a:gd name="connsiteX11" fmla="*/ 18939 w 57337"/>
                <a:gd name="connsiteY11" fmla="*/ 18940 h 57339"/>
                <a:gd name="connsiteX12" fmla="*/ 38399 w 57337"/>
                <a:gd name="connsiteY12" fmla="*/ 18940 h 5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337" h="57339">
                  <a:moveTo>
                    <a:pt x="47868" y="0"/>
                  </a:moveTo>
                  <a:lnTo>
                    <a:pt x="9470" y="0"/>
                  </a:lnTo>
                  <a:cubicBezTo>
                    <a:pt x="4239" y="0"/>
                    <a:pt x="0" y="4235"/>
                    <a:pt x="0" y="9470"/>
                  </a:cubicBezTo>
                  <a:lnTo>
                    <a:pt x="0" y="47869"/>
                  </a:lnTo>
                  <a:cubicBezTo>
                    <a:pt x="0" y="53104"/>
                    <a:pt x="4239" y="57339"/>
                    <a:pt x="9470" y="57339"/>
                  </a:cubicBezTo>
                  <a:lnTo>
                    <a:pt x="47868" y="57339"/>
                  </a:lnTo>
                  <a:cubicBezTo>
                    <a:pt x="53099" y="57339"/>
                    <a:pt x="57338" y="53104"/>
                    <a:pt x="57338" y="47869"/>
                  </a:cubicBezTo>
                  <a:lnTo>
                    <a:pt x="57338" y="9470"/>
                  </a:lnTo>
                  <a:cubicBezTo>
                    <a:pt x="57338" y="4235"/>
                    <a:pt x="53099" y="0"/>
                    <a:pt x="47868" y="0"/>
                  </a:cubicBezTo>
                  <a:close/>
                  <a:moveTo>
                    <a:pt x="38399" y="38400"/>
                  </a:moveTo>
                  <a:lnTo>
                    <a:pt x="18939" y="38400"/>
                  </a:lnTo>
                  <a:lnTo>
                    <a:pt x="18939" y="18940"/>
                  </a:lnTo>
                  <a:lnTo>
                    <a:pt x="38399" y="18940"/>
                  </a:ln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" name="Freeform 129">
              <a:extLst>
                <a:ext uri="{FF2B5EF4-FFF2-40B4-BE49-F238E27FC236}">
                  <a16:creationId xmlns:a16="http://schemas.microsoft.com/office/drawing/2014/main" id="{EC9129CE-ADEE-3548-85BF-0421495A035B}"/>
                </a:ext>
              </a:extLst>
            </p:cNvPr>
            <p:cNvSpPr/>
            <p:nvPr/>
          </p:nvSpPr>
          <p:spPr>
            <a:xfrm>
              <a:off x="4155492" y="3168030"/>
              <a:ext cx="57337" cy="57339"/>
            </a:xfrm>
            <a:custGeom>
              <a:avLst/>
              <a:gdLst>
                <a:gd name="connsiteX0" fmla="*/ 47868 w 57337"/>
                <a:gd name="connsiteY0" fmla="*/ 0 h 57339"/>
                <a:gd name="connsiteX1" fmla="*/ 9470 w 57337"/>
                <a:gd name="connsiteY1" fmla="*/ 0 h 57339"/>
                <a:gd name="connsiteX2" fmla="*/ 0 w 57337"/>
                <a:gd name="connsiteY2" fmla="*/ 9470 h 57339"/>
                <a:gd name="connsiteX3" fmla="*/ 0 w 57337"/>
                <a:gd name="connsiteY3" fmla="*/ 47973 h 57339"/>
                <a:gd name="connsiteX4" fmla="*/ 9365 w 57337"/>
                <a:gd name="connsiteY4" fmla="*/ 57339 h 57339"/>
                <a:gd name="connsiteX5" fmla="*/ 9470 w 57337"/>
                <a:gd name="connsiteY5" fmla="*/ 57339 h 57339"/>
                <a:gd name="connsiteX6" fmla="*/ 47868 w 57337"/>
                <a:gd name="connsiteY6" fmla="*/ 57339 h 57339"/>
                <a:gd name="connsiteX7" fmla="*/ 57337 w 57337"/>
                <a:gd name="connsiteY7" fmla="*/ 48077 h 57339"/>
                <a:gd name="connsiteX8" fmla="*/ 57338 w 57337"/>
                <a:gd name="connsiteY8" fmla="*/ 47973 h 57339"/>
                <a:gd name="connsiteX9" fmla="*/ 57338 w 57337"/>
                <a:gd name="connsiteY9" fmla="*/ 9470 h 57339"/>
                <a:gd name="connsiteX10" fmla="*/ 47868 w 57337"/>
                <a:gd name="connsiteY10" fmla="*/ 0 h 57339"/>
                <a:gd name="connsiteX11" fmla="*/ 38399 w 57337"/>
                <a:gd name="connsiteY11" fmla="*/ 38504 h 57339"/>
                <a:gd name="connsiteX12" fmla="*/ 18939 w 57337"/>
                <a:gd name="connsiteY12" fmla="*/ 38504 h 57339"/>
                <a:gd name="connsiteX13" fmla="*/ 18939 w 57337"/>
                <a:gd name="connsiteY13" fmla="*/ 19356 h 57339"/>
                <a:gd name="connsiteX14" fmla="*/ 38399 w 57337"/>
                <a:gd name="connsiteY14" fmla="*/ 19356 h 5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337" h="57339">
                  <a:moveTo>
                    <a:pt x="47868" y="0"/>
                  </a:moveTo>
                  <a:lnTo>
                    <a:pt x="9470" y="0"/>
                  </a:lnTo>
                  <a:cubicBezTo>
                    <a:pt x="4239" y="0"/>
                    <a:pt x="0" y="4235"/>
                    <a:pt x="0" y="9470"/>
                  </a:cubicBezTo>
                  <a:lnTo>
                    <a:pt x="0" y="47973"/>
                  </a:lnTo>
                  <a:cubicBezTo>
                    <a:pt x="0" y="53145"/>
                    <a:pt x="4193" y="57339"/>
                    <a:pt x="9365" y="57339"/>
                  </a:cubicBezTo>
                  <a:cubicBezTo>
                    <a:pt x="9400" y="57339"/>
                    <a:pt x="9434" y="57339"/>
                    <a:pt x="9470" y="57339"/>
                  </a:cubicBezTo>
                  <a:lnTo>
                    <a:pt x="47868" y="57339"/>
                  </a:lnTo>
                  <a:cubicBezTo>
                    <a:pt x="53040" y="57402"/>
                    <a:pt x="57280" y="53250"/>
                    <a:pt x="57337" y="48077"/>
                  </a:cubicBezTo>
                  <a:cubicBezTo>
                    <a:pt x="57338" y="48046"/>
                    <a:pt x="57338" y="48005"/>
                    <a:pt x="57338" y="47973"/>
                  </a:cubicBezTo>
                  <a:lnTo>
                    <a:pt x="57338" y="9470"/>
                  </a:lnTo>
                  <a:cubicBezTo>
                    <a:pt x="57338" y="4235"/>
                    <a:pt x="53099" y="0"/>
                    <a:pt x="47868" y="0"/>
                  </a:cubicBezTo>
                  <a:close/>
                  <a:moveTo>
                    <a:pt x="38399" y="38504"/>
                  </a:moveTo>
                  <a:lnTo>
                    <a:pt x="18939" y="38504"/>
                  </a:lnTo>
                  <a:lnTo>
                    <a:pt x="18939" y="19356"/>
                  </a:lnTo>
                  <a:lnTo>
                    <a:pt x="38399" y="19356"/>
                  </a:ln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1" name="Freeform 130">
              <a:extLst>
                <a:ext uri="{FF2B5EF4-FFF2-40B4-BE49-F238E27FC236}">
                  <a16:creationId xmlns:a16="http://schemas.microsoft.com/office/drawing/2014/main" id="{C9632C9A-D3E1-5E4A-8ECA-BFDF023590B5}"/>
                </a:ext>
              </a:extLst>
            </p:cNvPr>
            <p:cNvSpPr/>
            <p:nvPr/>
          </p:nvSpPr>
          <p:spPr>
            <a:xfrm>
              <a:off x="4155492" y="3091231"/>
              <a:ext cx="57337" cy="57339"/>
            </a:xfrm>
            <a:custGeom>
              <a:avLst/>
              <a:gdLst>
                <a:gd name="connsiteX0" fmla="*/ 47868 w 57337"/>
                <a:gd name="connsiteY0" fmla="*/ 0 h 57339"/>
                <a:gd name="connsiteX1" fmla="*/ 9470 w 57337"/>
                <a:gd name="connsiteY1" fmla="*/ 0 h 57339"/>
                <a:gd name="connsiteX2" fmla="*/ 0 w 57337"/>
                <a:gd name="connsiteY2" fmla="*/ 9470 h 57339"/>
                <a:gd name="connsiteX3" fmla="*/ 0 w 57337"/>
                <a:gd name="connsiteY3" fmla="*/ 47869 h 57339"/>
                <a:gd name="connsiteX4" fmla="*/ 9470 w 57337"/>
                <a:gd name="connsiteY4" fmla="*/ 57339 h 57339"/>
                <a:gd name="connsiteX5" fmla="*/ 47868 w 57337"/>
                <a:gd name="connsiteY5" fmla="*/ 57339 h 57339"/>
                <a:gd name="connsiteX6" fmla="*/ 57338 w 57337"/>
                <a:gd name="connsiteY6" fmla="*/ 47869 h 57339"/>
                <a:gd name="connsiteX7" fmla="*/ 57338 w 57337"/>
                <a:gd name="connsiteY7" fmla="*/ 9470 h 57339"/>
                <a:gd name="connsiteX8" fmla="*/ 47868 w 57337"/>
                <a:gd name="connsiteY8" fmla="*/ 0 h 57339"/>
                <a:gd name="connsiteX9" fmla="*/ 38399 w 57337"/>
                <a:gd name="connsiteY9" fmla="*/ 38400 h 57339"/>
                <a:gd name="connsiteX10" fmla="*/ 18939 w 57337"/>
                <a:gd name="connsiteY10" fmla="*/ 38400 h 57339"/>
                <a:gd name="connsiteX11" fmla="*/ 18939 w 57337"/>
                <a:gd name="connsiteY11" fmla="*/ 18940 h 57339"/>
                <a:gd name="connsiteX12" fmla="*/ 38399 w 57337"/>
                <a:gd name="connsiteY12" fmla="*/ 18940 h 5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337" h="57339">
                  <a:moveTo>
                    <a:pt x="47868" y="0"/>
                  </a:moveTo>
                  <a:lnTo>
                    <a:pt x="9470" y="0"/>
                  </a:lnTo>
                  <a:cubicBezTo>
                    <a:pt x="4239" y="0"/>
                    <a:pt x="0" y="4236"/>
                    <a:pt x="0" y="9470"/>
                  </a:cubicBezTo>
                  <a:lnTo>
                    <a:pt x="0" y="47869"/>
                  </a:lnTo>
                  <a:cubicBezTo>
                    <a:pt x="0" y="53104"/>
                    <a:pt x="4239" y="57339"/>
                    <a:pt x="9470" y="57339"/>
                  </a:cubicBezTo>
                  <a:lnTo>
                    <a:pt x="47868" y="57339"/>
                  </a:lnTo>
                  <a:cubicBezTo>
                    <a:pt x="53099" y="57339"/>
                    <a:pt x="57338" y="53104"/>
                    <a:pt x="57338" y="47869"/>
                  </a:cubicBezTo>
                  <a:lnTo>
                    <a:pt x="57338" y="9470"/>
                  </a:lnTo>
                  <a:cubicBezTo>
                    <a:pt x="57338" y="4236"/>
                    <a:pt x="53099" y="0"/>
                    <a:pt x="47868" y="0"/>
                  </a:cubicBezTo>
                  <a:close/>
                  <a:moveTo>
                    <a:pt x="38399" y="38400"/>
                  </a:moveTo>
                  <a:lnTo>
                    <a:pt x="18939" y="38400"/>
                  </a:lnTo>
                  <a:lnTo>
                    <a:pt x="18939" y="18940"/>
                  </a:lnTo>
                  <a:lnTo>
                    <a:pt x="38399" y="18940"/>
                  </a:ln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" name="Freeform 131">
              <a:extLst>
                <a:ext uri="{FF2B5EF4-FFF2-40B4-BE49-F238E27FC236}">
                  <a16:creationId xmlns:a16="http://schemas.microsoft.com/office/drawing/2014/main" id="{5933F5F1-00A3-1B46-9E5C-7F1340D426CF}"/>
                </a:ext>
              </a:extLst>
            </p:cNvPr>
            <p:cNvSpPr/>
            <p:nvPr/>
          </p:nvSpPr>
          <p:spPr>
            <a:xfrm>
              <a:off x="4155492" y="3014327"/>
              <a:ext cx="57340" cy="57651"/>
            </a:xfrm>
            <a:custGeom>
              <a:avLst/>
              <a:gdLst>
                <a:gd name="connsiteX0" fmla="*/ 47868 w 57340"/>
                <a:gd name="connsiteY0" fmla="*/ 0 h 57651"/>
                <a:gd name="connsiteX1" fmla="*/ 9470 w 57340"/>
                <a:gd name="connsiteY1" fmla="*/ 0 h 57651"/>
                <a:gd name="connsiteX2" fmla="*/ 0 w 57340"/>
                <a:gd name="connsiteY2" fmla="*/ 9470 h 57651"/>
                <a:gd name="connsiteX3" fmla="*/ 0 w 57340"/>
                <a:gd name="connsiteY3" fmla="*/ 48182 h 57651"/>
                <a:gd name="connsiteX4" fmla="*/ 9470 w 57340"/>
                <a:gd name="connsiteY4" fmla="*/ 57651 h 57651"/>
                <a:gd name="connsiteX5" fmla="*/ 47868 w 57340"/>
                <a:gd name="connsiteY5" fmla="*/ 57651 h 57651"/>
                <a:gd name="connsiteX6" fmla="*/ 57338 w 57340"/>
                <a:gd name="connsiteY6" fmla="*/ 48182 h 57651"/>
                <a:gd name="connsiteX7" fmla="*/ 57338 w 57340"/>
                <a:gd name="connsiteY7" fmla="*/ 9678 h 57651"/>
                <a:gd name="connsiteX8" fmla="*/ 48079 w 57340"/>
                <a:gd name="connsiteY8" fmla="*/ 0 h 57651"/>
                <a:gd name="connsiteX9" fmla="*/ 47868 w 57340"/>
                <a:gd name="connsiteY9" fmla="*/ 0 h 57651"/>
                <a:gd name="connsiteX10" fmla="*/ 38399 w 57340"/>
                <a:gd name="connsiteY10" fmla="*/ 38504 h 57651"/>
                <a:gd name="connsiteX11" fmla="*/ 18939 w 57340"/>
                <a:gd name="connsiteY11" fmla="*/ 38504 h 57651"/>
                <a:gd name="connsiteX12" fmla="*/ 18939 w 57340"/>
                <a:gd name="connsiteY12" fmla="*/ 18940 h 57651"/>
                <a:gd name="connsiteX13" fmla="*/ 38399 w 57340"/>
                <a:gd name="connsiteY13" fmla="*/ 18940 h 57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340" h="57651">
                  <a:moveTo>
                    <a:pt x="47868" y="0"/>
                  </a:moveTo>
                  <a:lnTo>
                    <a:pt x="9470" y="0"/>
                  </a:lnTo>
                  <a:cubicBezTo>
                    <a:pt x="4239" y="0"/>
                    <a:pt x="0" y="4235"/>
                    <a:pt x="0" y="9470"/>
                  </a:cubicBezTo>
                  <a:lnTo>
                    <a:pt x="0" y="48182"/>
                  </a:lnTo>
                  <a:cubicBezTo>
                    <a:pt x="0" y="53416"/>
                    <a:pt x="4239" y="57651"/>
                    <a:pt x="9470" y="57651"/>
                  </a:cubicBezTo>
                  <a:lnTo>
                    <a:pt x="47868" y="57651"/>
                  </a:lnTo>
                  <a:cubicBezTo>
                    <a:pt x="53099" y="57651"/>
                    <a:pt x="57338" y="53416"/>
                    <a:pt x="57338" y="48182"/>
                  </a:cubicBezTo>
                  <a:lnTo>
                    <a:pt x="57338" y="9678"/>
                  </a:lnTo>
                  <a:cubicBezTo>
                    <a:pt x="57452" y="4454"/>
                    <a:pt x="53308" y="114"/>
                    <a:pt x="48079" y="0"/>
                  </a:cubicBezTo>
                  <a:cubicBezTo>
                    <a:pt x="48009" y="0"/>
                    <a:pt x="47938" y="0"/>
                    <a:pt x="47868" y="0"/>
                  </a:cubicBezTo>
                  <a:close/>
                  <a:moveTo>
                    <a:pt x="38399" y="38504"/>
                  </a:moveTo>
                  <a:lnTo>
                    <a:pt x="18939" y="38504"/>
                  </a:lnTo>
                  <a:lnTo>
                    <a:pt x="18939" y="18940"/>
                  </a:lnTo>
                  <a:lnTo>
                    <a:pt x="38399" y="18940"/>
                  </a:ln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" name="Freeform 132">
              <a:extLst>
                <a:ext uri="{FF2B5EF4-FFF2-40B4-BE49-F238E27FC236}">
                  <a16:creationId xmlns:a16="http://schemas.microsoft.com/office/drawing/2014/main" id="{BFA62523-CF71-5A40-9D84-967CF8112CB0}"/>
                </a:ext>
              </a:extLst>
            </p:cNvPr>
            <p:cNvSpPr/>
            <p:nvPr/>
          </p:nvSpPr>
          <p:spPr>
            <a:xfrm>
              <a:off x="4232290" y="3014327"/>
              <a:ext cx="57343" cy="57651"/>
            </a:xfrm>
            <a:custGeom>
              <a:avLst/>
              <a:gdLst>
                <a:gd name="connsiteX0" fmla="*/ 47972 w 57343"/>
                <a:gd name="connsiteY0" fmla="*/ 0 h 57651"/>
                <a:gd name="connsiteX1" fmla="*/ 9470 w 57343"/>
                <a:gd name="connsiteY1" fmla="*/ 0 h 57651"/>
                <a:gd name="connsiteX2" fmla="*/ 0 w 57343"/>
                <a:gd name="connsiteY2" fmla="*/ 9470 h 57651"/>
                <a:gd name="connsiteX3" fmla="*/ 0 w 57343"/>
                <a:gd name="connsiteY3" fmla="*/ 48182 h 57651"/>
                <a:gd name="connsiteX4" fmla="*/ 9470 w 57343"/>
                <a:gd name="connsiteY4" fmla="*/ 57651 h 57651"/>
                <a:gd name="connsiteX5" fmla="*/ 47972 w 57343"/>
                <a:gd name="connsiteY5" fmla="*/ 57651 h 57651"/>
                <a:gd name="connsiteX6" fmla="*/ 57339 w 57343"/>
                <a:gd name="connsiteY6" fmla="*/ 48286 h 57651"/>
                <a:gd name="connsiteX7" fmla="*/ 57338 w 57343"/>
                <a:gd name="connsiteY7" fmla="*/ 48182 h 57651"/>
                <a:gd name="connsiteX8" fmla="*/ 57338 w 57343"/>
                <a:gd name="connsiteY8" fmla="*/ 9678 h 57651"/>
                <a:gd name="connsiteX9" fmla="*/ 48290 w 57343"/>
                <a:gd name="connsiteY9" fmla="*/ 0 h 57651"/>
                <a:gd name="connsiteX10" fmla="*/ 47972 w 57343"/>
                <a:gd name="connsiteY10" fmla="*/ 0 h 57651"/>
                <a:gd name="connsiteX11" fmla="*/ 38399 w 57343"/>
                <a:gd name="connsiteY11" fmla="*/ 38504 h 57651"/>
                <a:gd name="connsiteX12" fmla="*/ 19147 w 57343"/>
                <a:gd name="connsiteY12" fmla="*/ 38504 h 57651"/>
                <a:gd name="connsiteX13" fmla="*/ 19147 w 57343"/>
                <a:gd name="connsiteY13" fmla="*/ 18940 h 57651"/>
                <a:gd name="connsiteX14" fmla="*/ 38607 w 57343"/>
                <a:gd name="connsiteY14" fmla="*/ 18940 h 57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343" h="57651">
                  <a:moveTo>
                    <a:pt x="47972" y="0"/>
                  </a:moveTo>
                  <a:lnTo>
                    <a:pt x="9470" y="0"/>
                  </a:lnTo>
                  <a:cubicBezTo>
                    <a:pt x="4239" y="0"/>
                    <a:pt x="0" y="4235"/>
                    <a:pt x="0" y="9470"/>
                  </a:cubicBezTo>
                  <a:lnTo>
                    <a:pt x="0" y="48182"/>
                  </a:lnTo>
                  <a:cubicBezTo>
                    <a:pt x="0" y="53416"/>
                    <a:pt x="4239" y="57651"/>
                    <a:pt x="9470" y="57651"/>
                  </a:cubicBezTo>
                  <a:lnTo>
                    <a:pt x="47972" y="57651"/>
                  </a:lnTo>
                  <a:cubicBezTo>
                    <a:pt x="53145" y="57651"/>
                    <a:pt x="57338" y="53458"/>
                    <a:pt x="57339" y="48286"/>
                  </a:cubicBezTo>
                  <a:cubicBezTo>
                    <a:pt x="57339" y="48255"/>
                    <a:pt x="57338" y="48213"/>
                    <a:pt x="57338" y="48182"/>
                  </a:cubicBezTo>
                  <a:lnTo>
                    <a:pt x="57338" y="9678"/>
                  </a:lnTo>
                  <a:cubicBezTo>
                    <a:pt x="57511" y="4506"/>
                    <a:pt x="53460" y="177"/>
                    <a:pt x="48290" y="0"/>
                  </a:cubicBezTo>
                  <a:cubicBezTo>
                    <a:pt x="48184" y="0"/>
                    <a:pt x="48079" y="0"/>
                    <a:pt x="47972" y="0"/>
                  </a:cubicBezTo>
                  <a:close/>
                  <a:moveTo>
                    <a:pt x="38399" y="38504"/>
                  </a:moveTo>
                  <a:lnTo>
                    <a:pt x="19147" y="38504"/>
                  </a:lnTo>
                  <a:lnTo>
                    <a:pt x="19147" y="18940"/>
                  </a:lnTo>
                  <a:lnTo>
                    <a:pt x="38607" y="18940"/>
                  </a:ln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" name="Freeform 133">
              <a:extLst>
                <a:ext uri="{FF2B5EF4-FFF2-40B4-BE49-F238E27FC236}">
                  <a16:creationId xmlns:a16="http://schemas.microsoft.com/office/drawing/2014/main" id="{607E93F1-2B62-484B-BD15-4B0C33B85FF8}"/>
                </a:ext>
              </a:extLst>
            </p:cNvPr>
            <p:cNvSpPr/>
            <p:nvPr/>
          </p:nvSpPr>
          <p:spPr>
            <a:xfrm>
              <a:off x="3720723" y="2853237"/>
              <a:ext cx="926148" cy="610126"/>
            </a:xfrm>
            <a:custGeom>
              <a:avLst/>
              <a:gdLst>
                <a:gd name="connsiteX0" fmla="*/ 311352 w 926148"/>
                <a:gd name="connsiteY0" fmla="*/ 607005 h 610126"/>
                <a:gd name="connsiteX1" fmla="*/ 316035 w 926148"/>
                <a:gd name="connsiteY1" fmla="*/ 608565 h 610126"/>
                <a:gd name="connsiteX2" fmla="*/ 320926 w 926148"/>
                <a:gd name="connsiteY2" fmla="*/ 609502 h 610126"/>
                <a:gd name="connsiteX3" fmla="*/ 326650 w 926148"/>
                <a:gd name="connsiteY3" fmla="*/ 610127 h 610126"/>
                <a:gd name="connsiteX4" fmla="*/ 598250 w 926148"/>
                <a:gd name="connsiteY4" fmla="*/ 610127 h 610126"/>
                <a:gd name="connsiteX5" fmla="*/ 605119 w 926148"/>
                <a:gd name="connsiteY5" fmla="*/ 609606 h 610126"/>
                <a:gd name="connsiteX6" fmla="*/ 610009 w 926148"/>
                <a:gd name="connsiteY6" fmla="*/ 608565 h 610126"/>
                <a:gd name="connsiteX7" fmla="*/ 614692 w 926148"/>
                <a:gd name="connsiteY7" fmla="*/ 607213 h 610126"/>
                <a:gd name="connsiteX8" fmla="*/ 619375 w 926148"/>
                <a:gd name="connsiteY8" fmla="*/ 605340 h 610126"/>
                <a:gd name="connsiteX9" fmla="*/ 623537 w 926148"/>
                <a:gd name="connsiteY9" fmla="*/ 603050 h 610126"/>
                <a:gd name="connsiteX10" fmla="*/ 627596 w 926148"/>
                <a:gd name="connsiteY10" fmla="*/ 600344 h 610126"/>
                <a:gd name="connsiteX11" fmla="*/ 631342 w 926148"/>
                <a:gd name="connsiteY11" fmla="*/ 597327 h 610126"/>
                <a:gd name="connsiteX12" fmla="*/ 634776 w 926148"/>
                <a:gd name="connsiteY12" fmla="*/ 594309 h 610126"/>
                <a:gd name="connsiteX13" fmla="*/ 637794 w 926148"/>
                <a:gd name="connsiteY13" fmla="*/ 590666 h 610126"/>
                <a:gd name="connsiteX14" fmla="*/ 640604 w 926148"/>
                <a:gd name="connsiteY14" fmla="*/ 586712 h 610126"/>
                <a:gd name="connsiteX15" fmla="*/ 642893 w 926148"/>
                <a:gd name="connsiteY15" fmla="*/ 582445 h 610126"/>
                <a:gd name="connsiteX16" fmla="*/ 644766 w 926148"/>
                <a:gd name="connsiteY16" fmla="*/ 578075 h 610126"/>
                <a:gd name="connsiteX17" fmla="*/ 646327 w 926148"/>
                <a:gd name="connsiteY17" fmla="*/ 573288 h 610126"/>
                <a:gd name="connsiteX18" fmla="*/ 647368 w 926148"/>
                <a:gd name="connsiteY18" fmla="*/ 568397 h 610126"/>
                <a:gd name="connsiteX19" fmla="*/ 647992 w 926148"/>
                <a:gd name="connsiteY19" fmla="*/ 560696 h 610126"/>
                <a:gd name="connsiteX20" fmla="*/ 647992 w 926148"/>
                <a:gd name="connsiteY20" fmla="*/ 560696 h 610126"/>
                <a:gd name="connsiteX21" fmla="*/ 647992 w 926148"/>
                <a:gd name="connsiteY21" fmla="*/ 468704 h 610126"/>
                <a:gd name="connsiteX22" fmla="*/ 682957 w 926148"/>
                <a:gd name="connsiteY22" fmla="*/ 468704 h 610126"/>
                <a:gd name="connsiteX23" fmla="*/ 718546 w 926148"/>
                <a:gd name="connsiteY23" fmla="*/ 504294 h 610126"/>
                <a:gd name="connsiteX24" fmla="*/ 718546 w 926148"/>
                <a:gd name="connsiteY24" fmla="*/ 504294 h 610126"/>
                <a:gd name="connsiteX25" fmla="*/ 718546 w 926148"/>
                <a:gd name="connsiteY25" fmla="*/ 504294 h 610126"/>
                <a:gd name="connsiteX26" fmla="*/ 717713 w 926148"/>
                <a:gd name="connsiteY26" fmla="*/ 506063 h 610126"/>
                <a:gd name="connsiteX27" fmla="*/ 717713 w 926148"/>
                <a:gd name="connsiteY27" fmla="*/ 506791 h 610126"/>
                <a:gd name="connsiteX28" fmla="*/ 717713 w 926148"/>
                <a:gd name="connsiteY28" fmla="*/ 508768 h 610126"/>
                <a:gd name="connsiteX29" fmla="*/ 717713 w 926148"/>
                <a:gd name="connsiteY29" fmla="*/ 509497 h 610126"/>
                <a:gd name="connsiteX30" fmla="*/ 717713 w 926148"/>
                <a:gd name="connsiteY30" fmla="*/ 511578 h 610126"/>
                <a:gd name="connsiteX31" fmla="*/ 717713 w 926148"/>
                <a:gd name="connsiteY31" fmla="*/ 512411 h 610126"/>
                <a:gd name="connsiteX32" fmla="*/ 717713 w 926148"/>
                <a:gd name="connsiteY32" fmla="*/ 515636 h 610126"/>
                <a:gd name="connsiteX33" fmla="*/ 717713 w 926148"/>
                <a:gd name="connsiteY33" fmla="*/ 516677 h 610126"/>
                <a:gd name="connsiteX34" fmla="*/ 717713 w 926148"/>
                <a:gd name="connsiteY34" fmla="*/ 520319 h 610126"/>
                <a:gd name="connsiteX35" fmla="*/ 717713 w 926148"/>
                <a:gd name="connsiteY35" fmla="*/ 521048 h 610126"/>
                <a:gd name="connsiteX36" fmla="*/ 717713 w 926148"/>
                <a:gd name="connsiteY36" fmla="*/ 523025 h 610126"/>
                <a:gd name="connsiteX37" fmla="*/ 717713 w 926148"/>
                <a:gd name="connsiteY37" fmla="*/ 523857 h 610126"/>
                <a:gd name="connsiteX38" fmla="*/ 718338 w 926148"/>
                <a:gd name="connsiteY38" fmla="*/ 525835 h 610126"/>
                <a:gd name="connsiteX39" fmla="*/ 718338 w 926148"/>
                <a:gd name="connsiteY39" fmla="*/ 526563 h 610126"/>
                <a:gd name="connsiteX40" fmla="*/ 719170 w 926148"/>
                <a:gd name="connsiteY40" fmla="*/ 528436 h 610126"/>
                <a:gd name="connsiteX41" fmla="*/ 719170 w 926148"/>
                <a:gd name="connsiteY41" fmla="*/ 529061 h 610126"/>
                <a:gd name="connsiteX42" fmla="*/ 720107 w 926148"/>
                <a:gd name="connsiteY42" fmla="*/ 530830 h 610126"/>
                <a:gd name="connsiteX43" fmla="*/ 720107 w 926148"/>
                <a:gd name="connsiteY43" fmla="*/ 531558 h 610126"/>
                <a:gd name="connsiteX44" fmla="*/ 721251 w 926148"/>
                <a:gd name="connsiteY44" fmla="*/ 533223 h 610126"/>
                <a:gd name="connsiteX45" fmla="*/ 721251 w 926148"/>
                <a:gd name="connsiteY45" fmla="*/ 533848 h 610126"/>
                <a:gd name="connsiteX46" fmla="*/ 722500 w 926148"/>
                <a:gd name="connsiteY46" fmla="*/ 535409 h 610126"/>
                <a:gd name="connsiteX47" fmla="*/ 722500 w 926148"/>
                <a:gd name="connsiteY47" fmla="*/ 535409 h 610126"/>
                <a:gd name="connsiteX48" fmla="*/ 723853 w 926148"/>
                <a:gd name="connsiteY48" fmla="*/ 536761 h 610126"/>
                <a:gd name="connsiteX49" fmla="*/ 724477 w 926148"/>
                <a:gd name="connsiteY49" fmla="*/ 536761 h 610126"/>
                <a:gd name="connsiteX50" fmla="*/ 726038 w 926148"/>
                <a:gd name="connsiteY50" fmla="*/ 538114 h 610126"/>
                <a:gd name="connsiteX51" fmla="*/ 726038 w 926148"/>
                <a:gd name="connsiteY51" fmla="*/ 538114 h 610126"/>
                <a:gd name="connsiteX52" fmla="*/ 727703 w 926148"/>
                <a:gd name="connsiteY52" fmla="*/ 539259 h 610126"/>
                <a:gd name="connsiteX53" fmla="*/ 728432 w 926148"/>
                <a:gd name="connsiteY53" fmla="*/ 539259 h 610126"/>
                <a:gd name="connsiteX54" fmla="*/ 730201 w 926148"/>
                <a:gd name="connsiteY54" fmla="*/ 540300 h 610126"/>
                <a:gd name="connsiteX55" fmla="*/ 730825 w 926148"/>
                <a:gd name="connsiteY55" fmla="*/ 540300 h 610126"/>
                <a:gd name="connsiteX56" fmla="*/ 732698 w 926148"/>
                <a:gd name="connsiteY56" fmla="*/ 541028 h 610126"/>
                <a:gd name="connsiteX57" fmla="*/ 733427 w 926148"/>
                <a:gd name="connsiteY57" fmla="*/ 541028 h 610126"/>
                <a:gd name="connsiteX58" fmla="*/ 735404 w 926148"/>
                <a:gd name="connsiteY58" fmla="*/ 541652 h 610126"/>
                <a:gd name="connsiteX59" fmla="*/ 736132 w 926148"/>
                <a:gd name="connsiteY59" fmla="*/ 541652 h 610126"/>
                <a:gd name="connsiteX60" fmla="*/ 738213 w 926148"/>
                <a:gd name="connsiteY60" fmla="*/ 541652 h 610126"/>
                <a:gd name="connsiteX61" fmla="*/ 738942 w 926148"/>
                <a:gd name="connsiteY61" fmla="*/ 541652 h 610126"/>
                <a:gd name="connsiteX62" fmla="*/ 742688 w 926148"/>
                <a:gd name="connsiteY62" fmla="*/ 541652 h 610126"/>
                <a:gd name="connsiteX63" fmla="*/ 743521 w 926148"/>
                <a:gd name="connsiteY63" fmla="*/ 541652 h 610126"/>
                <a:gd name="connsiteX64" fmla="*/ 746850 w 926148"/>
                <a:gd name="connsiteY64" fmla="*/ 541652 h 610126"/>
                <a:gd name="connsiteX65" fmla="*/ 747683 w 926148"/>
                <a:gd name="connsiteY65" fmla="*/ 541652 h 610126"/>
                <a:gd name="connsiteX66" fmla="*/ 749660 w 926148"/>
                <a:gd name="connsiteY66" fmla="*/ 541652 h 610126"/>
                <a:gd name="connsiteX67" fmla="*/ 750389 w 926148"/>
                <a:gd name="connsiteY67" fmla="*/ 541652 h 610126"/>
                <a:gd name="connsiteX68" fmla="*/ 752366 w 926148"/>
                <a:gd name="connsiteY68" fmla="*/ 541028 h 610126"/>
                <a:gd name="connsiteX69" fmla="*/ 753094 w 926148"/>
                <a:gd name="connsiteY69" fmla="*/ 541028 h 610126"/>
                <a:gd name="connsiteX70" fmla="*/ 754967 w 926148"/>
                <a:gd name="connsiteY70" fmla="*/ 540300 h 610126"/>
                <a:gd name="connsiteX71" fmla="*/ 755696 w 926148"/>
                <a:gd name="connsiteY71" fmla="*/ 540300 h 610126"/>
                <a:gd name="connsiteX72" fmla="*/ 757465 w 926148"/>
                <a:gd name="connsiteY72" fmla="*/ 539363 h 610126"/>
                <a:gd name="connsiteX73" fmla="*/ 758089 w 926148"/>
                <a:gd name="connsiteY73" fmla="*/ 539363 h 610126"/>
                <a:gd name="connsiteX74" fmla="*/ 759754 w 926148"/>
                <a:gd name="connsiteY74" fmla="*/ 538218 h 610126"/>
                <a:gd name="connsiteX75" fmla="*/ 760379 w 926148"/>
                <a:gd name="connsiteY75" fmla="*/ 538218 h 610126"/>
                <a:gd name="connsiteX76" fmla="*/ 761939 w 926148"/>
                <a:gd name="connsiteY76" fmla="*/ 536970 h 610126"/>
                <a:gd name="connsiteX77" fmla="*/ 761939 w 926148"/>
                <a:gd name="connsiteY77" fmla="*/ 536449 h 610126"/>
                <a:gd name="connsiteX78" fmla="*/ 763396 w 926148"/>
                <a:gd name="connsiteY78" fmla="*/ 534992 h 610126"/>
                <a:gd name="connsiteX79" fmla="*/ 763396 w 926148"/>
                <a:gd name="connsiteY79" fmla="*/ 534472 h 610126"/>
                <a:gd name="connsiteX80" fmla="*/ 764645 w 926148"/>
                <a:gd name="connsiteY80" fmla="*/ 532911 h 610126"/>
                <a:gd name="connsiteX81" fmla="*/ 764645 w 926148"/>
                <a:gd name="connsiteY81" fmla="*/ 532287 h 610126"/>
                <a:gd name="connsiteX82" fmla="*/ 765790 w 926148"/>
                <a:gd name="connsiteY82" fmla="*/ 530622 h 610126"/>
                <a:gd name="connsiteX83" fmla="*/ 765790 w 926148"/>
                <a:gd name="connsiteY83" fmla="*/ 529997 h 610126"/>
                <a:gd name="connsiteX84" fmla="*/ 766726 w 926148"/>
                <a:gd name="connsiteY84" fmla="*/ 528228 h 610126"/>
                <a:gd name="connsiteX85" fmla="*/ 766726 w 926148"/>
                <a:gd name="connsiteY85" fmla="*/ 527604 h 610126"/>
                <a:gd name="connsiteX86" fmla="*/ 767455 w 926148"/>
                <a:gd name="connsiteY86" fmla="*/ 525731 h 610126"/>
                <a:gd name="connsiteX87" fmla="*/ 767455 w 926148"/>
                <a:gd name="connsiteY87" fmla="*/ 525002 h 610126"/>
                <a:gd name="connsiteX88" fmla="*/ 768079 w 926148"/>
                <a:gd name="connsiteY88" fmla="*/ 523025 h 610126"/>
                <a:gd name="connsiteX89" fmla="*/ 768079 w 926148"/>
                <a:gd name="connsiteY89" fmla="*/ 522297 h 610126"/>
                <a:gd name="connsiteX90" fmla="*/ 768079 w 926148"/>
                <a:gd name="connsiteY90" fmla="*/ 520215 h 610126"/>
                <a:gd name="connsiteX91" fmla="*/ 768079 w 926148"/>
                <a:gd name="connsiteY91" fmla="*/ 519383 h 610126"/>
                <a:gd name="connsiteX92" fmla="*/ 768079 w 926148"/>
                <a:gd name="connsiteY92" fmla="*/ 516261 h 610126"/>
                <a:gd name="connsiteX93" fmla="*/ 768079 w 926148"/>
                <a:gd name="connsiteY93" fmla="*/ 515116 h 610126"/>
                <a:gd name="connsiteX94" fmla="*/ 768079 w 926148"/>
                <a:gd name="connsiteY94" fmla="*/ 511474 h 610126"/>
                <a:gd name="connsiteX95" fmla="*/ 768079 w 926148"/>
                <a:gd name="connsiteY95" fmla="*/ 510745 h 610126"/>
                <a:gd name="connsiteX96" fmla="*/ 768079 w 926148"/>
                <a:gd name="connsiteY96" fmla="*/ 508664 h 610126"/>
                <a:gd name="connsiteX97" fmla="*/ 768079 w 926148"/>
                <a:gd name="connsiteY97" fmla="*/ 507936 h 610126"/>
                <a:gd name="connsiteX98" fmla="*/ 768079 w 926148"/>
                <a:gd name="connsiteY98" fmla="*/ 505958 h 610126"/>
                <a:gd name="connsiteX99" fmla="*/ 768079 w 926148"/>
                <a:gd name="connsiteY99" fmla="*/ 505230 h 610126"/>
                <a:gd name="connsiteX100" fmla="*/ 767247 w 926148"/>
                <a:gd name="connsiteY100" fmla="*/ 503357 h 610126"/>
                <a:gd name="connsiteX101" fmla="*/ 767247 w 926148"/>
                <a:gd name="connsiteY101" fmla="*/ 502733 h 610126"/>
                <a:gd name="connsiteX102" fmla="*/ 766310 w 926148"/>
                <a:gd name="connsiteY102" fmla="*/ 500963 h 610126"/>
                <a:gd name="connsiteX103" fmla="*/ 766310 w 926148"/>
                <a:gd name="connsiteY103" fmla="*/ 500235 h 610126"/>
                <a:gd name="connsiteX104" fmla="*/ 765269 w 926148"/>
                <a:gd name="connsiteY104" fmla="*/ 498570 h 610126"/>
                <a:gd name="connsiteX105" fmla="*/ 765269 w 926148"/>
                <a:gd name="connsiteY105" fmla="*/ 497946 h 610126"/>
                <a:gd name="connsiteX106" fmla="*/ 764021 w 926148"/>
                <a:gd name="connsiteY106" fmla="*/ 496489 h 610126"/>
                <a:gd name="connsiteX107" fmla="*/ 764021 w 926148"/>
                <a:gd name="connsiteY107" fmla="*/ 495864 h 610126"/>
                <a:gd name="connsiteX108" fmla="*/ 762668 w 926148"/>
                <a:gd name="connsiteY108" fmla="*/ 494512 h 610126"/>
                <a:gd name="connsiteX109" fmla="*/ 762044 w 926148"/>
                <a:gd name="connsiteY109" fmla="*/ 494512 h 610126"/>
                <a:gd name="connsiteX110" fmla="*/ 760587 w 926148"/>
                <a:gd name="connsiteY110" fmla="*/ 493263 h 610126"/>
                <a:gd name="connsiteX111" fmla="*/ 759962 w 926148"/>
                <a:gd name="connsiteY111" fmla="*/ 492742 h 610126"/>
                <a:gd name="connsiteX112" fmla="*/ 758297 w 926148"/>
                <a:gd name="connsiteY112" fmla="*/ 491598 h 610126"/>
                <a:gd name="connsiteX113" fmla="*/ 757673 w 926148"/>
                <a:gd name="connsiteY113" fmla="*/ 491598 h 610126"/>
                <a:gd name="connsiteX114" fmla="*/ 755904 w 926148"/>
                <a:gd name="connsiteY114" fmla="*/ 490557 h 610126"/>
                <a:gd name="connsiteX115" fmla="*/ 755175 w 926148"/>
                <a:gd name="connsiteY115" fmla="*/ 490557 h 610126"/>
                <a:gd name="connsiteX116" fmla="*/ 753302 w 926148"/>
                <a:gd name="connsiteY116" fmla="*/ 489725 h 610126"/>
                <a:gd name="connsiteX117" fmla="*/ 752574 w 926148"/>
                <a:gd name="connsiteY117" fmla="*/ 489725 h 610126"/>
                <a:gd name="connsiteX118" fmla="*/ 750597 w 926148"/>
                <a:gd name="connsiteY118" fmla="*/ 489100 h 610126"/>
                <a:gd name="connsiteX119" fmla="*/ 749868 w 926148"/>
                <a:gd name="connsiteY119" fmla="*/ 489100 h 610126"/>
                <a:gd name="connsiteX120" fmla="*/ 747891 w 926148"/>
                <a:gd name="connsiteY120" fmla="*/ 489100 h 610126"/>
                <a:gd name="connsiteX121" fmla="*/ 747059 w 926148"/>
                <a:gd name="connsiteY121" fmla="*/ 489100 h 610126"/>
                <a:gd name="connsiteX122" fmla="*/ 742688 w 926148"/>
                <a:gd name="connsiteY122" fmla="*/ 489100 h 610126"/>
                <a:gd name="connsiteX123" fmla="*/ 739150 w 926148"/>
                <a:gd name="connsiteY123" fmla="*/ 489100 h 610126"/>
                <a:gd name="connsiteX124" fmla="*/ 738422 w 926148"/>
                <a:gd name="connsiteY124" fmla="*/ 489100 h 610126"/>
                <a:gd name="connsiteX125" fmla="*/ 736340 w 926148"/>
                <a:gd name="connsiteY125" fmla="*/ 489100 h 610126"/>
                <a:gd name="connsiteX126" fmla="*/ 735612 w 926148"/>
                <a:gd name="connsiteY126" fmla="*/ 489100 h 610126"/>
                <a:gd name="connsiteX127" fmla="*/ 733635 w 926148"/>
                <a:gd name="connsiteY127" fmla="*/ 489725 h 610126"/>
                <a:gd name="connsiteX128" fmla="*/ 732906 w 926148"/>
                <a:gd name="connsiteY128" fmla="*/ 489725 h 610126"/>
                <a:gd name="connsiteX129" fmla="*/ 731033 w 926148"/>
                <a:gd name="connsiteY129" fmla="*/ 490453 h 610126"/>
                <a:gd name="connsiteX130" fmla="*/ 731033 w 926148"/>
                <a:gd name="connsiteY130" fmla="*/ 490453 h 610126"/>
                <a:gd name="connsiteX131" fmla="*/ 731033 w 926148"/>
                <a:gd name="connsiteY131" fmla="*/ 490453 h 610126"/>
                <a:gd name="connsiteX132" fmla="*/ 692634 w 926148"/>
                <a:gd name="connsiteY132" fmla="*/ 451949 h 610126"/>
                <a:gd name="connsiteX133" fmla="*/ 692634 w 926148"/>
                <a:gd name="connsiteY133" fmla="*/ 451949 h 610126"/>
                <a:gd name="connsiteX134" fmla="*/ 686079 w 926148"/>
                <a:gd name="connsiteY134" fmla="*/ 449348 h 610126"/>
                <a:gd name="connsiteX135" fmla="*/ 647992 w 926148"/>
                <a:gd name="connsiteY135" fmla="*/ 449348 h 610126"/>
                <a:gd name="connsiteX136" fmla="*/ 647992 w 926148"/>
                <a:gd name="connsiteY136" fmla="*/ 391384 h 610126"/>
                <a:gd name="connsiteX137" fmla="*/ 759650 w 926148"/>
                <a:gd name="connsiteY137" fmla="*/ 391384 h 610126"/>
                <a:gd name="connsiteX138" fmla="*/ 795343 w 926148"/>
                <a:gd name="connsiteY138" fmla="*/ 427078 h 610126"/>
                <a:gd name="connsiteX139" fmla="*/ 795343 w 926148"/>
                <a:gd name="connsiteY139" fmla="*/ 427078 h 610126"/>
                <a:gd name="connsiteX140" fmla="*/ 795343 w 926148"/>
                <a:gd name="connsiteY140" fmla="*/ 427078 h 610126"/>
                <a:gd name="connsiteX141" fmla="*/ 794615 w 926148"/>
                <a:gd name="connsiteY141" fmla="*/ 428847 h 610126"/>
                <a:gd name="connsiteX142" fmla="*/ 794615 w 926148"/>
                <a:gd name="connsiteY142" fmla="*/ 429680 h 610126"/>
                <a:gd name="connsiteX143" fmla="*/ 793990 w 926148"/>
                <a:gd name="connsiteY143" fmla="*/ 431657 h 610126"/>
                <a:gd name="connsiteX144" fmla="*/ 793990 w 926148"/>
                <a:gd name="connsiteY144" fmla="*/ 432385 h 610126"/>
                <a:gd name="connsiteX145" fmla="*/ 793990 w 926148"/>
                <a:gd name="connsiteY145" fmla="*/ 434467 h 610126"/>
                <a:gd name="connsiteX146" fmla="*/ 793990 w 926148"/>
                <a:gd name="connsiteY146" fmla="*/ 435195 h 610126"/>
                <a:gd name="connsiteX147" fmla="*/ 793990 w 926148"/>
                <a:gd name="connsiteY147" fmla="*/ 439566 h 610126"/>
                <a:gd name="connsiteX148" fmla="*/ 793990 w 926148"/>
                <a:gd name="connsiteY148" fmla="*/ 443104 h 610126"/>
                <a:gd name="connsiteX149" fmla="*/ 793990 w 926148"/>
                <a:gd name="connsiteY149" fmla="*/ 443832 h 610126"/>
                <a:gd name="connsiteX150" fmla="*/ 793990 w 926148"/>
                <a:gd name="connsiteY150" fmla="*/ 445914 h 610126"/>
                <a:gd name="connsiteX151" fmla="*/ 793990 w 926148"/>
                <a:gd name="connsiteY151" fmla="*/ 446642 h 610126"/>
                <a:gd name="connsiteX152" fmla="*/ 793990 w 926148"/>
                <a:gd name="connsiteY152" fmla="*/ 448619 h 610126"/>
                <a:gd name="connsiteX153" fmla="*/ 793990 w 926148"/>
                <a:gd name="connsiteY153" fmla="*/ 449348 h 610126"/>
                <a:gd name="connsiteX154" fmla="*/ 794719 w 926148"/>
                <a:gd name="connsiteY154" fmla="*/ 451221 h 610126"/>
                <a:gd name="connsiteX155" fmla="*/ 794719 w 926148"/>
                <a:gd name="connsiteY155" fmla="*/ 451949 h 610126"/>
                <a:gd name="connsiteX156" fmla="*/ 795655 w 926148"/>
                <a:gd name="connsiteY156" fmla="*/ 453719 h 610126"/>
                <a:gd name="connsiteX157" fmla="*/ 795655 w 926148"/>
                <a:gd name="connsiteY157" fmla="*/ 454343 h 610126"/>
                <a:gd name="connsiteX158" fmla="*/ 796800 w 926148"/>
                <a:gd name="connsiteY158" fmla="*/ 456008 h 610126"/>
                <a:gd name="connsiteX159" fmla="*/ 796800 w 926148"/>
                <a:gd name="connsiteY159" fmla="*/ 456632 h 610126"/>
                <a:gd name="connsiteX160" fmla="*/ 798153 w 926148"/>
                <a:gd name="connsiteY160" fmla="*/ 458193 h 610126"/>
                <a:gd name="connsiteX161" fmla="*/ 798153 w 926148"/>
                <a:gd name="connsiteY161" fmla="*/ 458714 h 610126"/>
                <a:gd name="connsiteX162" fmla="*/ 799506 w 926148"/>
                <a:gd name="connsiteY162" fmla="*/ 460170 h 610126"/>
                <a:gd name="connsiteX163" fmla="*/ 799506 w 926148"/>
                <a:gd name="connsiteY163" fmla="*/ 460691 h 610126"/>
                <a:gd name="connsiteX164" fmla="*/ 801067 w 926148"/>
                <a:gd name="connsiteY164" fmla="*/ 461940 h 610126"/>
                <a:gd name="connsiteX165" fmla="*/ 801691 w 926148"/>
                <a:gd name="connsiteY165" fmla="*/ 461940 h 610126"/>
                <a:gd name="connsiteX166" fmla="*/ 803356 w 926148"/>
                <a:gd name="connsiteY166" fmla="*/ 463084 h 610126"/>
                <a:gd name="connsiteX167" fmla="*/ 803980 w 926148"/>
                <a:gd name="connsiteY167" fmla="*/ 463084 h 610126"/>
                <a:gd name="connsiteX168" fmla="*/ 805749 w 926148"/>
                <a:gd name="connsiteY168" fmla="*/ 464021 h 610126"/>
                <a:gd name="connsiteX169" fmla="*/ 806478 w 926148"/>
                <a:gd name="connsiteY169" fmla="*/ 464021 h 610126"/>
                <a:gd name="connsiteX170" fmla="*/ 808351 w 926148"/>
                <a:gd name="connsiteY170" fmla="*/ 464749 h 610126"/>
                <a:gd name="connsiteX171" fmla="*/ 808975 w 926148"/>
                <a:gd name="connsiteY171" fmla="*/ 464749 h 610126"/>
                <a:gd name="connsiteX172" fmla="*/ 810952 w 926148"/>
                <a:gd name="connsiteY172" fmla="*/ 465374 h 610126"/>
                <a:gd name="connsiteX173" fmla="*/ 811681 w 926148"/>
                <a:gd name="connsiteY173" fmla="*/ 465374 h 610126"/>
                <a:gd name="connsiteX174" fmla="*/ 813762 w 926148"/>
                <a:gd name="connsiteY174" fmla="*/ 465374 h 610126"/>
                <a:gd name="connsiteX175" fmla="*/ 814595 w 926148"/>
                <a:gd name="connsiteY175" fmla="*/ 465374 h 610126"/>
                <a:gd name="connsiteX176" fmla="*/ 818237 w 926148"/>
                <a:gd name="connsiteY176" fmla="*/ 465374 h 610126"/>
                <a:gd name="connsiteX177" fmla="*/ 818237 w 926148"/>
                <a:gd name="connsiteY177" fmla="*/ 465374 h 610126"/>
                <a:gd name="connsiteX178" fmla="*/ 822087 w 926148"/>
                <a:gd name="connsiteY178" fmla="*/ 465374 h 610126"/>
                <a:gd name="connsiteX179" fmla="*/ 822816 w 926148"/>
                <a:gd name="connsiteY179" fmla="*/ 465374 h 610126"/>
                <a:gd name="connsiteX180" fmla="*/ 824897 w 926148"/>
                <a:gd name="connsiteY180" fmla="*/ 465374 h 610126"/>
                <a:gd name="connsiteX181" fmla="*/ 825625 w 926148"/>
                <a:gd name="connsiteY181" fmla="*/ 465374 h 610126"/>
                <a:gd name="connsiteX182" fmla="*/ 827602 w 926148"/>
                <a:gd name="connsiteY182" fmla="*/ 464749 h 610126"/>
                <a:gd name="connsiteX183" fmla="*/ 828331 w 926148"/>
                <a:gd name="connsiteY183" fmla="*/ 464749 h 610126"/>
                <a:gd name="connsiteX184" fmla="*/ 830204 w 926148"/>
                <a:gd name="connsiteY184" fmla="*/ 463917 h 610126"/>
                <a:gd name="connsiteX185" fmla="*/ 830932 w 926148"/>
                <a:gd name="connsiteY185" fmla="*/ 463917 h 610126"/>
                <a:gd name="connsiteX186" fmla="*/ 832701 w 926148"/>
                <a:gd name="connsiteY186" fmla="*/ 462980 h 610126"/>
                <a:gd name="connsiteX187" fmla="*/ 833326 w 926148"/>
                <a:gd name="connsiteY187" fmla="*/ 462980 h 610126"/>
                <a:gd name="connsiteX188" fmla="*/ 834991 w 926148"/>
                <a:gd name="connsiteY188" fmla="*/ 461940 h 610126"/>
                <a:gd name="connsiteX189" fmla="*/ 835615 w 926148"/>
                <a:gd name="connsiteY189" fmla="*/ 461419 h 610126"/>
                <a:gd name="connsiteX190" fmla="*/ 837176 w 926148"/>
                <a:gd name="connsiteY190" fmla="*/ 460170 h 610126"/>
                <a:gd name="connsiteX191" fmla="*/ 837176 w 926148"/>
                <a:gd name="connsiteY191" fmla="*/ 460170 h 610126"/>
                <a:gd name="connsiteX192" fmla="*/ 838529 w 926148"/>
                <a:gd name="connsiteY192" fmla="*/ 458818 h 610126"/>
                <a:gd name="connsiteX193" fmla="*/ 838529 w 926148"/>
                <a:gd name="connsiteY193" fmla="*/ 458193 h 610126"/>
                <a:gd name="connsiteX194" fmla="*/ 839882 w 926148"/>
                <a:gd name="connsiteY194" fmla="*/ 456736 h 610126"/>
                <a:gd name="connsiteX195" fmla="*/ 839882 w 926148"/>
                <a:gd name="connsiteY195" fmla="*/ 456112 h 610126"/>
                <a:gd name="connsiteX196" fmla="*/ 841026 w 926148"/>
                <a:gd name="connsiteY196" fmla="*/ 454447 h 610126"/>
                <a:gd name="connsiteX197" fmla="*/ 841026 w 926148"/>
                <a:gd name="connsiteY197" fmla="*/ 453823 h 610126"/>
                <a:gd name="connsiteX198" fmla="*/ 841963 w 926148"/>
                <a:gd name="connsiteY198" fmla="*/ 452053 h 610126"/>
                <a:gd name="connsiteX199" fmla="*/ 841963 w 926148"/>
                <a:gd name="connsiteY199" fmla="*/ 451325 h 610126"/>
                <a:gd name="connsiteX200" fmla="*/ 842795 w 926148"/>
                <a:gd name="connsiteY200" fmla="*/ 449452 h 610126"/>
                <a:gd name="connsiteX201" fmla="*/ 842795 w 926148"/>
                <a:gd name="connsiteY201" fmla="*/ 448723 h 610126"/>
                <a:gd name="connsiteX202" fmla="*/ 843420 w 926148"/>
                <a:gd name="connsiteY202" fmla="*/ 446746 h 610126"/>
                <a:gd name="connsiteX203" fmla="*/ 843420 w 926148"/>
                <a:gd name="connsiteY203" fmla="*/ 446018 h 610126"/>
                <a:gd name="connsiteX204" fmla="*/ 843420 w 926148"/>
                <a:gd name="connsiteY204" fmla="*/ 443936 h 610126"/>
                <a:gd name="connsiteX205" fmla="*/ 843420 w 926148"/>
                <a:gd name="connsiteY205" fmla="*/ 443208 h 610126"/>
                <a:gd name="connsiteX206" fmla="*/ 843420 w 926148"/>
                <a:gd name="connsiteY206" fmla="*/ 438837 h 610126"/>
                <a:gd name="connsiteX207" fmla="*/ 843420 w 926148"/>
                <a:gd name="connsiteY207" fmla="*/ 435299 h 610126"/>
                <a:gd name="connsiteX208" fmla="*/ 843420 w 926148"/>
                <a:gd name="connsiteY208" fmla="*/ 434467 h 610126"/>
                <a:gd name="connsiteX209" fmla="*/ 843420 w 926148"/>
                <a:gd name="connsiteY209" fmla="*/ 432385 h 610126"/>
                <a:gd name="connsiteX210" fmla="*/ 843420 w 926148"/>
                <a:gd name="connsiteY210" fmla="*/ 431761 h 610126"/>
                <a:gd name="connsiteX211" fmla="*/ 842795 w 926148"/>
                <a:gd name="connsiteY211" fmla="*/ 429784 h 610126"/>
                <a:gd name="connsiteX212" fmla="*/ 842795 w 926148"/>
                <a:gd name="connsiteY212" fmla="*/ 429055 h 610126"/>
                <a:gd name="connsiteX213" fmla="*/ 842067 w 926148"/>
                <a:gd name="connsiteY213" fmla="*/ 427182 h 610126"/>
                <a:gd name="connsiteX214" fmla="*/ 842067 w 926148"/>
                <a:gd name="connsiteY214" fmla="*/ 426454 h 610126"/>
                <a:gd name="connsiteX215" fmla="*/ 841130 w 926148"/>
                <a:gd name="connsiteY215" fmla="*/ 424685 h 610126"/>
                <a:gd name="connsiteX216" fmla="*/ 841130 w 926148"/>
                <a:gd name="connsiteY216" fmla="*/ 424060 h 610126"/>
                <a:gd name="connsiteX217" fmla="*/ 839986 w 926148"/>
                <a:gd name="connsiteY217" fmla="*/ 422395 h 610126"/>
                <a:gd name="connsiteX218" fmla="*/ 839986 w 926148"/>
                <a:gd name="connsiteY218" fmla="*/ 421771 h 610126"/>
                <a:gd name="connsiteX219" fmla="*/ 838737 w 926148"/>
                <a:gd name="connsiteY219" fmla="*/ 420210 h 610126"/>
                <a:gd name="connsiteX220" fmla="*/ 838737 w 926148"/>
                <a:gd name="connsiteY220" fmla="*/ 419690 h 610126"/>
                <a:gd name="connsiteX221" fmla="*/ 837280 w 926148"/>
                <a:gd name="connsiteY221" fmla="*/ 418233 h 610126"/>
                <a:gd name="connsiteX222" fmla="*/ 837280 w 926148"/>
                <a:gd name="connsiteY222" fmla="*/ 417712 h 610126"/>
                <a:gd name="connsiteX223" fmla="*/ 835719 w 926148"/>
                <a:gd name="connsiteY223" fmla="*/ 416464 h 610126"/>
                <a:gd name="connsiteX224" fmla="*/ 835095 w 926148"/>
                <a:gd name="connsiteY224" fmla="*/ 416464 h 610126"/>
                <a:gd name="connsiteX225" fmla="*/ 833430 w 926148"/>
                <a:gd name="connsiteY225" fmla="*/ 415319 h 610126"/>
                <a:gd name="connsiteX226" fmla="*/ 832805 w 926148"/>
                <a:gd name="connsiteY226" fmla="*/ 415319 h 610126"/>
                <a:gd name="connsiteX227" fmla="*/ 831036 w 926148"/>
                <a:gd name="connsiteY227" fmla="*/ 414382 h 610126"/>
                <a:gd name="connsiteX228" fmla="*/ 830412 w 926148"/>
                <a:gd name="connsiteY228" fmla="*/ 414382 h 610126"/>
                <a:gd name="connsiteX229" fmla="*/ 828539 w 926148"/>
                <a:gd name="connsiteY229" fmla="*/ 413550 h 610126"/>
                <a:gd name="connsiteX230" fmla="*/ 827811 w 926148"/>
                <a:gd name="connsiteY230" fmla="*/ 413550 h 610126"/>
                <a:gd name="connsiteX231" fmla="*/ 825833 w 926148"/>
                <a:gd name="connsiteY231" fmla="*/ 412926 h 610126"/>
                <a:gd name="connsiteX232" fmla="*/ 825105 w 926148"/>
                <a:gd name="connsiteY232" fmla="*/ 412926 h 610126"/>
                <a:gd name="connsiteX233" fmla="*/ 823024 w 926148"/>
                <a:gd name="connsiteY233" fmla="*/ 412926 h 610126"/>
                <a:gd name="connsiteX234" fmla="*/ 822191 w 926148"/>
                <a:gd name="connsiteY234" fmla="*/ 412926 h 610126"/>
                <a:gd name="connsiteX235" fmla="*/ 817925 w 926148"/>
                <a:gd name="connsiteY235" fmla="*/ 412926 h 610126"/>
                <a:gd name="connsiteX236" fmla="*/ 814282 w 926148"/>
                <a:gd name="connsiteY236" fmla="*/ 412926 h 610126"/>
                <a:gd name="connsiteX237" fmla="*/ 813554 w 926148"/>
                <a:gd name="connsiteY237" fmla="*/ 412926 h 610126"/>
                <a:gd name="connsiteX238" fmla="*/ 811473 w 926148"/>
                <a:gd name="connsiteY238" fmla="*/ 412926 h 610126"/>
                <a:gd name="connsiteX239" fmla="*/ 810744 w 926148"/>
                <a:gd name="connsiteY239" fmla="*/ 412926 h 610126"/>
                <a:gd name="connsiteX240" fmla="*/ 808767 w 926148"/>
                <a:gd name="connsiteY240" fmla="*/ 413550 h 610126"/>
                <a:gd name="connsiteX241" fmla="*/ 808039 w 926148"/>
                <a:gd name="connsiteY241" fmla="*/ 413550 h 610126"/>
                <a:gd name="connsiteX242" fmla="*/ 806166 w 926148"/>
                <a:gd name="connsiteY242" fmla="*/ 414382 h 610126"/>
                <a:gd name="connsiteX243" fmla="*/ 806166 w 926148"/>
                <a:gd name="connsiteY243" fmla="*/ 414382 h 610126"/>
                <a:gd name="connsiteX244" fmla="*/ 806166 w 926148"/>
                <a:gd name="connsiteY244" fmla="*/ 414382 h 610126"/>
                <a:gd name="connsiteX245" fmla="*/ 770056 w 926148"/>
                <a:gd name="connsiteY245" fmla="*/ 375775 h 610126"/>
                <a:gd name="connsiteX246" fmla="*/ 769432 w 926148"/>
                <a:gd name="connsiteY246" fmla="*/ 375775 h 610126"/>
                <a:gd name="connsiteX247" fmla="*/ 767038 w 926148"/>
                <a:gd name="connsiteY247" fmla="*/ 374214 h 610126"/>
                <a:gd name="connsiteX248" fmla="*/ 764229 w 926148"/>
                <a:gd name="connsiteY248" fmla="*/ 373693 h 610126"/>
                <a:gd name="connsiteX249" fmla="*/ 763396 w 926148"/>
                <a:gd name="connsiteY249" fmla="*/ 373693 h 610126"/>
                <a:gd name="connsiteX250" fmla="*/ 647992 w 926148"/>
                <a:gd name="connsiteY250" fmla="*/ 373693 h 610126"/>
                <a:gd name="connsiteX251" fmla="*/ 647992 w 926148"/>
                <a:gd name="connsiteY251" fmla="*/ 315834 h 610126"/>
                <a:gd name="connsiteX252" fmla="*/ 832493 w 926148"/>
                <a:gd name="connsiteY252" fmla="*/ 315834 h 610126"/>
                <a:gd name="connsiteX253" fmla="*/ 832493 w 926148"/>
                <a:gd name="connsiteY253" fmla="*/ 317811 h 610126"/>
                <a:gd name="connsiteX254" fmla="*/ 832493 w 926148"/>
                <a:gd name="connsiteY254" fmla="*/ 318540 h 610126"/>
                <a:gd name="connsiteX255" fmla="*/ 833638 w 926148"/>
                <a:gd name="connsiteY255" fmla="*/ 322390 h 610126"/>
                <a:gd name="connsiteX256" fmla="*/ 833638 w 926148"/>
                <a:gd name="connsiteY256" fmla="*/ 323014 h 610126"/>
                <a:gd name="connsiteX257" fmla="*/ 835199 w 926148"/>
                <a:gd name="connsiteY257" fmla="*/ 326656 h 610126"/>
                <a:gd name="connsiteX258" fmla="*/ 835199 w 926148"/>
                <a:gd name="connsiteY258" fmla="*/ 327385 h 610126"/>
                <a:gd name="connsiteX259" fmla="*/ 837072 w 926148"/>
                <a:gd name="connsiteY259" fmla="*/ 330715 h 610126"/>
                <a:gd name="connsiteX260" fmla="*/ 837072 w 926148"/>
                <a:gd name="connsiteY260" fmla="*/ 331443 h 610126"/>
                <a:gd name="connsiteX261" fmla="*/ 839257 w 926148"/>
                <a:gd name="connsiteY261" fmla="*/ 334669 h 610126"/>
                <a:gd name="connsiteX262" fmla="*/ 839257 w 926148"/>
                <a:gd name="connsiteY262" fmla="*/ 334669 h 610126"/>
                <a:gd name="connsiteX263" fmla="*/ 841651 w 926148"/>
                <a:gd name="connsiteY263" fmla="*/ 337687 h 610126"/>
                <a:gd name="connsiteX264" fmla="*/ 841651 w 926148"/>
                <a:gd name="connsiteY264" fmla="*/ 337687 h 610126"/>
                <a:gd name="connsiteX265" fmla="*/ 844356 w 926148"/>
                <a:gd name="connsiteY265" fmla="*/ 340393 h 610126"/>
                <a:gd name="connsiteX266" fmla="*/ 844356 w 926148"/>
                <a:gd name="connsiteY266" fmla="*/ 340393 h 610126"/>
                <a:gd name="connsiteX267" fmla="*/ 847374 w 926148"/>
                <a:gd name="connsiteY267" fmla="*/ 342890 h 610126"/>
                <a:gd name="connsiteX268" fmla="*/ 847374 w 926148"/>
                <a:gd name="connsiteY268" fmla="*/ 342890 h 610126"/>
                <a:gd name="connsiteX269" fmla="*/ 850600 w 926148"/>
                <a:gd name="connsiteY269" fmla="*/ 345076 h 610126"/>
                <a:gd name="connsiteX270" fmla="*/ 851224 w 926148"/>
                <a:gd name="connsiteY270" fmla="*/ 345076 h 610126"/>
                <a:gd name="connsiteX271" fmla="*/ 854658 w 926148"/>
                <a:gd name="connsiteY271" fmla="*/ 346845 h 610126"/>
                <a:gd name="connsiteX272" fmla="*/ 855387 w 926148"/>
                <a:gd name="connsiteY272" fmla="*/ 346845 h 610126"/>
                <a:gd name="connsiteX273" fmla="*/ 858925 w 926148"/>
                <a:gd name="connsiteY273" fmla="*/ 348302 h 610126"/>
                <a:gd name="connsiteX274" fmla="*/ 859653 w 926148"/>
                <a:gd name="connsiteY274" fmla="*/ 348302 h 610126"/>
                <a:gd name="connsiteX275" fmla="*/ 863400 w 926148"/>
                <a:gd name="connsiteY275" fmla="*/ 349446 h 610126"/>
                <a:gd name="connsiteX276" fmla="*/ 864128 w 926148"/>
                <a:gd name="connsiteY276" fmla="*/ 349446 h 610126"/>
                <a:gd name="connsiteX277" fmla="*/ 868082 w 926148"/>
                <a:gd name="connsiteY277" fmla="*/ 350279 h 610126"/>
                <a:gd name="connsiteX278" fmla="*/ 868811 w 926148"/>
                <a:gd name="connsiteY278" fmla="*/ 350279 h 610126"/>
                <a:gd name="connsiteX279" fmla="*/ 873494 w 926148"/>
                <a:gd name="connsiteY279" fmla="*/ 350279 h 610126"/>
                <a:gd name="connsiteX280" fmla="*/ 875887 w 926148"/>
                <a:gd name="connsiteY280" fmla="*/ 350279 h 610126"/>
                <a:gd name="connsiteX281" fmla="*/ 882651 w 926148"/>
                <a:gd name="connsiteY281" fmla="*/ 349759 h 610126"/>
                <a:gd name="connsiteX282" fmla="*/ 883379 w 926148"/>
                <a:gd name="connsiteY282" fmla="*/ 349759 h 610126"/>
                <a:gd name="connsiteX283" fmla="*/ 887334 w 926148"/>
                <a:gd name="connsiteY283" fmla="*/ 348926 h 610126"/>
                <a:gd name="connsiteX284" fmla="*/ 888062 w 926148"/>
                <a:gd name="connsiteY284" fmla="*/ 348926 h 610126"/>
                <a:gd name="connsiteX285" fmla="*/ 891808 w 926148"/>
                <a:gd name="connsiteY285" fmla="*/ 347677 h 610126"/>
                <a:gd name="connsiteX286" fmla="*/ 892537 w 926148"/>
                <a:gd name="connsiteY286" fmla="*/ 347677 h 610126"/>
                <a:gd name="connsiteX287" fmla="*/ 896179 w 926148"/>
                <a:gd name="connsiteY287" fmla="*/ 346116 h 610126"/>
                <a:gd name="connsiteX288" fmla="*/ 896907 w 926148"/>
                <a:gd name="connsiteY288" fmla="*/ 346116 h 610126"/>
                <a:gd name="connsiteX289" fmla="*/ 900237 w 926148"/>
                <a:gd name="connsiteY289" fmla="*/ 344347 h 610126"/>
                <a:gd name="connsiteX290" fmla="*/ 900966 w 926148"/>
                <a:gd name="connsiteY290" fmla="*/ 344347 h 610126"/>
                <a:gd name="connsiteX291" fmla="*/ 904088 w 926148"/>
                <a:gd name="connsiteY291" fmla="*/ 342162 h 610126"/>
                <a:gd name="connsiteX292" fmla="*/ 904712 w 926148"/>
                <a:gd name="connsiteY292" fmla="*/ 342162 h 610126"/>
                <a:gd name="connsiteX293" fmla="*/ 907730 w 926148"/>
                <a:gd name="connsiteY293" fmla="*/ 339664 h 610126"/>
                <a:gd name="connsiteX294" fmla="*/ 907730 w 926148"/>
                <a:gd name="connsiteY294" fmla="*/ 339664 h 610126"/>
                <a:gd name="connsiteX295" fmla="*/ 910435 w 926148"/>
                <a:gd name="connsiteY295" fmla="*/ 336959 h 610126"/>
                <a:gd name="connsiteX296" fmla="*/ 910435 w 926148"/>
                <a:gd name="connsiteY296" fmla="*/ 336439 h 610126"/>
                <a:gd name="connsiteX297" fmla="*/ 912829 w 926148"/>
                <a:gd name="connsiteY297" fmla="*/ 333525 h 610126"/>
                <a:gd name="connsiteX298" fmla="*/ 912829 w 926148"/>
                <a:gd name="connsiteY298" fmla="*/ 332900 h 610126"/>
                <a:gd name="connsiteX299" fmla="*/ 915014 w 926148"/>
                <a:gd name="connsiteY299" fmla="*/ 329674 h 610126"/>
                <a:gd name="connsiteX300" fmla="*/ 915014 w 926148"/>
                <a:gd name="connsiteY300" fmla="*/ 329050 h 610126"/>
                <a:gd name="connsiteX301" fmla="*/ 916887 w 926148"/>
                <a:gd name="connsiteY301" fmla="*/ 325616 h 610126"/>
                <a:gd name="connsiteX302" fmla="*/ 916887 w 926148"/>
                <a:gd name="connsiteY302" fmla="*/ 324991 h 610126"/>
                <a:gd name="connsiteX303" fmla="*/ 918448 w 926148"/>
                <a:gd name="connsiteY303" fmla="*/ 321349 h 610126"/>
                <a:gd name="connsiteX304" fmla="*/ 918448 w 926148"/>
                <a:gd name="connsiteY304" fmla="*/ 320621 h 610126"/>
                <a:gd name="connsiteX305" fmla="*/ 919593 w 926148"/>
                <a:gd name="connsiteY305" fmla="*/ 316874 h 610126"/>
                <a:gd name="connsiteX306" fmla="*/ 919593 w 926148"/>
                <a:gd name="connsiteY306" fmla="*/ 316146 h 610126"/>
                <a:gd name="connsiteX307" fmla="*/ 926149 w 926148"/>
                <a:gd name="connsiteY307" fmla="*/ 313336 h 610126"/>
                <a:gd name="connsiteX308" fmla="*/ 926149 w 926148"/>
                <a:gd name="connsiteY308" fmla="*/ 312608 h 610126"/>
                <a:gd name="connsiteX309" fmla="*/ 926149 w 926148"/>
                <a:gd name="connsiteY309" fmla="*/ 307925 h 610126"/>
                <a:gd name="connsiteX310" fmla="*/ 926149 w 926148"/>
                <a:gd name="connsiteY310" fmla="*/ 305323 h 610126"/>
                <a:gd name="connsiteX311" fmla="*/ 926149 w 926148"/>
                <a:gd name="connsiteY311" fmla="*/ 298767 h 610126"/>
                <a:gd name="connsiteX312" fmla="*/ 926149 w 926148"/>
                <a:gd name="connsiteY312" fmla="*/ 298039 h 610126"/>
                <a:gd name="connsiteX313" fmla="*/ 925316 w 926148"/>
                <a:gd name="connsiteY313" fmla="*/ 294084 h 610126"/>
                <a:gd name="connsiteX314" fmla="*/ 925316 w 926148"/>
                <a:gd name="connsiteY314" fmla="*/ 293356 h 610126"/>
                <a:gd name="connsiteX315" fmla="*/ 924172 w 926148"/>
                <a:gd name="connsiteY315" fmla="*/ 289610 h 610126"/>
                <a:gd name="connsiteX316" fmla="*/ 924172 w 926148"/>
                <a:gd name="connsiteY316" fmla="*/ 288881 h 610126"/>
                <a:gd name="connsiteX317" fmla="*/ 922611 w 926148"/>
                <a:gd name="connsiteY317" fmla="*/ 285343 h 610126"/>
                <a:gd name="connsiteX318" fmla="*/ 922611 w 926148"/>
                <a:gd name="connsiteY318" fmla="*/ 284615 h 610126"/>
                <a:gd name="connsiteX319" fmla="*/ 920738 w 926148"/>
                <a:gd name="connsiteY319" fmla="*/ 281181 h 610126"/>
                <a:gd name="connsiteX320" fmla="*/ 920738 w 926148"/>
                <a:gd name="connsiteY320" fmla="*/ 280556 h 610126"/>
                <a:gd name="connsiteX321" fmla="*/ 918552 w 926148"/>
                <a:gd name="connsiteY321" fmla="*/ 277330 h 610126"/>
                <a:gd name="connsiteX322" fmla="*/ 918552 w 926148"/>
                <a:gd name="connsiteY322" fmla="*/ 276706 h 610126"/>
                <a:gd name="connsiteX323" fmla="*/ 916055 w 926148"/>
                <a:gd name="connsiteY323" fmla="*/ 273792 h 610126"/>
                <a:gd name="connsiteX324" fmla="*/ 915534 w 926148"/>
                <a:gd name="connsiteY324" fmla="*/ 273168 h 610126"/>
                <a:gd name="connsiteX325" fmla="*/ 912829 w 926148"/>
                <a:gd name="connsiteY325" fmla="*/ 270462 h 610126"/>
                <a:gd name="connsiteX326" fmla="*/ 912829 w 926148"/>
                <a:gd name="connsiteY326" fmla="*/ 269942 h 610126"/>
                <a:gd name="connsiteX327" fmla="*/ 909915 w 926148"/>
                <a:gd name="connsiteY327" fmla="*/ 267548 h 610126"/>
                <a:gd name="connsiteX328" fmla="*/ 909291 w 926148"/>
                <a:gd name="connsiteY328" fmla="*/ 267028 h 610126"/>
                <a:gd name="connsiteX329" fmla="*/ 906065 w 926148"/>
                <a:gd name="connsiteY329" fmla="*/ 264947 h 610126"/>
                <a:gd name="connsiteX330" fmla="*/ 905440 w 926148"/>
                <a:gd name="connsiteY330" fmla="*/ 264947 h 610126"/>
                <a:gd name="connsiteX331" fmla="*/ 902006 w 926148"/>
                <a:gd name="connsiteY331" fmla="*/ 263073 h 610126"/>
                <a:gd name="connsiteX332" fmla="*/ 901382 w 926148"/>
                <a:gd name="connsiteY332" fmla="*/ 263073 h 610126"/>
                <a:gd name="connsiteX333" fmla="*/ 897740 w 926148"/>
                <a:gd name="connsiteY333" fmla="*/ 261513 h 610126"/>
                <a:gd name="connsiteX334" fmla="*/ 897011 w 926148"/>
                <a:gd name="connsiteY334" fmla="*/ 261513 h 610126"/>
                <a:gd name="connsiteX335" fmla="*/ 893265 w 926148"/>
                <a:gd name="connsiteY335" fmla="*/ 260368 h 610126"/>
                <a:gd name="connsiteX336" fmla="*/ 892537 w 926148"/>
                <a:gd name="connsiteY336" fmla="*/ 260368 h 610126"/>
                <a:gd name="connsiteX337" fmla="*/ 888582 w 926148"/>
                <a:gd name="connsiteY337" fmla="*/ 259639 h 610126"/>
                <a:gd name="connsiteX338" fmla="*/ 887854 w 926148"/>
                <a:gd name="connsiteY338" fmla="*/ 259639 h 610126"/>
                <a:gd name="connsiteX339" fmla="*/ 883171 w 926148"/>
                <a:gd name="connsiteY339" fmla="*/ 259639 h 610126"/>
                <a:gd name="connsiteX340" fmla="*/ 880570 w 926148"/>
                <a:gd name="connsiteY340" fmla="*/ 259639 h 610126"/>
                <a:gd name="connsiteX341" fmla="*/ 874014 w 926148"/>
                <a:gd name="connsiteY341" fmla="*/ 260160 h 610126"/>
                <a:gd name="connsiteX342" fmla="*/ 873285 w 926148"/>
                <a:gd name="connsiteY342" fmla="*/ 260160 h 610126"/>
                <a:gd name="connsiteX343" fmla="*/ 869331 w 926148"/>
                <a:gd name="connsiteY343" fmla="*/ 260992 h 610126"/>
                <a:gd name="connsiteX344" fmla="*/ 868603 w 926148"/>
                <a:gd name="connsiteY344" fmla="*/ 260992 h 610126"/>
                <a:gd name="connsiteX345" fmla="*/ 864856 w 926148"/>
                <a:gd name="connsiteY345" fmla="*/ 262137 h 610126"/>
                <a:gd name="connsiteX346" fmla="*/ 864128 w 926148"/>
                <a:gd name="connsiteY346" fmla="*/ 262137 h 610126"/>
                <a:gd name="connsiteX347" fmla="*/ 860486 w 926148"/>
                <a:gd name="connsiteY347" fmla="*/ 263698 h 610126"/>
                <a:gd name="connsiteX348" fmla="*/ 859757 w 926148"/>
                <a:gd name="connsiteY348" fmla="*/ 263698 h 610126"/>
                <a:gd name="connsiteX349" fmla="*/ 856427 w 926148"/>
                <a:gd name="connsiteY349" fmla="*/ 265571 h 610126"/>
                <a:gd name="connsiteX350" fmla="*/ 855803 w 926148"/>
                <a:gd name="connsiteY350" fmla="*/ 265571 h 610126"/>
                <a:gd name="connsiteX351" fmla="*/ 852577 w 926148"/>
                <a:gd name="connsiteY351" fmla="*/ 267652 h 610126"/>
                <a:gd name="connsiteX352" fmla="*/ 851953 w 926148"/>
                <a:gd name="connsiteY352" fmla="*/ 267652 h 610126"/>
                <a:gd name="connsiteX353" fmla="*/ 849039 w 926148"/>
                <a:gd name="connsiteY353" fmla="*/ 270046 h 610126"/>
                <a:gd name="connsiteX354" fmla="*/ 848415 w 926148"/>
                <a:gd name="connsiteY354" fmla="*/ 270046 h 610126"/>
                <a:gd name="connsiteX355" fmla="*/ 845709 w 926148"/>
                <a:gd name="connsiteY355" fmla="*/ 272751 h 610126"/>
                <a:gd name="connsiteX356" fmla="*/ 845709 w 926148"/>
                <a:gd name="connsiteY356" fmla="*/ 272751 h 610126"/>
                <a:gd name="connsiteX357" fmla="*/ 843316 w 926148"/>
                <a:gd name="connsiteY357" fmla="*/ 275769 h 610126"/>
                <a:gd name="connsiteX358" fmla="*/ 843316 w 926148"/>
                <a:gd name="connsiteY358" fmla="*/ 276290 h 610126"/>
                <a:gd name="connsiteX359" fmla="*/ 841234 w 926148"/>
                <a:gd name="connsiteY359" fmla="*/ 279516 h 610126"/>
                <a:gd name="connsiteX360" fmla="*/ 841234 w 926148"/>
                <a:gd name="connsiteY360" fmla="*/ 280140 h 610126"/>
                <a:gd name="connsiteX361" fmla="*/ 839361 w 926148"/>
                <a:gd name="connsiteY361" fmla="*/ 283574 h 610126"/>
                <a:gd name="connsiteX362" fmla="*/ 839361 w 926148"/>
                <a:gd name="connsiteY362" fmla="*/ 284303 h 610126"/>
                <a:gd name="connsiteX363" fmla="*/ 837800 w 926148"/>
                <a:gd name="connsiteY363" fmla="*/ 287841 h 610126"/>
                <a:gd name="connsiteX364" fmla="*/ 837800 w 926148"/>
                <a:gd name="connsiteY364" fmla="*/ 288569 h 610126"/>
                <a:gd name="connsiteX365" fmla="*/ 832493 w 926148"/>
                <a:gd name="connsiteY365" fmla="*/ 292524 h 610126"/>
                <a:gd name="connsiteX366" fmla="*/ 832493 w 926148"/>
                <a:gd name="connsiteY366" fmla="*/ 293252 h 610126"/>
                <a:gd name="connsiteX367" fmla="*/ 832493 w 926148"/>
                <a:gd name="connsiteY367" fmla="*/ 295541 h 610126"/>
                <a:gd name="connsiteX368" fmla="*/ 647992 w 926148"/>
                <a:gd name="connsiteY368" fmla="*/ 295541 h 610126"/>
                <a:gd name="connsiteX369" fmla="*/ 647992 w 926148"/>
                <a:gd name="connsiteY369" fmla="*/ 237578 h 610126"/>
                <a:gd name="connsiteX370" fmla="*/ 764021 w 926148"/>
                <a:gd name="connsiteY370" fmla="*/ 237578 h 610126"/>
                <a:gd name="connsiteX371" fmla="*/ 767247 w 926148"/>
                <a:gd name="connsiteY371" fmla="*/ 236953 h 610126"/>
                <a:gd name="connsiteX372" fmla="*/ 768391 w 926148"/>
                <a:gd name="connsiteY372" fmla="*/ 236225 h 610126"/>
                <a:gd name="connsiteX373" fmla="*/ 770264 w 926148"/>
                <a:gd name="connsiteY373" fmla="*/ 235080 h 610126"/>
                <a:gd name="connsiteX374" fmla="*/ 808767 w 926148"/>
                <a:gd name="connsiteY374" fmla="*/ 196473 h 610126"/>
                <a:gd name="connsiteX375" fmla="*/ 808767 w 926148"/>
                <a:gd name="connsiteY375" fmla="*/ 196473 h 610126"/>
                <a:gd name="connsiteX376" fmla="*/ 808767 w 926148"/>
                <a:gd name="connsiteY376" fmla="*/ 196473 h 610126"/>
                <a:gd name="connsiteX377" fmla="*/ 810640 w 926148"/>
                <a:gd name="connsiteY377" fmla="*/ 197201 h 610126"/>
                <a:gd name="connsiteX378" fmla="*/ 811265 w 926148"/>
                <a:gd name="connsiteY378" fmla="*/ 197201 h 610126"/>
                <a:gd name="connsiteX379" fmla="*/ 813242 w 926148"/>
                <a:gd name="connsiteY379" fmla="*/ 197825 h 610126"/>
                <a:gd name="connsiteX380" fmla="*/ 814074 w 926148"/>
                <a:gd name="connsiteY380" fmla="*/ 197825 h 610126"/>
                <a:gd name="connsiteX381" fmla="*/ 816051 w 926148"/>
                <a:gd name="connsiteY381" fmla="*/ 197825 h 610126"/>
                <a:gd name="connsiteX382" fmla="*/ 816884 w 926148"/>
                <a:gd name="connsiteY382" fmla="*/ 197825 h 610126"/>
                <a:gd name="connsiteX383" fmla="*/ 819798 w 926148"/>
                <a:gd name="connsiteY383" fmla="*/ 197825 h 610126"/>
                <a:gd name="connsiteX384" fmla="*/ 820942 w 926148"/>
                <a:gd name="connsiteY384" fmla="*/ 197825 h 610126"/>
                <a:gd name="connsiteX385" fmla="*/ 820942 w 926148"/>
                <a:gd name="connsiteY385" fmla="*/ 197825 h 610126"/>
                <a:gd name="connsiteX386" fmla="*/ 824793 w 926148"/>
                <a:gd name="connsiteY386" fmla="*/ 197825 h 610126"/>
                <a:gd name="connsiteX387" fmla="*/ 825521 w 926148"/>
                <a:gd name="connsiteY387" fmla="*/ 197825 h 610126"/>
                <a:gd name="connsiteX388" fmla="*/ 827602 w 926148"/>
                <a:gd name="connsiteY388" fmla="*/ 197825 h 610126"/>
                <a:gd name="connsiteX389" fmla="*/ 828331 w 926148"/>
                <a:gd name="connsiteY389" fmla="*/ 197825 h 610126"/>
                <a:gd name="connsiteX390" fmla="*/ 830308 w 926148"/>
                <a:gd name="connsiteY390" fmla="*/ 197305 h 610126"/>
                <a:gd name="connsiteX391" fmla="*/ 831036 w 926148"/>
                <a:gd name="connsiteY391" fmla="*/ 197305 h 610126"/>
                <a:gd name="connsiteX392" fmla="*/ 832910 w 926148"/>
                <a:gd name="connsiteY392" fmla="*/ 196577 h 610126"/>
                <a:gd name="connsiteX393" fmla="*/ 833638 w 926148"/>
                <a:gd name="connsiteY393" fmla="*/ 196577 h 610126"/>
                <a:gd name="connsiteX394" fmla="*/ 835407 w 926148"/>
                <a:gd name="connsiteY394" fmla="*/ 195640 h 610126"/>
                <a:gd name="connsiteX395" fmla="*/ 836031 w 926148"/>
                <a:gd name="connsiteY395" fmla="*/ 195640 h 610126"/>
                <a:gd name="connsiteX396" fmla="*/ 837696 w 926148"/>
                <a:gd name="connsiteY396" fmla="*/ 194495 h 610126"/>
                <a:gd name="connsiteX397" fmla="*/ 838321 w 926148"/>
                <a:gd name="connsiteY397" fmla="*/ 193975 h 610126"/>
                <a:gd name="connsiteX398" fmla="*/ 839882 w 926148"/>
                <a:gd name="connsiteY398" fmla="*/ 192726 h 610126"/>
                <a:gd name="connsiteX399" fmla="*/ 839882 w 926148"/>
                <a:gd name="connsiteY399" fmla="*/ 192726 h 610126"/>
                <a:gd name="connsiteX400" fmla="*/ 841338 w 926148"/>
                <a:gd name="connsiteY400" fmla="*/ 191373 h 610126"/>
                <a:gd name="connsiteX401" fmla="*/ 841338 w 926148"/>
                <a:gd name="connsiteY401" fmla="*/ 191373 h 610126"/>
                <a:gd name="connsiteX402" fmla="*/ 842691 w 926148"/>
                <a:gd name="connsiteY402" fmla="*/ 189813 h 610126"/>
                <a:gd name="connsiteX403" fmla="*/ 842691 w 926148"/>
                <a:gd name="connsiteY403" fmla="*/ 189188 h 610126"/>
                <a:gd name="connsiteX404" fmla="*/ 843836 w 926148"/>
                <a:gd name="connsiteY404" fmla="*/ 187523 h 610126"/>
                <a:gd name="connsiteX405" fmla="*/ 843836 w 926148"/>
                <a:gd name="connsiteY405" fmla="*/ 186899 h 610126"/>
                <a:gd name="connsiteX406" fmla="*/ 844773 w 926148"/>
                <a:gd name="connsiteY406" fmla="*/ 185130 h 610126"/>
                <a:gd name="connsiteX407" fmla="*/ 844773 w 926148"/>
                <a:gd name="connsiteY407" fmla="*/ 184401 h 610126"/>
                <a:gd name="connsiteX408" fmla="*/ 845605 w 926148"/>
                <a:gd name="connsiteY408" fmla="*/ 182632 h 610126"/>
                <a:gd name="connsiteX409" fmla="*/ 845605 w 926148"/>
                <a:gd name="connsiteY409" fmla="*/ 181800 h 610126"/>
                <a:gd name="connsiteX410" fmla="*/ 846229 w 926148"/>
                <a:gd name="connsiteY410" fmla="*/ 179926 h 610126"/>
                <a:gd name="connsiteX411" fmla="*/ 846229 w 926148"/>
                <a:gd name="connsiteY411" fmla="*/ 179094 h 610126"/>
                <a:gd name="connsiteX412" fmla="*/ 846229 w 926148"/>
                <a:gd name="connsiteY412" fmla="*/ 177117 h 610126"/>
                <a:gd name="connsiteX413" fmla="*/ 846229 w 926148"/>
                <a:gd name="connsiteY413" fmla="*/ 176284 h 610126"/>
                <a:gd name="connsiteX414" fmla="*/ 846229 w 926148"/>
                <a:gd name="connsiteY414" fmla="*/ 171914 h 610126"/>
                <a:gd name="connsiteX415" fmla="*/ 846229 w 926148"/>
                <a:gd name="connsiteY415" fmla="*/ 168375 h 610126"/>
                <a:gd name="connsiteX416" fmla="*/ 846229 w 926148"/>
                <a:gd name="connsiteY416" fmla="*/ 167647 h 610126"/>
                <a:gd name="connsiteX417" fmla="*/ 846229 w 926148"/>
                <a:gd name="connsiteY417" fmla="*/ 165566 h 610126"/>
                <a:gd name="connsiteX418" fmla="*/ 846229 w 926148"/>
                <a:gd name="connsiteY418" fmla="*/ 164837 h 610126"/>
                <a:gd name="connsiteX419" fmla="*/ 845605 w 926148"/>
                <a:gd name="connsiteY419" fmla="*/ 162860 h 610126"/>
                <a:gd name="connsiteX420" fmla="*/ 845605 w 926148"/>
                <a:gd name="connsiteY420" fmla="*/ 162132 h 610126"/>
                <a:gd name="connsiteX421" fmla="*/ 844877 w 926148"/>
                <a:gd name="connsiteY421" fmla="*/ 160258 h 610126"/>
                <a:gd name="connsiteX422" fmla="*/ 844877 w 926148"/>
                <a:gd name="connsiteY422" fmla="*/ 159634 h 610126"/>
                <a:gd name="connsiteX423" fmla="*/ 843940 w 926148"/>
                <a:gd name="connsiteY423" fmla="*/ 157865 h 610126"/>
                <a:gd name="connsiteX424" fmla="*/ 843940 w 926148"/>
                <a:gd name="connsiteY424" fmla="*/ 157137 h 610126"/>
                <a:gd name="connsiteX425" fmla="*/ 842795 w 926148"/>
                <a:gd name="connsiteY425" fmla="*/ 155471 h 610126"/>
                <a:gd name="connsiteX426" fmla="*/ 842795 w 926148"/>
                <a:gd name="connsiteY426" fmla="*/ 154847 h 610126"/>
                <a:gd name="connsiteX427" fmla="*/ 841547 w 926148"/>
                <a:gd name="connsiteY427" fmla="*/ 153286 h 610126"/>
                <a:gd name="connsiteX428" fmla="*/ 841547 w 926148"/>
                <a:gd name="connsiteY428" fmla="*/ 152766 h 610126"/>
                <a:gd name="connsiteX429" fmla="*/ 840090 w 926148"/>
                <a:gd name="connsiteY429" fmla="*/ 151413 h 610126"/>
                <a:gd name="connsiteX430" fmla="*/ 840090 w 926148"/>
                <a:gd name="connsiteY430" fmla="*/ 150893 h 610126"/>
                <a:gd name="connsiteX431" fmla="*/ 838529 w 926148"/>
                <a:gd name="connsiteY431" fmla="*/ 149540 h 610126"/>
                <a:gd name="connsiteX432" fmla="*/ 837904 w 926148"/>
                <a:gd name="connsiteY432" fmla="*/ 149540 h 610126"/>
                <a:gd name="connsiteX433" fmla="*/ 836239 w 926148"/>
                <a:gd name="connsiteY433" fmla="*/ 148395 h 610126"/>
                <a:gd name="connsiteX434" fmla="*/ 835615 w 926148"/>
                <a:gd name="connsiteY434" fmla="*/ 148395 h 610126"/>
                <a:gd name="connsiteX435" fmla="*/ 833846 w 926148"/>
                <a:gd name="connsiteY435" fmla="*/ 147458 h 610126"/>
                <a:gd name="connsiteX436" fmla="*/ 833222 w 926148"/>
                <a:gd name="connsiteY436" fmla="*/ 147458 h 610126"/>
                <a:gd name="connsiteX437" fmla="*/ 831349 w 926148"/>
                <a:gd name="connsiteY437" fmla="*/ 146626 h 610126"/>
                <a:gd name="connsiteX438" fmla="*/ 830620 w 926148"/>
                <a:gd name="connsiteY438" fmla="*/ 146626 h 610126"/>
                <a:gd name="connsiteX439" fmla="*/ 828643 w 926148"/>
                <a:gd name="connsiteY439" fmla="*/ 146002 h 610126"/>
                <a:gd name="connsiteX440" fmla="*/ 827915 w 926148"/>
                <a:gd name="connsiteY440" fmla="*/ 146002 h 610126"/>
                <a:gd name="connsiteX441" fmla="*/ 825833 w 926148"/>
                <a:gd name="connsiteY441" fmla="*/ 146002 h 610126"/>
                <a:gd name="connsiteX442" fmla="*/ 825001 w 926148"/>
                <a:gd name="connsiteY442" fmla="*/ 146002 h 610126"/>
                <a:gd name="connsiteX443" fmla="*/ 821775 w 926148"/>
                <a:gd name="connsiteY443" fmla="*/ 146002 h 610126"/>
                <a:gd name="connsiteX444" fmla="*/ 820734 w 926148"/>
                <a:gd name="connsiteY444" fmla="*/ 146002 h 610126"/>
                <a:gd name="connsiteX445" fmla="*/ 817092 w 926148"/>
                <a:gd name="connsiteY445" fmla="*/ 146002 h 610126"/>
                <a:gd name="connsiteX446" fmla="*/ 816364 w 926148"/>
                <a:gd name="connsiteY446" fmla="*/ 146002 h 610126"/>
                <a:gd name="connsiteX447" fmla="*/ 814387 w 926148"/>
                <a:gd name="connsiteY447" fmla="*/ 146002 h 610126"/>
                <a:gd name="connsiteX448" fmla="*/ 813554 w 926148"/>
                <a:gd name="connsiteY448" fmla="*/ 146002 h 610126"/>
                <a:gd name="connsiteX449" fmla="*/ 811681 w 926148"/>
                <a:gd name="connsiteY449" fmla="*/ 146626 h 610126"/>
                <a:gd name="connsiteX450" fmla="*/ 810848 w 926148"/>
                <a:gd name="connsiteY450" fmla="*/ 146626 h 610126"/>
                <a:gd name="connsiteX451" fmla="*/ 809079 w 926148"/>
                <a:gd name="connsiteY451" fmla="*/ 147458 h 610126"/>
                <a:gd name="connsiteX452" fmla="*/ 808351 w 926148"/>
                <a:gd name="connsiteY452" fmla="*/ 147458 h 610126"/>
                <a:gd name="connsiteX453" fmla="*/ 806582 w 926148"/>
                <a:gd name="connsiteY453" fmla="*/ 148395 h 610126"/>
                <a:gd name="connsiteX454" fmla="*/ 805853 w 926148"/>
                <a:gd name="connsiteY454" fmla="*/ 148395 h 610126"/>
                <a:gd name="connsiteX455" fmla="*/ 804188 w 926148"/>
                <a:gd name="connsiteY455" fmla="*/ 149540 h 610126"/>
                <a:gd name="connsiteX456" fmla="*/ 804188 w 926148"/>
                <a:gd name="connsiteY456" fmla="*/ 149540 h 610126"/>
                <a:gd name="connsiteX457" fmla="*/ 802628 w 926148"/>
                <a:gd name="connsiteY457" fmla="*/ 150789 h 610126"/>
                <a:gd name="connsiteX458" fmla="*/ 802628 w 926148"/>
                <a:gd name="connsiteY458" fmla="*/ 150789 h 610126"/>
                <a:gd name="connsiteX459" fmla="*/ 801171 w 926148"/>
                <a:gd name="connsiteY459" fmla="*/ 152245 h 610126"/>
                <a:gd name="connsiteX460" fmla="*/ 801171 w 926148"/>
                <a:gd name="connsiteY460" fmla="*/ 152245 h 610126"/>
                <a:gd name="connsiteX461" fmla="*/ 799922 w 926148"/>
                <a:gd name="connsiteY461" fmla="*/ 153806 h 610126"/>
                <a:gd name="connsiteX462" fmla="*/ 799922 w 926148"/>
                <a:gd name="connsiteY462" fmla="*/ 154431 h 610126"/>
                <a:gd name="connsiteX463" fmla="*/ 798881 w 926148"/>
                <a:gd name="connsiteY463" fmla="*/ 155992 h 610126"/>
                <a:gd name="connsiteX464" fmla="*/ 798881 w 926148"/>
                <a:gd name="connsiteY464" fmla="*/ 156720 h 610126"/>
                <a:gd name="connsiteX465" fmla="*/ 797841 w 926148"/>
                <a:gd name="connsiteY465" fmla="*/ 158489 h 610126"/>
                <a:gd name="connsiteX466" fmla="*/ 797841 w 926148"/>
                <a:gd name="connsiteY466" fmla="*/ 159114 h 610126"/>
                <a:gd name="connsiteX467" fmla="*/ 797112 w 926148"/>
                <a:gd name="connsiteY467" fmla="*/ 160987 h 610126"/>
                <a:gd name="connsiteX468" fmla="*/ 797112 w 926148"/>
                <a:gd name="connsiteY468" fmla="*/ 161715 h 610126"/>
                <a:gd name="connsiteX469" fmla="*/ 796488 w 926148"/>
                <a:gd name="connsiteY469" fmla="*/ 163692 h 610126"/>
                <a:gd name="connsiteX470" fmla="*/ 796488 w 926148"/>
                <a:gd name="connsiteY470" fmla="*/ 164421 h 610126"/>
                <a:gd name="connsiteX471" fmla="*/ 796488 w 926148"/>
                <a:gd name="connsiteY471" fmla="*/ 166502 h 610126"/>
                <a:gd name="connsiteX472" fmla="*/ 796488 w 926148"/>
                <a:gd name="connsiteY472" fmla="*/ 167335 h 610126"/>
                <a:gd name="connsiteX473" fmla="*/ 796488 w 926148"/>
                <a:gd name="connsiteY473" fmla="*/ 171601 h 610126"/>
                <a:gd name="connsiteX474" fmla="*/ 796488 w 926148"/>
                <a:gd name="connsiteY474" fmla="*/ 175140 h 610126"/>
                <a:gd name="connsiteX475" fmla="*/ 796488 w 926148"/>
                <a:gd name="connsiteY475" fmla="*/ 175972 h 610126"/>
                <a:gd name="connsiteX476" fmla="*/ 796488 w 926148"/>
                <a:gd name="connsiteY476" fmla="*/ 177949 h 610126"/>
                <a:gd name="connsiteX477" fmla="*/ 796488 w 926148"/>
                <a:gd name="connsiteY477" fmla="*/ 178782 h 610126"/>
                <a:gd name="connsiteX478" fmla="*/ 796488 w 926148"/>
                <a:gd name="connsiteY478" fmla="*/ 180759 h 610126"/>
                <a:gd name="connsiteX479" fmla="*/ 796488 w 926148"/>
                <a:gd name="connsiteY479" fmla="*/ 181383 h 610126"/>
                <a:gd name="connsiteX480" fmla="*/ 797216 w 926148"/>
                <a:gd name="connsiteY480" fmla="*/ 183360 h 610126"/>
                <a:gd name="connsiteX481" fmla="*/ 797216 w 926148"/>
                <a:gd name="connsiteY481" fmla="*/ 183360 h 610126"/>
                <a:gd name="connsiteX482" fmla="*/ 759650 w 926148"/>
                <a:gd name="connsiteY482" fmla="*/ 218742 h 610126"/>
                <a:gd name="connsiteX483" fmla="*/ 647992 w 926148"/>
                <a:gd name="connsiteY483" fmla="*/ 218742 h 610126"/>
                <a:gd name="connsiteX484" fmla="*/ 647992 w 926148"/>
                <a:gd name="connsiteY484" fmla="*/ 160883 h 610126"/>
                <a:gd name="connsiteX485" fmla="*/ 686807 w 926148"/>
                <a:gd name="connsiteY485" fmla="*/ 160883 h 610126"/>
                <a:gd name="connsiteX486" fmla="*/ 687535 w 926148"/>
                <a:gd name="connsiteY486" fmla="*/ 160883 h 610126"/>
                <a:gd name="connsiteX487" fmla="*/ 690449 w 926148"/>
                <a:gd name="connsiteY487" fmla="*/ 160362 h 610126"/>
                <a:gd name="connsiteX488" fmla="*/ 692843 w 926148"/>
                <a:gd name="connsiteY488" fmla="*/ 158801 h 610126"/>
                <a:gd name="connsiteX489" fmla="*/ 693571 w 926148"/>
                <a:gd name="connsiteY489" fmla="*/ 158801 h 610126"/>
                <a:gd name="connsiteX490" fmla="*/ 731970 w 926148"/>
                <a:gd name="connsiteY490" fmla="*/ 120402 h 610126"/>
                <a:gd name="connsiteX491" fmla="*/ 731970 w 926148"/>
                <a:gd name="connsiteY491" fmla="*/ 120402 h 610126"/>
                <a:gd name="connsiteX492" fmla="*/ 733843 w 926148"/>
                <a:gd name="connsiteY492" fmla="*/ 121234 h 610126"/>
                <a:gd name="connsiteX493" fmla="*/ 734571 w 926148"/>
                <a:gd name="connsiteY493" fmla="*/ 121234 h 610126"/>
                <a:gd name="connsiteX494" fmla="*/ 736548 w 926148"/>
                <a:gd name="connsiteY494" fmla="*/ 121859 h 610126"/>
                <a:gd name="connsiteX495" fmla="*/ 737277 w 926148"/>
                <a:gd name="connsiteY495" fmla="*/ 121859 h 610126"/>
                <a:gd name="connsiteX496" fmla="*/ 739254 w 926148"/>
                <a:gd name="connsiteY496" fmla="*/ 121859 h 610126"/>
                <a:gd name="connsiteX497" fmla="*/ 740087 w 926148"/>
                <a:gd name="connsiteY497" fmla="*/ 121859 h 610126"/>
                <a:gd name="connsiteX498" fmla="*/ 743729 w 926148"/>
                <a:gd name="connsiteY498" fmla="*/ 121859 h 610126"/>
                <a:gd name="connsiteX499" fmla="*/ 743729 w 926148"/>
                <a:gd name="connsiteY499" fmla="*/ 121859 h 610126"/>
                <a:gd name="connsiteX500" fmla="*/ 747683 w 926148"/>
                <a:gd name="connsiteY500" fmla="*/ 121859 h 610126"/>
                <a:gd name="connsiteX501" fmla="*/ 749244 w 926148"/>
                <a:gd name="connsiteY501" fmla="*/ 121859 h 610126"/>
                <a:gd name="connsiteX502" fmla="*/ 751221 w 926148"/>
                <a:gd name="connsiteY502" fmla="*/ 121859 h 610126"/>
                <a:gd name="connsiteX503" fmla="*/ 752054 w 926148"/>
                <a:gd name="connsiteY503" fmla="*/ 121859 h 610126"/>
                <a:gd name="connsiteX504" fmla="*/ 753927 w 926148"/>
                <a:gd name="connsiteY504" fmla="*/ 121234 h 610126"/>
                <a:gd name="connsiteX505" fmla="*/ 754655 w 926148"/>
                <a:gd name="connsiteY505" fmla="*/ 121234 h 610126"/>
                <a:gd name="connsiteX506" fmla="*/ 756528 w 926148"/>
                <a:gd name="connsiteY506" fmla="*/ 120402 h 610126"/>
                <a:gd name="connsiteX507" fmla="*/ 757257 w 926148"/>
                <a:gd name="connsiteY507" fmla="*/ 120402 h 610126"/>
                <a:gd name="connsiteX508" fmla="*/ 759026 w 926148"/>
                <a:gd name="connsiteY508" fmla="*/ 119465 h 610126"/>
                <a:gd name="connsiteX509" fmla="*/ 759650 w 926148"/>
                <a:gd name="connsiteY509" fmla="*/ 119465 h 610126"/>
                <a:gd name="connsiteX510" fmla="*/ 761315 w 926148"/>
                <a:gd name="connsiteY510" fmla="*/ 118321 h 610126"/>
                <a:gd name="connsiteX511" fmla="*/ 761939 w 926148"/>
                <a:gd name="connsiteY511" fmla="*/ 118321 h 610126"/>
                <a:gd name="connsiteX512" fmla="*/ 763500 w 926148"/>
                <a:gd name="connsiteY512" fmla="*/ 117072 h 610126"/>
                <a:gd name="connsiteX513" fmla="*/ 763500 w 926148"/>
                <a:gd name="connsiteY513" fmla="*/ 116552 h 610126"/>
                <a:gd name="connsiteX514" fmla="*/ 764957 w 926148"/>
                <a:gd name="connsiteY514" fmla="*/ 115199 h 610126"/>
                <a:gd name="connsiteX515" fmla="*/ 764957 w 926148"/>
                <a:gd name="connsiteY515" fmla="*/ 114574 h 610126"/>
                <a:gd name="connsiteX516" fmla="*/ 766206 w 926148"/>
                <a:gd name="connsiteY516" fmla="*/ 113013 h 610126"/>
                <a:gd name="connsiteX517" fmla="*/ 766206 w 926148"/>
                <a:gd name="connsiteY517" fmla="*/ 112493 h 610126"/>
                <a:gd name="connsiteX518" fmla="*/ 767351 w 926148"/>
                <a:gd name="connsiteY518" fmla="*/ 110828 h 610126"/>
                <a:gd name="connsiteX519" fmla="*/ 767351 w 926148"/>
                <a:gd name="connsiteY519" fmla="*/ 110100 h 610126"/>
                <a:gd name="connsiteX520" fmla="*/ 768287 w 926148"/>
                <a:gd name="connsiteY520" fmla="*/ 108435 h 610126"/>
                <a:gd name="connsiteX521" fmla="*/ 768287 w 926148"/>
                <a:gd name="connsiteY521" fmla="*/ 107706 h 610126"/>
                <a:gd name="connsiteX522" fmla="*/ 769016 w 926148"/>
                <a:gd name="connsiteY522" fmla="*/ 105833 h 610126"/>
                <a:gd name="connsiteX523" fmla="*/ 769016 w 926148"/>
                <a:gd name="connsiteY523" fmla="*/ 105105 h 610126"/>
                <a:gd name="connsiteX524" fmla="*/ 769640 w 926148"/>
                <a:gd name="connsiteY524" fmla="*/ 103127 h 610126"/>
                <a:gd name="connsiteX525" fmla="*/ 769640 w 926148"/>
                <a:gd name="connsiteY525" fmla="*/ 102399 h 610126"/>
                <a:gd name="connsiteX526" fmla="*/ 769640 w 926148"/>
                <a:gd name="connsiteY526" fmla="*/ 100318 h 610126"/>
                <a:gd name="connsiteX527" fmla="*/ 769640 w 926148"/>
                <a:gd name="connsiteY527" fmla="*/ 99589 h 610126"/>
                <a:gd name="connsiteX528" fmla="*/ 769640 w 926148"/>
                <a:gd name="connsiteY528" fmla="*/ 96259 h 610126"/>
                <a:gd name="connsiteX529" fmla="*/ 769640 w 926148"/>
                <a:gd name="connsiteY529" fmla="*/ 95218 h 610126"/>
                <a:gd name="connsiteX530" fmla="*/ 769640 w 926148"/>
                <a:gd name="connsiteY530" fmla="*/ 91576 h 610126"/>
                <a:gd name="connsiteX531" fmla="*/ 769640 w 926148"/>
                <a:gd name="connsiteY531" fmla="*/ 90848 h 610126"/>
                <a:gd name="connsiteX532" fmla="*/ 769640 w 926148"/>
                <a:gd name="connsiteY532" fmla="*/ 88870 h 610126"/>
                <a:gd name="connsiteX533" fmla="*/ 769640 w 926148"/>
                <a:gd name="connsiteY533" fmla="*/ 88038 h 610126"/>
                <a:gd name="connsiteX534" fmla="*/ 769640 w 926148"/>
                <a:gd name="connsiteY534" fmla="*/ 86165 h 610126"/>
                <a:gd name="connsiteX535" fmla="*/ 769640 w 926148"/>
                <a:gd name="connsiteY535" fmla="*/ 85437 h 610126"/>
                <a:gd name="connsiteX536" fmla="*/ 768807 w 926148"/>
                <a:gd name="connsiteY536" fmla="*/ 83459 h 610126"/>
                <a:gd name="connsiteX537" fmla="*/ 768807 w 926148"/>
                <a:gd name="connsiteY537" fmla="*/ 82835 h 610126"/>
                <a:gd name="connsiteX538" fmla="*/ 767871 w 926148"/>
                <a:gd name="connsiteY538" fmla="*/ 81066 h 610126"/>
                <a:gd name="connsiteX539" fmla="*/ 767871 w 926148"/>
                <a:gd name="connsiteY539" fmla="*/ 80441 h 610126"/>
                <a:gd name="connsiteX540" fmla="*/ 766830 w 926148"/>
                <a:gd name="connsiteY540" fmla="*/ 78776 h 610126"/>
                <a:gd name="connsiteX541" fmla="*/ 766830 w 926148"/>
                <a:gd name="connsiteY541" fmla="*/ 78152 h 610126"/>
                <a:gd name="connsiteX542" fmla="*/ 765582 w 926148"/>
                <a:gd name="connsiteY542" fmla="*/ 76591 h 610126"/>
                <a:gd name="connsiteX543" fmla="*/ 765582 w 926148"/>
                <a:gd name="connsiteY543" fmla="*/ 76071 h 610126"/>
                <a:gd name="connsiteX544" fmla="*/ 764229 w 926148"/>
                <a:gd name="connsiteY544" fmla="*/ 74614 h 610126"/>
                <a:gd name="connsiteX545" fmla="*/ 763604 w 926148"/>
                <a:gd name="connsiteY545" fmla="*/ 74614 h 610126"/>
                <a:gd name="connsiteX546" fmla="*/ 762148 w 926148"/>
                <a:gd name="connsiteY546" fmla="*/ 73365 h 610126"/>
                <a:gd name="connsiteX547" fmla="*/ 761523 w 926148"/>
                <a:gd name="connsiteY547" fmla="*/ 72845 h 610126"/>
                <a:gd name="connsiteX548" fmla="*/ 759858 w 926148"/>
                <a:gd name="connsiteY548" fmla="*/ 71804 h 610126"/>
                <a:gd name="connsiteX549" fmla="*/ 759234 w 926148"/>
                <a:gd name="connsiteY549" fmla="*/ 71804 h 610126"/>
                <a:gd name="connsiteX550" fmla="*/ 757465 w 926148"/>
                <a:gd name="connsiteY550" fmla="*/ 70867 h 610126"/>
                <a:gd name="connsiteX551" fmla="*/ 756736 w 926148"/>
                <a:gd name="connsiteY551" fmla="*/ 70867 h 610126"/>
                <a:gd name="connsiteX552" fmla="*/ 754863 w 926148"/>
                <a:gd name="connsiteY552" fmla="*/ 70139 h 610126"/>
                <a:gd name="connsiteX553" fmla="*/ 754135 w 926148"/>
                <a:gd name="connsiteY553" fmla="*/ 70139 h 610126"/>
                <a:gd name="connsiteX554" fmla="*/ 752262 w 926148"/>
                <a:gd name="connsiteY554" fmla="*/ 69515 h 610126"/>
                <a:gd name="connsiteX555" fmla="*/ 751429 w 926148"/>
                <a:gd name="connsiteY555" fmla="*/ 69515 h 610126"/>
                <a:gd name="connsiteX556" fmla="*/ 749452 w 926148"/>
                <a:gd name="connsiteY556" fmla="*/ 69515 h 610126"/>
                <a:gd name="connsiteX557" fmla="*/ 748620 w 926148"/>
                <a:gd name="connsiteY557" fmla="*/ 69515 h 610126"/>
                <a:gd name="connsiteX558" fmla="*/ 744249 w 926148"/>
                <a:gd name="connsiteY558" fmla="*/ 69515 h 610126"/>
                <a:gd name="connsiteX559" fmla="*/ 740711 w 926148"/>
                <a:gd name="connsiteY559" fmla="*/ 69515 h 610126"/>
                <a:gd name="connsiteX560" fmla="*/ 739878 w 926148"/>
                <a:gd name="connsiteY560" fmla="*/ 69515 h 610126"/>
                <a:gd name="connsiteX561" fmla="*/ 737797 w 926148"/>
                <a:gd name="connsiteY561" fmla="*/ 69515 h 610126"/>
                <a:gd name="connsiteX562" fmla="*/ 737069 w 926148"/>
                <a:gd name="connsiteY562" fmla="*/ 69515 h 610126"/>
                <a:gd name="connsiteX563" fmla="*/ 735092 w 926148"/>
                <a:gd name="connsiteY563" fmla="*/ 69515 h 610126"/>
                <a:gd name="connsiteX564" fmla="*/ 734363 w 926148"/>
                <a:gd name="connsiteY564" fmla="*/ 69515 h 610126"/>
                <a:gd name="connsiteX565" fmla="*/ 732490 w 926148"/>
                <a:gd name="connsiteY565" fmla="*/ 70347 h 610126"/>
                <a:gd name="connsiteX566" fmla="*/ 731762 w 926148"/>
                <a:gd name="connsiteY566" fmla="*/ 70347 h 610126"/>
                <a:gd name="connsiteX567" fmla="*/ 729993 w 926148"/>
                <a:gd name="connsiteY567" fmla="*/ 71284 h 610126"/>
                <a:gd name="connsiteX568" fmla="*/ 729368 w 926148"/>
                <a:gd name="connsiteY568" fmla="*/ 71284 h 610126"/>
                <a:gd name="connsiteX569" fmla="*/ 727703 w 926148"/>
                <a:gd name="connsiteY569" fmla="*/ 72324 h 610126"/>
                <a:gd name="connsiteX570" fmla="*/ 727079 w 926148"/>
                <a:gd name="connsiteY570" fmla="*/ 72845 h 610126"/>
                <a:gd name="connsiteX571" fmla="*/ 725518 w 926148"/>
                <a:gd name="connsiteY571" fmla="*/ 74093 h 610126"/>
                <a:gd name="connsiteX572" fmla="*/ 725518 w 926148"/>
                <a:gd name="connsiteY572" fmla="*/ 74093 h 610126"/>
                <a:gd name="connsiteX573" fmla="*/ 724061 w 926148"/>
                <a:gd name="connsiteY573" fmla="*/ 75446 h 610126"/>
                <a:gd name="connsiteX574" fmla="*/ 724061 w 926148"/>
                <a:gd name="connsiteY574" fmla="*/ 75967 h 610126"/>
                <a:gd name="connsiteX575" fmla="*/ 722708 w 926148"/>
                <a:gd name="connsiteY575" fmla="*/ 77528 h 610126"/>
                <a:gd name="connsiteX576" fmla="*/ 722708 w 926148"/>
                <a:gd name="connsiteY576" fmla="*/ 78152 h 610126"/>
                <a:gd name="connsiteX577" fmla="*/ 721563 w 926148"/>
                <a:gd name="connsiteY577" fmla="*/ 79817 h 610126"/>
                <a:gd name="connsiteX578" fmla="*/ 721563 w 926148"/>
                <a:gd name="connsiteY578" fmla="*/ 80441 h 610126"/>
                <a:gd name="connsiteX579" fmla="*/ 720627 w 926148"/>
                <a:gd name="connsiteY579" fmla="*/ 82210 h 610126"/>
                <a:gd name="connsiteX580" fmla="*/ 720627 w 926148"/>
                <a:gd name="connsiteY580" fmla="*/ 82939 h 610126"/>
                <a:gd name="connsiteX581" fmla="*/ 719794 w 926148"/>
                <a:gd name="connsiteY581" fmla="*/ 84812 h 610126"/>
                <a:gd name="connsiteX582" fmla="*/ 719794 w 926148"/>
                <a:gd name="connsiteY582" fmla="*/ 85541 h 610126"/>
                <a:gd name="connsiteX583" fmla="*/ 719794 w 926148"/>
                <a:gd name="connsiteY583" fmla="*/ 87414 h 610126"/>
                <a:gd name="connsiteX584" fmla="*/ 719794 w 926148"/>
                <a:gd name="connsiteY584" fmla="*/ 88246 h 610126"/>
                <a:gd name="connsiteX585" fmla="*/ 719794 w 926148"/>
                <a:gd name="connsiteY585" fmla="*/ 90223 h 610126"/>
                <a:gd name="connsiteX586" fmla="*/ 719794 w 926148"/>
                <a:gd name="connsiteY586" fmla="*/ 91056 h 610126"/>
                <a:gd name="connsiteX587" fmla="*/ 719794 w 926148"/>
                <a:gd name="connsiteY587" fmla="*/ 94282 h 610126"/>
                <a:gd name="connsiteX588" fmla="*/ 719794 w 926148"/>
                <a:gd name="connsiteY588" fmla="*/ 95427 h 610126"/>
                <a:gd name="connsiteX589" fmla="*/ 719794 w 926148"/>
                <a:gd name="connsiteY589" fmla="*/ 98965 h 610126"/>
                <a:gd name="connsiteX590" fmla="*/ 719794 w 926148"/>
                <a:gd name="connsiteY590" fmla="*/ 99693 h 610126"/>
                <a:gd name="connsiteX591" fmla="*/ 719794 w 926148"/>
                <a:gd name="connsiteY591" fmla="*/ 101670 h 610126"/>
                <a:gd name="connsiteX592" fmla="*/ 719794 w 926148"/>
                <a:gd name="connsiteY592" fmla="*/ 102503 h 610126"/>
                <a:gd name="connsiteX593" fmla="*/ 720419 w 926148"/>
                <a:gd name="connsiteY593" fmla="*/ 104480 h 610126"/>
                <a:gd name="connsiteX594" fmla="*/ 720419 w 926148"/>
                <a:gd name="connsiteY594" fmla="*/ 105209 h 610126"/>
                <a:gd name="connsiteX595" fmla="*/ 721251 w 926148"/>
                <a:gd name="connsiteY595" fmla="*/ 107082 h 610126"/>
                <a:gd name="connsiteX596" fmla="*/ 721251 w 926148"/>
                <a:gd name="connsiteY596" fmla="*/ 107082 h 610126"/>
                <a:gd name="connsiteX597" fmla="*/ 721251 w 926148"/>
                <a:gd name="connsiteY597" fmla="*/ 107082 h 610126"/>
                <a:gd name="connsiteX598" fmla="*/ 685662 w 926148"/>
                <a:gd name="connsiteY598" fmla="*/ 142776 h 610126"/>
                <a:gd name="connsiteX599" fmla="*/ 647992 w 926148"/>
                <a:gd name="connsiteY599" fmla="*/ 142776 h 610126"/>
                <a:gd name="connsiteX600" fmla="*/ 647992 w 926148"/>
                <a:gd name="connsiteY600" fmla="*/ 50367 h 610126"/>
                <a:gd name="connsiteX601" fmla="*/ 647472 w 926148"/>
                <a:gd name="connsiteY601" fmla="*/ 43707 h 610126"/>
                <a:gd name="connsiteX602" fmla="*/ 646535 w 926148"/>
                <a:gd name="connsiteY602" fmla="*/ 38816 h 610126"/>
                <a:gd name="connsiteX603" fmla="*/ 645078 w 926148"/>
                <a:gd name="connsiteY603" fmla="*/ 34029 h 610126"/>
                <a:gd name="connsiteX604" fmla="*/ 643205 w 926148"/>
                <a:gd name="connsiteY604" fmla="*/ 29450 h 610126"/>
                <a:gd name="connsiteX605" fmla="*/ 640916 w 926148"/>
                <a:gd name="connsiteY605" fmla="*/ 25288 h 610126"/>
                <a:gd name="connsiteX606" fmla="*/ 638210 w 926148"/>
                <a:gd name="connsiteY606" fmla="*/ 21229 h 610126"/>
                <a:gd name="connsiteX607" fmla="*/ 631862 w 926148"/>
                <a:gd name="connsiteY607" fmla="*/ 14049 h 610126"/>
                <a:gd name="connsiteX608" fmla="*/ 624370 w 926148"/>
                <a:gd name="connsiteY608" fmla="*/ 7389 h 610126"/>
                <a:gd name="connsiteX609" fmla="*/ 620103 w 926148"/>
                <a:gd name="connsiteY609" fmla="*/ 5099 h 610126"/>
                <a:gd name="connsiteX610" fmla="*/ 615629 w 926148"/>
                <a:gd name="connsiteY610" fmla="*/ 3122 h 610126"/>
                <a:gd name="connsiteX611" fmla="*/ 610842 w 926148"/>
                <a:gd name="connsiteY611" fmla="*/ 1665 h 610126"/>
                <a:gd name="connsiteX612" fmla="*/ 606055 w 926148"/>
                <a:gd name="connsiteY612" fmla="*/ 624 h 610126"/>
                <a:gd name="connsiteX613" fmla="*/ 598355 w 926148"/>
                <a:gd name="connsiteY613" fmla="*/ 0 h 610126"/>
                <a:gd name="connsiteX614" fmla="*/ 328419 w 926148"/>
                <a:gd name="connsiteY614" fmla="*/ 0 h 610126"/>
                <a:gd name="connsiteX615" fmla="*/ 321863 w 926148"/>
                <a:gd name="connsiteY615" fmla="*/ 520 h 610126"/>
                <a:gd name="connsiteX616" fmla="*/ 316868 w 926148"/>
                <a:gd name="connsiteY616" fmla="*/ 1457 h 610126"/>
                <a:gd name="connsiteX617" fmla="*/ 312081 w 926148"/>
                <a:gd name="connsiteY617" fmla="*/ 2914 h 610126"/>
                <a:gd name="connsiteX618" fmla="*/ 307606 w 926148"/>
                <a:gd name="connsiteY618" fmla="*/ 4683 h 610126"/>
                <a:gd name="connsiteX619" fmla="*/ 299281 w 926148"/>
                <a:gd name="connsiteY619" fmla="*/ 9678 h 610126"/>
                <a:gd name="connsiteX620" fmla="*/ 295639 w 926148"/>
                <a:gd name="connsiteY620" fmla="*/ 12696 h 610126"/>
                <a:gd name="connsiteX621" fmla="*/ 288979 w 926148"/>
                <a:gd name="connsiteY621" fmla="*/ 19772 h 610126"/>
                <a:gd name="connsiteX622" fmla="*/ 286378 w 926148"/>
                <a:gd name="connsiteY622" fmla="*/ 23727 h 610126"/>
                <a:gd name="connsiteX623" fmla="*/ 283984 w 926148"/>
                <a:gd name="connsiteY623" fmla="*/ 27889 h 610126"/>
                <a:gd name="connsiteX624" fmla="*/ 282007 w 926148"/>
                <a:gd name="connsiteY624" fmla="*/ 32468 h 610126"/>
                <a:gd name="connsiteX625" fmla="*/ 280550 w 926148"/>
                <a:gd name="connsiteY625" fmla="*/ 37151 h 610126"/>
                <a:gd name="connsiteX626" fmla="*/ 279510 w 926148"/>
                <a:gd name="connsiteY626" fmla="*/ 42042 h 610126"/>
                <a:gd name="connsiteX627" fmla="*/ 278885 w 926148"/>
                <a:gd name="connsiteY627" fmla="*/ 49743 h 610126"/>
                <a:gd name="connsiteX628" fmla="*/ 278885 w 926148"/>
                <a:gd name="connsiteY628" fmla="*/ 49743 h 610126"/>
                <a:gd name="connsiteX629" fmla="*/ 278885 w 926148"/>
                <a:gd name="connsiteY629" fmla="*/ 49743 h 610126"/>
                <a:gd name="connsiteX630" fmla="*/ 278885 w 926148"/>
                <a:gd name="connsiteY630" fmla="*/ 141631 h 610126"/>
                <a:gd name="connsiteX631" fmla="*/ 243921 w 926148"/>
                <a:gd name="connsiteY631" fmla="*/ 141631 h 610126"/>
                <a:gd name="connsiteX632" fmla="*/ 208123 w 926148"/>
                <a:gd name="connsiteY632" fmla="*/ 106249 h 610126"/>
                <a:gd name="connsiteX633" fmla="*/ 208123 w 926148"/>
                <a:gd name="connsiteY633" fmla="*/ 106249 h 610126"/>
                <a:gd name="connsiteX634" fmla="*/ 208123 w 926148"/>
                <a:gd name="connsiteY634" fmla="*/ 106249 h 610126"/>
                <a:gd name="connsiteX635" fmla="*/ 208852 w 926148"/>
                <a:gd name="connsiteY635" fmla="*/ 104376 h 610126"/>
                <a:gd name="connsiteX636" fmla="*/ 208852 w 926148"/>
                <a:gd name="connsiteY636" fmla="*/ 103648 h 610126"/>
                <a:gd name="connsiteX637" fmla="*/ 209476 w 926148"/>
                <a:gd name="connsiteY637" fmla="*/ 101670 h 610126"/>
                <a:gd name="connsiteX638" fmla="*/ 209476 w 926148"/>
                <a:gd name="connsiteY638" fmla="*/ 100942 h 610126"/>
                <a:gd name="connsiteX639" fmla="*/ 209476 w 926148"/>
                <a:gd name="connsiteY639" fmla="*/ 98861 h 610126"/>
                <a:gd name="connsiteX640" fmla="*/ 209476 w 926148"/>
                <a:gd name="connsiteY640" fmla="*/ 98132 h 610126"/>
                <a:gd name="connsiteX641" fmla="*/ 209476 w 926148"/>
                <a:gd name="connsiteY641" fmla="*/ 95427 h 610126"/>
                <a:gd name="connsiteX642" fmla="*/ 209476 w 926148"/>
                <a:gd name="connsiteY642" fmla="*/ 93970 h 610126"/>
                <a:gd name="connsiteX643" fmla="*/ 209476 w 926148"/>
                <a:gd name="connsiteY643" fmla="*/ 90223 h 610126"/>
                <a:gd name="connsiteX644" fmla="*/ 209476 w 926148"/>
                <a:gd name="connsiteY644" fmla="*/ 89391 h 610126"/>
                <a:gd name="connsiteX645" fmla="*/ 209476 w 926148"/>
                <a:gd name="connsiteY645" fmla="*/ 87310 h 610126"/>
                <a:gd name="connsiteX646" fmla="*/ 209476 w 926148"/>
                <a:gd name="connsiteY646" fmla="*/ 86581 h 610126"/>
                <a:gd name="connsiteX647" fmla="*/ 208852 w 926148"/>
                <a:gd name="connsiteY647" fmla="*/ 84708 h 610126"/>
                <a:gd name="connsiteX648" fmla="*/ 208852 w 926148"/>
                <a:gd name="connsiteY648" fmla="*/ 83980 h 610126"/>
                <a:gd name="connsiteX649" fmla="*/ 208019 w 926148"/>
                <a:gd name="connsiteY649" fmla="*/ 82106 h 610126"/>
                <a:gd name="connsiteX650" fmla="*/ 208019 w 926148"/>
                <a:gd name="connsiteY650" fmla="*/ 81378 h 610126"/>
                <a:gd name="connsiteX651" fmla="*/ 207083 w 926148"/>
                <a:gd name="connsiteY651" fmla="*/ 79609 h 610126"/>
                <a:gd name="connsiteX652" fmla="*/ 207083 w 926148"/>
                <a:gd name="connsiteY652" fmla="*/ 78984 h 610126"/>
                <a:gd name="connsiteX653" fmla="*/ 205938 w 926148"/>
                <a:gd name="connsiteY653" fmla="*/ 77320 h 610126"/>
                <a:gd name="connsiteX654" fmla="*/ 205418 w 926148"/>
                <a:gd name="connsiteY654" fmla="*/ 76695 h 610126"/>
                <a:gd name="connsiteX655" fmla="*/ 204169 w 926148"/>
                <a:gd name="connsiteY655" fmla="*/ 75134 h 610126"/>
                <a:gd name="connsiteX656" fmla="*/ 204169 w 926148"/>
                <a:gd name="connsiteY656" fmla="*/ 74614 h 610126"/>
                <a:gd name="connsiteX657" fmla="*/ 202816 w 926148"/>
                <a:gd name="connsiteY657" fmla="*/ 73261 h 610126"/>
                <a:gd name="connsiteX658" fmla="*/ 202192 w 926148"/>
                <a:gd name="connsiteY658" fmla="*/ 73261 h 610126"/>
                <a:gd name="connsiteX659" fmla="*/ 200631 w 926148"/>
                <a:gd name="connsiteY659" fmla="*/ 72012 h 610126"/>
                <a:gd name="connsiteX660" fmla="*/ 200111 w 926148"/>
                <a:gd name="connsiteY660" fmla="*/ 71492 h 610126"/>
                <a:gd name="connsiteX661" fmla="*/ 198446 w 926148"/>
                <a:gd name="connsiteY661" fmla="*/ 70451 h 610126"/>
                <a:gd name="connsiteX662" fmla="*/ 197717 w 926148"/>
                <a:gd name="connsiteY662" fmla="*/ 70451 h 610126"/>
                <a:gd name="connsiteX663" fmla="*/ 195948 w 926148"/>
                <a:gd name="connsiteY663" fmla="*/ 69515 h 610126"/>
                <a:gd name="connsiteX664" fmla="*/ 195324 w 926148"/>
                <a:gd name="connsiteY664" fmla="*/ 69515 h 610126"/>
                <a:gd name="connsiteX665" fmla="*/ 193451 w 926148"/>
                <a:gd name="connsiteY665" fmla="*/ 68682 h 610126"/>
                <a:gd name="connsiteX666" fmla="*/ 192722 w 926148"/>
                <a:gd name="connsiteY666" fmla="*/ 68682 h 610126"/>
                <a:gd name="connsiteX667" fmla="*/ 190745 w 926148"/>
                <a:gd name="connsiteY667" fmla="*/ 68682 h 610126"/>
                <a:gd name="connsiteX668" fmla="*/ 190017 w 926148"/>
                <a:gd name="connsiteY668" fmla="*/ 68682 h 610126"/>
                <a:gd name="connsiteX669" fmla="*/ 187935 w 926148"/>
                <a:gd name="connsiteY669" fmla="*/ 68682 h 610126"/>
                <a:gd name="connsiteX670" fmla="*/ 187103 w 926148"/>
                <a:gd name="connsiteY670" fmla="*/ 68682 h 610126"/>
                <a:gd name="connsiteX671" fmla="*/ 182940 w 926148"/>
                <a:gd name="connsiteY671" fmla="*/ 68682 h 610126"/>
                <a:gd name="connsiteX672" fmla="*/ 179194 w 926148"/>
                <a:gd name="connsiteY672" fmla="*/ 68682 h 610126"/>
                <a:gd name="connsiteX673" fmla="*/ 178466 w 926148"/>
                <a:gd name="connsiteY673" fmla="*/ 68682 h 610126"/>
                <a:gd name="connsiteX674" fmla="*/ 176385 w 926148"/>
                <a:gd name="connsiteY674" fmla="*/ 68682 h 610126"/>
                <a:gd name="connsiteX675" fmla="*/ 175656 w 926148"/>
                <a:gd name="connsiteY675" fmla="*/ 68682 h 610126"/>
                <a:gd name="connsiteX676" fmla="*/ 173679 w 926148"/>
                <a:gd name="connsiteY676" fmla="*/ 69307 h 610126"/>
                <a:gd name="connsiteX677" fmla="*/ 172950 w 926148"/>
                <a:gd name="connsiteY677" fmla="*/ 69307 h 610126"/>
                <a:gd name="connsiteX678" fmla="*/ 171077 w 926148"/>
                <a:gd name="connsiteY678" fmla="*/ 70035 h 610126"/>
                <a:gd name="connsiteX679" fmla="*/ 170453 w 926148"/>
                <a:gd name="connsiteY679" fmla="*/ 70035 h 610126"/>
                <a:gd name="connsiteX680" fmla="*/ 168684 w 926148"/>
                <a:gd name="connsiteY680" fmla="*/ 70972 h 610126"/>
                <a:gd name="connsiteX681" fmla="*/ 168060 w 926148"/>
                <a:gd name="connsiteY681" fmla="*/ 70972 h 610126"/>
                <a:gd name="connsiteX682" fmla="*/ 166395 w 926148"/>
                <a:gd name="connsiteY682" fmla="*/ 72116 h 610126"/>
                <a:gd name="connsiteX683" fmla="*/ 165770 w 926148"/>
                <a:gd name="connsiteY683" fmla="*/ 72116 h 610126"/>
                <a:gd name="connsiteX684" fmla="*/ 164209 w 926148"/>
                <a:gd name="connsiteY684" fmla="*/ 73365 h 610126"/>
                <a:gd name="connsiteX685" fmla="*/ 164209 w 926148"/>
                <a:gd name="connsiteY685" fmla="*/ 73365 h 610126"/>
                <a:gd name="connsiteX686" fmla="*/ 162752 w 926148"/>
                <a:gd name="connsiteY686" fmla="*/ 74822 h 610126"/>
                <a:gd name="connsiteX687" fmla="*/ 162752 w 926148"/>
                <a:gd name="connsiteY687" fmla="*/ 75342 h 610126"/>
                <a:gd name="connsiteX688" fmla="*/ 161400 w 926148"/>
                <a:gd name="connsiteY688" fmla="*/ 76903 h 610126"/>
                <a:gd name="connsiteX689" fmla="*/ 161400 w 926148"/>
                <a:gd name="connsiteY689" fmla="*/ 77528 h 610126"/>
                <a:gd name="connsiteX690" fmla="*/ 160255 w 926148"/>
                <a:gd name="connsiteY690" fmla="*/ 79193 h 610126"/>
                <a:gd name="connsiteX691" fmla="*/ 160255 w 926148"/>
                <a:gd name="connsiteY691" fmla="*/ 79817 h 610126"/>
                <a:gd name="connsiteX692" fmla="*/ 159214 w 926148"/>
                <a:gd name="connsiteY692" fmla="*/ 81586 h 610126"/>
                <a:gd name="connsiteX693" fmla="*/ 159214 w 926148"/>
                <a:gd name="connsiteY693" fmla="*/ 82315 h 610126"/>
                <a:gd name="connsiteX694" fmla="*/ 158486 w 926148"/>
                <a:gd name="connsiteY694" fmla="*/ 84084 h 610126"/>
                <a:gd name="connsiteX695" fmla="*/ 158486 w 926148"/>
                <a:gd name="connsiteY695" fmla="*/ 84916 h 610126"/>
                <a:gd name="connsiteX696" fmla="*/ 157862 w 926148"/>
                <a:gd name="connsiteY696" fmla="*/ 86789 h 610126"/>
                <a:gd name="connsiteX697" fmla="*/ 157862 w 926148"/>
                <a:gd name="connsiteY697" fmla="*/ 87622 h 610126"/>
                <a:gd name="connsiteX698" fmla="*/ 157862 w 926148"/>
                <a:gd name="connsiteY698" fmla="*/ 89599 h 610126"/>
                <a:gd name="connsiteX699" fmla="*/ 157862 w 926148"/>
                <a:gd name="connsiteY699" fmla="*/ 90432 h 610126"/>
                <a:gd name="connsiteX700" fmla="*/ 157862 w 926148"/>
                <a:gd name="connsiteY700" fmla="*/ 93137 h 610126"/>
                <a:gd name="connsiteX701" fmla="*/ 157862 w 926148"/>
                <a:gd name="connsiteY701" fmla="*/ 94594 h 610126"/>
                <a:gd name="connsiteX702" fmla="*/ 157862 w 926148"/>
                <a:gd name="connsiteY702" fmla="*/ 98340 h 610126"/>
                <a:gd name="connsiteX703" fmla="*/ 157862 w 926148"/>
                <a:gd name="connsiteY703" fmla="*/ 99069 h 610126"/>
                <a:gd name="connsiteX704" fmla="*/ 157862 w 926148"/>
                <a:gd name="connsiteY704" fmla="*/ 101150 h 610126"/>
                <a:gd name="connsiteX705" fmla="*/ 157862 w 926148"/>
                <a:gd name="connsiteY705" fmla="*/ 101878 h 610126"/>
                <a:gd name="connsiteX706" fmla="*/ 158486 w 926148"/>
                <a:gd name="connsiteY706" fmla="*/ 103856 h 610126"/>
                <a:gd name="connsiteX707" fmla="*/ 158486 w 926148"/>
                <a:gd name="connsiteY707" fmla="*/ 104584 h 610126"/>
                <a:gd name="connsiteX708" fmla="*/ 159318 w 926148"/>
                <a:gd name="connsiteY708" fmla="*/ 106457 h 610126"/>
                <a:gd name="connsiteX709" fmla="*/ 159318 w 926148"/>
                <a:gd name="connsiteY709" fmla="*/ 107186 h 610126"/>
                <a:gd name="connsiteX710" fmla="*/ 160359 w 926148"/>
                <a:gd name="connsiteY710" fmla="*/ 108851 h 610126"/>
                <a:gd name="connsiteX711" fmla="*/ 160359 w 926148"/>
                <a:gd name="connsiteY711" fmla="*/ 109579 h 610126"/>
                <a:gd name="connsiteX712" fmla="*/ 161504 w 926148"/>
                <a:gd name="connsiteY712" fmla="*/ 111244 h 610126"/>
                <a:gd name="connsiteX713" fmla="*/ 161504 w 926148"/>
                <a:gd name="connsiteY713" fmla="*/ 111765 h 610126"/>
                <a:gd name="connsiteX714" fmla="*/ 162752 w 926148"/>
                <a:gd name="connsiteY714" fmla="*/ 113326 h 610126"/>
                <a:gd name="connsiteX715" fmla="*/ 162752 w 926148"/>
                <a:gd name="connsiteY715" fmla="*/ 113846 h 610126"/>
                <a:gd name="connsiteX716" fmla="*/ 164105 w 926148"/>
                <a:gd name="connsiteY716" fmla="*/ 115303 h 610126"/>
                <a:gd name="connsiteX717" fmla="*/ 164730 w 926148"/>
                <a:gd name="connsiteY717" fmla="*/ 115823 h 610126"/>
                <a:gd name="connsiteX718" fmla="*/ 166291 w 926148"/>
                <a:gd name="connsiteY718" fmla="*/ 117072 h 610126"/>
                <a:gd name="connsiteX719" fmla="*/ 166811 w 926148"/>
                <a:gd name="connsiteY719" fmla="*/ 117072 h 610126"/>
                <a:gd name="connsiteX720" fmla="*/ 168476 w 926148"/>
                <a:gd name="connsiteY720" fmla="*/ 118217 h 610126"/>
                <a:gd name="connsiteX721" fmla="*/ 169204 w 926148"/>
                <a:gd name="connsiteY721" fmla="*/ 118217 h 610126"/>
                <a:gd name="connsiteX722" fmla="*/ 170973 w 926148"/>
                <a:gd name="connsiteY722" fmla="*/ 119153 h 610126"/>
                <a:gd name="connsiteX723" fmla="*/ 171598 w 926148"/>
                <a:gd name="connsiteY723" fmla="*/ 119153 h 610126"/>
                <a:gd name="connsiteX724" fmla="*/ 173471 w 926148"/>
                <a:gd name="connsiteY724" fmla="*/ 119986 h 610126"/>
                <a:gd name="connsiteX725" fmla="*/ 174199 w 926148"/>
                <a:gd name="connsiteY725" fmla="*/ 119986 h 610126"/>
                <a:gd name="connsiteX726" fmla="*/ 176176 w 926148"/>
                <a:gd name="connsiteY726" fmla="*/ 120610 h 610126"/>
                <a:gd name="connsiteX727" fmla="*/ 177009 w 926148"/>
                <a:gd name="connsiteY727" fmla="*/ 120610 h 610126"/>
                <a:gd name="connsiteX728" fmla="*/ 178986 w 926148"/>
                <a:gd name="connsiteY728" fmla="*/ 120610 h 610126"/>
                <a:gd name="connsiteX729" fmla="*/ 179819 w 926148"/>
                <a:gd name="connsiteY729" fmla="*/ 120610 h 610126"/>
                <a:gd name="connsiteX730" fmla="*/ 183357 w 926148"/>
                <a:gd name="connsiteY730" fmla="*/ 120610 h 610126"/>
                <a:gd name="connsiteX731" fmla="*/ 183357 w 926148"/>
                <a:gd name="connsiteY731" fmla="*/ 120610 h 610126"/>
                <a:gd name="connsiteX732" fmla="*/ 187415 w 926148"/>
                <a:gd name="connsiteY732" fmla="*/ 120610 h 610126"/>
                <a:gd name="connsiteX733" fmla="*/ 188143 w 926148"/>
                <a:gd name="connsiteY733" fmla="*/ 120610 h 610126"/>
                <a:gd name="connsiteX734" fmla="*/ 190225 w 926148"/>
                <a:gd name="connsiteY734" fmla="*/ 120610 h 610126"/>
                <a:gd name="connsiteX735" fmla="*/ 190953 w 926148"/>
                <a:gd name="connsiteY735" fmla="*/ 120610 h 610126"/>
                <a:gd name="connsiteX736" fmla="*/ 192930 w 926148"/>
                <a:gd name="connsiteY736" fmla="*/ 119986 h 610126"/>
                <a:gd name="connsiteX737" fmla="*/ 193659 w 926148"/>
                <a:gd name="connsiteY737" fmla="*/ 119986 h 610126"/>
                <a:gd name="connsiteX738" fmla="*/ 195532 w 926148"/>
                <a:gd name="connsiteY738" fmla="*/ 119153 h 610126"/>
                <a:gd name="connsiteX739" fmla="*/ 195532 w 926148"/>
                <a:gd name="connsiteY739" fmla="*/ 119153 h 610126"/>
                <a:gd name="connsiteX740" fmla="*/ 233931 w 926148"/>
                <a:gd name="connsiteY740" fmla="*/ 157553 h 610126"/>
                <a:gd name="connsiteX741" fmla="*/ 234867 w 926148"/>
                <a:gd name="connsiteY741" fmla="*/ 158177 h 610126"/>
                <a:gd name="connsiteX742" fmla="*/ 236948 w 926148"/>
                <a:gd name="connsiteY742" fmla="*/ 159634 h 610126"/>
                <a:gd name="connsiteX743" fmla="*/ 239966 w 926148"/>
                <a:gd name="connsiteY743" fmla="*/ 160154 h 610126"/>
                <a:gd name="connsiteX744" fmla="*/ 240591 w 926148"/>
                <a:gd name="connsiteY744" fmla="*/ 160154 h 610126"/>
                <a:gd name="connsiteX745" fmla="*/ 278885 w 926148"/>
                <a:gd name="connsiteY745" fmla="*/ 160154 h 610126"/>
                <a:gd name="connsiteX746" fmla="*/ 278885 w 926148"/>
                <a:gd name="connsiteY746" fmla="*/ 218014 h 610126"/>
                <a:gd name="connsiteX747" fmla="*/ 167123 w 926148"/>
                <a:gd name="connsiteY747" fmla="*/ 218014 h 610126"/>
                <a:gd name="connsiteX748" fmla="*/ 131430 w 926148"/>
                <a:gd name="connsiteY748" fmla="*/ 182424 h 610126"/>
                <a:gd name="connsiteX749" fmla="*/ 131430 w 926148"/>
                <a:gd name="connsiteY749" fmla="*/ 182424 h 610126"/>
                <a:gd name="connsiteX750" fmla="*/ 131430 w 926148"/>
                <a:gd name="connsiteY750" fmla="*/ 182424 h 610126"/>
                <a:gd name="connsiteX751" fmla="*/ 132262 w 926148"/>
                <a:gd name="connsiteY751" fmla="*/ 180655 h 610126"/>
                <a:gd name="connsiteX752" fmla="*/ 132262 w 926148"/>
                <a:gd name="connsiteY752" fmla="*/ 179926 h 610126"/>
                <a:gd name="connsiteX753" fmla="*/ 132887 w 926148"/>
                <a:gd name="connsiteY753" fmla="*/ 177949 h 610126"/>
                <a:gd name="connsiteX754" fmla="*/ 132887 w 926148"/>
                <a:gd name="connsiteY754" fmla="*/ 177117 h 610126"/>
                <a:gd name="connsiteX755" fmla="*/ 132887 w 926148"/>
                <a:gd name="connsiteY755" fmla="*/ 175140 h 610126"/>
                <a:gd name="connsiteX756" fmla="*/ 132887 w 926148"/>
                <a:gd name="connsiteY756" fmla="*/ 174307 h 610126"/>
                <a:gd name="connsiteX757" fmla="*/ 132887 w 926148"/>
                <a:gd name="connsiteY757" fmla="*/ 170144 h 610126"/>
                <a:gd name="connsiteX758" fmla="*/ 132887 w 926148"/>
                <a:gd name="connsiteY758" fmla="*/ 166398 h 610126"/>
                <a:gd name="connsiteX759" fmla="*/ 132887 w 926148"/>
                <a:gd name="connsiteY759" fmla="*/ 165670 h 610126"/>
                <a:gd name="connsiteX760" fmla="*/ 132887 w 926148"/>
                <a:gd name="connsiteY760" fmla="*/ 163588 h 610126"/>
                <a:gd name="connsiteX761" fmla="*/ 132887 w 926148"/>
                <a:gd name="connsiteY761" fmla="*/ 162860 h 610126"/>
                <a:gd name="connsiteX762" fmla="*/ 132262 w 926148"/>
                <a:gd name="connsiteY762" fmla="*/ 160883 h 610126"/>
                <a:gd name="connsiteX763" fmla="*/ 132262 w 926148"/>
                <a:gd name="connsiteY763" fmla="*/ 160154 h 610126"/>
                <a:gd name="connsiteX764" fmla="*/ 131534 w 926148"/>
                <a:gd name="connsiteY764" fmla="*/ 158281 h 610126"/>
                <a:gd name="connsiteX765" fmla="*/ 131534 w 926148"/>
                <a:gd name="connsiteY765" fmla="*/ 157657 h 610126"/>
                <a:gd name="connsiteX766" fmla="*/ 130597 w 926148"/>
                <a:gd name="connsiteY766" fmla="*/ 155888 h 610126"/>
                <a:gd name="connsiteX767" fmla="*/ 130597 w 926148"/>
                <a:gd name="connsiteY767" fmla="*/ 155159 h 610126"/>
                <a:gd name="connsiteX768" fmla="*/ 129453 w 926148"/>
                <a:gd name="connsiteY768" fmla="*/ 153598 h 610126"/>
                <a:gd name="connsiteX769" fmla="*/ 129453 w 926148"/>
                <a:gd name="connsiteY769" fmla="*/ 152974 h 610126"/>
                <a:gd name="connsiteX770" fmla="*/ 128204 w 926148"/>
                <a:gd name="connsiteY770" fmla="*/ 151413 h 610126"/>
                <a:gd name="connsiteX771" fmla="*/ 128204 w 926148"/>
                <a:gd name="connsiteY771" fmla="*/ 151413 h 610126"/>
                <a:gd name="connsiteX772" fmla="*/ 126747 w 926148"/>
                <a:gd name="connsiteY772" fmla="*/ 149956 h 610126"/>
                <a:gd name="connsiteX773" fmla="*/ 126747 w 926148"/>
                <a:gd name="connsiteY773" fmla="*/ 149956 h 610126"/>
                <a:gd name="connsiteX774" fmla="*/ 125186 w 926148"/>
                <a:gd name="connsiteY774" fmla="*/ 148707 h 610126"/>
                <a:gd name="connsiteX775" fmla="*/ 124562 w 926148"/>
                <a:gd name="connsiteY775" fmla="*/ 148707 h 610126"/>
                <a:gd name="connsiteX776" fmla="*/ 122897 w 926148"/>
                <a:gd name="connsiteY776" fmla="*/ 147563 h 610126"/>
                <a:gd name="connsiteX777" fmla="*/ 122272 w 926148"/>
                <a:gd name="connsiteY777" fmla="*/ 147563 h 610126"/>
                <a:gd name="connsiteX778" fmla="*/ 120503 w 926148"/>
                <a:gd name="connsiteY778" fmla="*/ 146626 h 610126"/>
                <a:gd name="connsiteX779" fmla="*/ 119775 w 926148"/>
                <a:gd name="connsiteY779" fmla="*/ 146626 h 610126"/>
                <a:gd name="connsiteX780" fmla="*/ 117902 w 926148"/>
                <a:gd name="connsiteY780" fmla="*/ 145793 h 610126"/>
                <a:gd name="connsiteX781" fmla="*/ 117173 w 926148"/>
                <a:gd name="connsiteY781" fmla="*/ 145793 h 610126"/>
                <a:gd name="connsiteX782" fmla="*/ 115196 w 926148"/>
                <a:gd name="connsiteY782" fmla="*/ 145169 h 610126"/>
                <a:gd name="connsiteX783" fmla="*/ 114468 w 926148"/>
                <a:gd name="connsiteY783" fmla="*/ 145169 h 610126"/>
                <a:gd name="connsiteX784" fmla="*/ 112491 w 926148"/>
                <a:gd name="connsiteY784" fmla="*/ 145169 h 610126"/>
                <a:gd name="connsiteX785" fmla="*/ 111658 w 926148"/>
                <a:gd name="connsiteY785" fmla="*/ 145169 h 610126"/>
                <a:gd name="connsiteX786" fmla="*/ 108953 w 926148"/>
                <a:gd name="connsiteY786" fmla="*/ 145169 h 610126"/>
                <a:gd name="connsiteX787" fmla="*/ 107496 w 926148"/>
                <a:gd name="connsiteY787" fmla="*/ 145169 h 610126"/>
                <a:gd name="connsiteX788" fmla="*/ 103749 w 926148"/>
                <a:gd name="connsiteY788" fmla="*/ 145169 h 610126"/>
                <a:gd name="connsiteX789" fmla="*/ 100628 w 926148"/>
                <a:gd name="connsiteY789" fmla="*/ 145169 h 610126"/>
                <a:gd name="connsiteX790" fmla="*/ 98650 w 926148"/>
                <a:gd name="connsiteY790" fmla="*/ 145169 h 610126"/>
                <a:gd name="connsiteX791" fmla="*/ 97922 w 926148"/>
                <a:gd name="connsiteY791" fmla="*/ 145169 h 610126"/>
                <a:gd name="connsiteX792" fmla="*/ 95945 w 926148"/>
                <a:gd name="connsiteY792" fmla="*/ 145793 h 610126"/>
                <a:gd name="connsiteX793" fmla="*/ 95216 w 926148"/>
                <a:gd name="connsiteY793" fmla="*/ 145793 h 610126"/>
                <a:gd name="connsiteX794" fmla="*/ 93343 w 926148"/>
                <a:gd name="connsiteY794" fmla="*/ 146626 h 610126"/>
                <a:gd name="connsiteX795" fmla="*/ 92615 w 926148"/>
                <a:gd name="connsiteY795" fmla="*/ 146626 h 610126"/>
                <a:gd name="connsiteX796" fmla="*/ 90846 w 926148"/>
                <a:gd name="connsiteY796" fmla="*/ 147563 h 610126"/>
                <a:gd name="connsiteX797" fmla="*/ 90221 w 926148"/>
                <a:gd name="connsiteY797" fmla="*/ 147563 h 610126"/>
                <a:gd name="connsiteX798" fmla="*/ 88556 w 926148"/>
                <a:gd name="connsiteY798" fmla="*/ 148707 h 610126"/>
                <a:gd name="connsiteX799" fmla="*/ 87932 w 926148"/>
                <a:gd name="connsiteY799" fmla="*/ 148707 h 610126"/>
                <a:gd name="connsiteX800" fmla="*/ 86475 w 926148"/>
                <a:gd name="connsiteY800" fmla="*/ 150060 h 610126"/>
                <a:gd name="connsiteX801" fmla="*/ 85851 w 926148"/>
                <a:gd name="connsiteY801" fmla="*/ 150060 h 610126"/>
                <a:gd name="connsiteX802" fmla="*/ 84498 w 926148"/>
                <a:gd name="connsiteY802" fmla="*/ 151517 h 610126"/>
                <a:gd name="connsiteX803" fmla="*/ 84498 w 926148"/>
                <a:gd name="connsiteY803" fmla="*/ 152037 h 610126"/>
                <a:gd name="connsiteX804" fmla="*/ 83249 w 926148"/>
                <a:gd name="connsiteY804" fmla="*/ 153598 h 610126"/>
                <a:gd name="connsiteX805" fmla="*/ 83249 w 926148"/>
                <a:gd name="connsiteY805" fmla="*/ 154223 h 610126"/>
                <a:gd name="connsiteX806" fmla="*/ 82105 w 926148"/>
                <a:gd name="connsiteY806" fmla="*/ 155888 h 610126"/>
                <a:gd name="connsiteX807" fmla="*/ 82105 w 926148"/>
                <a:gd name="connsiteY807" fmla="*/ 156512 h 610126"/>
                <a:gd name="connsiteX808" fmla="*/ 81168 w 926148"/>
                <a:gd name="connsiteY808" fmla="*/ 158385 h 610126"/>
                <a:gd name="connsiteX809" fmla="*/ 81168 w 926148"/>
                <a:gd name="connsiteY809" fmla="*/ 159010 h 610126"/>
                <a:gd name="connsiteX810" fmla="*/ 80336 w 926148"/>
                <a:gd name="connsiteY810" fmla="*/ 160883 h 610126"/>
                <a:gd name="connsiteX811" fmla="*/ 80336 w 926148"/>
                <a:gd name="connsiteY811" fmla="*/ 161611 h 610126"/>
                <a:gd name="connsiteX812" fmla="*/ 79711 w 926148"/>
                <a:gd name="connsiteY812" fmla="*/ 163588 h 610126"/>
                <a:gd name="connsiteX813" fmla="*/ 79711 w 926148"/>
                <a:gd name="connsiteY813" fmla="*/ 164317 h 610126"/>
                <a:gd name="connsiteX814" fmla="*/ 79711 w 926148"/>
                <a:gd name="connsiteY814" fmla="*/ 166398 h 610126"/>
                <a:gd name="connsiteX815" fmla="*/ 79711 w 926148"/>
                <a:gd name="connsiteY815" fmla="*/ 167231 h 610126"/>
                <a:gd name="connsiteX816" fmla="*/ 79711 w 926148"/>
                <a:gd name="connsiteY816" fmla="*/ 171393 h 610126"/>
                <a:gd name="connsiteX817" fmla="*/ 79711 w 926148"/>
                <a:gd name="connsiteY817" fmla="*/ 175036 h 610126"/>
                <a:gd name="connsiteX818" fmla="*/ 79711 w 926148"/>
                <a:gd name="connsiteY818" fmla="*/ 175868 h 610126"/>
                <a:gd name="connsiteX819" fmla="*/ 79711 w 926148"/>
                <a:gd name="connsiteY819" fmla="*/ 177949 h 610126"/>
                <a:gd name="connsiteX820" fmla="*/ 79711 w 926148"/>
                <a:gd name="connsiteY820" fmla="*/ 178678 h 610126"/>
                <a:gd name="connsiteX821" fmla="*/ 80336 w 926148"/>
                <a:gd name="connsiteY821" fmla="*/ 180551 h 610126"/>
                <a:gd name="connsiteX822" fmla="*/ 80336 w 926148"/>
                <a:gd name="connsiteY822" fmla="*/ 181279 h 610126"/>
                <a:gd name="connsiteX823" fmla="*/ 81168 w 926148"/>
                <a:gd name="connsiteY823" fmla="*/ 183152 h 610126"/>
                <a:gd name="connsiteX824" fmla="*/ 81168 w 926148"/>
                <a:gd name="connsiteY824" fmla="*/ 183881 h 610126"/>
                <a:gd name="connsiteX825" fmla="*/ 82105 w 926148"/>
                <a:gd name="connsiteY825" fmla="*/ 185650 h 610126"/>
                <a:gd name="connsiteX826" fmla="*/ 82105 w 926148"/>
                <a:gd name="connsiteY826" fmla="*/ 186274 h 610126"/>
                <a:gd name="connsiteX827" fmla="*/ 83249 w 926148"/>
                <a:gd name="connsiteY827" fmla="*/ 187939 h 610126"/>
                <a:gd name="connsiteX828" fmla="*/ 83249 w 926148"/>
                <a:gd name="connsiteY828" fmla="*/ 188460 h 610126"/>
                <a:gd name="connsiteX829" fmla="*/ 84498 w 926148"/>
                <a:gd name="connsiteY829" fmla="*/ 190021 h 610126"/>
                <a:gd name="connsiteX830" fmla="*/ 85018 w 926148"/>
                <a:gd name="connsiteY830" fmla="*/ 190021 h 610126"/>
                <a:gd name="connsiteX831" fmla="*/ 86475 w 926148"/>
                <a:gd name="connsiteY831" fmla="*/ 191373 h 610126"/>
                <a:gd name="connsiteX832" fmla="*/ 86996 w 926148"/>
                <a:gd name="connsiteY832" fmla="*/ 191373 h 610126"/>
                <a:gd name="connsiteX833" fmla="*/ 88556 w 926148"/>
                <a:gd name="connsiteY833" fmla="*/ 192622 h 610126"/>
                <a:gd name="connsiteX834" fmla="*/ 89181 w 926148"/>
                <a:gd name="connsiteY834" fmla="*/ 193143 h 610126"/>
                <a:gd name="connsiteX835" fmla="*/ 90846 w 926148"/>
                <a:gd name="connsiteY835" fmla="*/ 194287 h 610126"/>
                <a:gd name="connsiteX836" fmla="*/ 91470 w 926148"/>
                <a:gd name="connsiteY836" fmla="*/ 194287 h 610126"/>
                <a:gd name="connsiteX837" fmla="*/ 93239 w 926148"/>
                <a:gd name="connsiteY837" fmla="*/ 195328 h 610126"/>
                <a:gd name="connsiteX838" fmla="*/ 93968 w 926148"/>
                <a:gd name="connsiteY838" fmla="*/ 195328 h 610126"/>
                <a:gd name="connsiteX839" fmla="*/ 95841 w 926148"/>
                <a:gd name="connsiteY839" fmla="*/ 196056 h 610126"/>
                <a:gd name="connsiteX840" fmla="*/ 96569 w 926148"/>
                <a:gd name="connsiteY840" fmla="*/ 196056 h 610126"/>
                <a:gd name="connsiteX841" fmla="*/ 98546 w 926148"/>
                <a:gd name="connsiteY841" fmla="*/ 196577 h 610126"/>
                <a:gd name="connsiteX842" fmla="*/ 99275 w 926148"/>
                <a:gd name="connsiteY842" fmla="*/ 196577 h 610126"/>
                <a:gd name="connsiteX843" fmla="*/ 101356 w 926148"/>
                <a:gd name="connsiteY843" fmla="*/ 196577 h 610126"/>
                <a:gd name="connsiteX844" fmla="*/ 102084 w 926148"/>
                <a:gd name="connsiteY844" fmla="*/ 196577 h 610126"/>
                <a:gd name="connsiteX845" fmla="*/ 105623 w 926148"/>
                <a:gd name="connsiteY845" fmla="*/ 196577 h 610126"/>
                <a:gd name="connsiteX846" fmla="*/ 106247 w 926148"/>
                <a:gd name="connsiteY846" fmla="*/ 196577 h 610126"/>
                <a:gd name="connsiteX847" fmla="*/ 109993 w 926148"/>
                <a:gd name="connsiteY847" fmla="*/ 196577 h 610126"/>
                <a:gd name="connsiteX848" fmla="*/ 110826 w 926148"/>
                <a:gd name="connsiteY848" fmla="*/ 196577 h 610126"/>
                <a:gd name="connsiteX849" fmla="*/ 112803 w 926148"/>
                <a:gd name="connsiteY849" fmla="*/ 196577 h 610126"/>
                <a:gd name="connsiteX850" fmla="*/ 113635 w 926148"/>
                <a:gd name="connsiteY850" fmla="*/ 196577 h 610126"/>
                <a:gd name="connsiteX851" fmla="*/ 115508 w 926148"/>
                <a:gd name="connsiteY851" fmla="*/ 195952 h 610126"/>
                <a:gd name="connsiteX852" fmla="*/ 116237 w 926148"/>
                <a:gd name="connsiteY852" fmla="*/ 195952 h 610126"/>
                <a:gd name="connsiteX853" fmla="*/ 118110 w 926148"/>
                <a:gd name="connsiteY853" fmla="*/ 195224 h 610126"/>
                <a:gd name="connsiteX854" fmla="*/ 118110 w 926148"/>
                <a:gd name="connsiteY854" fmla="*/ 195224 h 610126"/>
                <a:gd name="connsiteX855" fmla="*/ 118110 w 926148"/>
                <a:gd name="connsiteY855" fmla="*/ 195224 h 610126"/>
                <a:gd name="connsiteX856" fmla="*/ 156613 w 926148"/>
                <a:gd name="connsiteY856" fmla="*/ 233728 h 610126"/>
                <a:gd name="connsiteX857" fmla="*/ 158278 w 926148"/>
                <a:gd name="connsiteY857" fmla="*/ 234872 h 610126"/>
                <a:gd name="connsiteX858" fmla="*/ 159631 w 926148"/>
                <a:gd name="connsiteY858" fmla="*/ 235705 h 610126"/>
                <a:gd name="connsiteX859" fmla="*/ 162648 w 926148"/>
                <a:gd name="connsiteY859" fmla="*/ 236329 h 610126"/>
                <a:gd name="connsiteX860" fmla="*/ 278885 w 926148"/>
                <a:gd name="connsiteY860" fmla="*/ 236329 h 610126"/>
                <a:gd name="connsiteX861" fmla="*/ 278885 w 926148"/>
                <a:gd name="connsiteY861" fmla="*/ 294293 h 610126"/>
                <a:gd name="connsiteX862" fmla="*/ 94800 w 926148"/>
                <a:gd name="connsiteY862" fmla="*/ 294293 h 610126"/>
                <a:gd name="connsiteX863" fmla="*/ 94800 w 926148"/>
                <a:gd name="connsiteY863" fmla="*/ 292107 h 610126"/>
                <a:gd name="connsiteX864" fmla="*/ 94800 w 926148"/>
                <a:gd name="connsiteY864" fmla="*/ 291275 h 610126"/>
                <a:gd name="connsiteX865" fmla="*/ 93551 w 926148"/>
                <a:gd name="connsiteY865" fmla="*/ 287529 h 610126"/>
                <a:gd name="connsiteX866" fmla="*/ 93551 w 926148"/>
                <a:gd name="connsiteY866" fmla="*/ 286800 h 610126"/>
                <a:gd name="connsiteX867" fmla="*/ 91991 w 926148"/>
                <a:gd name="connsiteY867" fmla="*/ 283262 h 610126"/>
                <a:gd name="connsiteX868" fmla="*/ 91991 w 926148"/>
                <a:gd name="connsiteY868" fmla="*/ 282533 h 610126"/>
                <a:gd name="connsiteX869" fmla="*/ 90117 w 926148"/>
                <a:gd name="connsiteY869" fmla="*/ 279099 h 610126"/>
                <a:gd name="connsiteX870" fmla="*/ 90117 w 926148"/>
                <a:gd name="connsiteY870" fmla="*/ 278475 h 610126"/>
                <a:gd name="connsiteX871" fmla="*/ 87932 w 926148"/>
                <a:gd name="connsiteY871" fmla="*/ 275249 h 610126"/>
                <a:gd name="connsiteX872" fmla="*/ 87932 w 926148"/>
                <a:gd name="connsiteY872" fmla="*/ 274729 h 610126"/>
                <a:gd name="connsiteX873" fmla="*/ 83249 w 926148"/>
                <a:gd name="connsiteY873" fmla="*/ 273064 h 610126"/>
                <a:gd name="connsiteX874" fmla="*/ 83249 w 926148"/>
                <a:gd name="connsiteY874" fmla="*/ 273064 h 610126"/>
                <a:gd name="connsiteX875" fmla="*/ 80544 w 926148"/>
                <a:gd name="connsiteY875" fmla="*/ 270358 h 610126"/>
                <a:gd name="connsiteX876" fmla="*/ 79919 w 926148"/>
                <a:gd name="connsiteY876" fmla="*/ 270358 h 610126"/>
                <a:gd name="connsiteX877" fmla="*/ 77006 w 926148"/>
                <a:gd name="connsiteY877" fmla="*/ 267964 h 610126"/>
                <a:gd name="connsiteX878" fmla="*/ 76381 w 926148"/>
                <a:gd name="connsiteY878" fmla="*/ 267964 h 610126"/>
                <a:gd name="connsiteX879" fmla="*/ 73155 w 926148"/>
                <a:gd name="connsiteY879" fmla="*/ 265883 h 610126"/>
                <a:gd name="connsiteX880" fmla="*/ 72531 w 926148"/>
                <a:gd name="connsiteY880" fmla="*/ 265883 h 610126"/>
                <a:gd name="connsiteX881" fmla="*/ 69097 w 926148"/>
                <a:gd name="connsiteY881" fmla="*/ 264010 h 610126"/>
                <a:gd name="connsiteX882" fmla="*/ 68473 w 926148"/>
                <a:gd name="connsiteY882" fmla="*/ 264010 h 610126"/>
                <a:gd name="connsiteX883" fmla="*/ 64830 w 926148"/>
                <a:gd name="connsiteY883" fmla="*/ 262449 h 610126"/>
                <a:gd name="connsiteX884" fmla="*/ 64102 w 926148"/>
                <a:gd name="connsiteY884" fmla="*/ 262449 h 610126"/>
                <a:gd name="connsiteX885" fmla="*/ 60356 w 926148"/>
                <a:gd name="connsiteY885" fmla="*/ 261304 h 610126"/>
                <a:gd name="connsiteX886" fmla="*/ 59627 w 926148"/>
                <a:gd name="connsiteY886" fmla="*/ 261304 h 610126"/>
                <a:gd name="connsiteX887" fmla="*/ 55673 w 926148"/>
                <a:gd name="connsiteY887" fmla="*/ 260472 h 610126"/>
                <a:gd name="connsiteX888" fmla="*/ 54632 w 926148"/>
                <a:gd name="connsiteY888" fmla="*/ 260472 h 610126"/>
                <a:gd name="connsiteX889" fmla="*/ 50054 w 926148"/>
                <a:gd name="connsiteY889" fmla="*/ 260472 h 610126"/>
                <a:gd name="connsiteX890" fmla="*/ 47556 w 926148"/>
                <a:gd name="connsiteY890" fmla="*/ 260472 h 610126"/>
                <a:gd name="connsiteX891" fmla="*/ 40896 w 926148"/>
                <a:gd name="connsiteY891" fmla="*/ 260992 h 610126"/>
                <a:gd name="connsiteX892" fmla="*/ 40168 w 926148"/>
                <a:gd name="connsiteY892" fmla="*/ 260992 h 610126"/>
                <a:gd name="connsiteX893" fmla="*/ 36213 w 926148"/>
                <a:gd name="connsiteY893" fmla="*/ 261721 h 610126"/>
                <a:gd name="connsiteX894" fmla="*/ 35485 w 926148"/>
                <a:gd name="connsiteY894" fmla="*/ 261721 h 610126"/>
                <a:gd name="connsiteX895" fmla="*/ 31635 w 926148"/>
                <a:gd name="connsiteY895" fmla="*/ 262969 h 610126"/>
                <a:gd name="connsiteX896" fmla="*/ 31010 w 926148"/>
                <a:gd name="connsiteY896" fmla="*/ 262969 h 610126"/>
                <a:gd name="connsiteX897" fmla="*/ 27368 w 926148"/>
                <a:gd name="connsiteY897" fmla="*/ 264530 h 610126"/>
                <a:gd name="connsiteX898" fmla="*/ 26744 w 926148"/>
                <a:gd name="connsiteY898" fmla="*/ 264530 h 610126"/>
                <a:gd name="connsiteX899" fmla="*/ 23310 w 926148"/>
                <a:gd name="connsiteY899" fmla="*/ 266404 h 610126"/>
                <a:gd name="connsiteX900" fmla="*/ 22685 w 926148"/>
                <a:gd name="connsiteY900" fmla="*/ 266404 h 610126"/>
                <a:gd name="connsiteX901" fmla="*/ 19460 w 926148"/>
                <a:gd name="connsiteY901" fmla="*/ 268485 h 610126"/>
                <a:gd name="connsiteX902" fmla="*/ 18835 w 926148"/>
                <a:gd name="connsiteY902" fmla="*/ 269005 h 610126"/>
                <a:gd name="connsiteX903" fmla="*/ 15921 w 926148"/>
                <a:gd name="connsiteY903" fmla="*/ 271399 h 610126"/>
                <a:gd name="connsiteX904" fmla="*/ 15297 w 926148"/>
                <a:gd name="connsiteY904" fmla="*/ 271919 h 610126"/>
                <a:gd name="connsiteX905" fmla="*/ 12591 w 926148"/>
                <a:gd name="connsiteY905" fmla="*/ 274625 h 610126"/>
                <a:gd name="connsiteX906" fmla="*/ 12591 w 926148"/>
                <a:gd name="connsiteY906" fmla="*/ 275249 h 610126"/>
                <a:gd name="connsiteX907" fmla="*/ 10094 w 926148"/>
                <a:gd name="connsiteY907" fmla="*/ 278163 h 610126"/>
                <a:gd name="connsiteX908" fmla="*/ 10094 w 926148"/>
                <a:gd name="connsiteY908" fmla="*/ 278787 h 610126"/>
                <a:gd name="connsiteX909" fmla="*/ 7909 w 926148"/>
                <a:gd name="connsiteY909" fmla="*/ 282013 h 610126"/>
                <a:gd name="connsiteX910" fmla="*/ 7909 w 926148"/>
                <a:gd name="connsiteY910" fmla="*/ 282638 h 610126"/>
                <a:gd name="connsiteX911" fmla="*/ 6140 w 926148"/>
                <a:gd name="connsiteY911" fmla="*/ 286072 h 610126"/>
                <a:gd name="connsiteX912" fmla="*/ 6140 w 926148"/>
                <a:gd name="connsiteY912" fmla="*/ 286696 h 610126"/>
                <a:gd name="connsiteX913" fmla="*/ 4683 w 926148"/>
                <a:gd name="connsiteY913" fmla="*/ 290338 h 610126"/>
                <a:gd name="connsiteX914" fmla="*/ 4683 w 926148"/>
                <a:gd name="connsiteY914" fmla="*/ 291067 h 610126"/>
                <a:gd name="connsiteX915" fmla="*/ 1561 w 926148"/>
                <a:gd name="connsiteY915" fmla="*/ 292524 h 610126"/>
                <a:gd name="connsiteX916" fmla="*/ 1561 w 926148"/>
                <a:gd name="connsiteY916" fmla="*/ 293252 h 610126"/>
                <a:gd name="connsiteX917" fmla="*/ 832 w 926148"/>
                <a:gd name="connsiteY917" fmla="*/ 297206 h 610126"/>
                <a:gd name="connsiteX918" fmla="*/ 832 w 926148"/>
                <a:gd name="connsiteY918" fmla="*/ 297935 h 610126"/>
                <a:gd name="connsiteX919" fmla="*/ 0 w 926148"/>
                <a:gd name="connsiteY919" fmla="*/ 302930 h 610126"/>
                <a:gd name="connsiteX920" fmla="*/ 0 w 926148"/>
                <a:gd name="connsiteY920" fmla="*/ 305532 h 610126"/>
                <a:gd name="connsiteX921" fmla="*/ 520 w 926148"/>
                <a:gd name="connsiteY921" fmla="*/ 312192 h 610126"/>
                <a:gd name="connsiteX922" fmla="*/ 520 w 926148"/>
                <a:gd name="connsiteY922" fmla="*/ 312920 h 610126"/>
                <a:gd name="connsiteX923" fmla="*/ 1353 w 926148"/>
                <a:gd name="connsiteY923" fmla="*/ 316874 h 610126"/>
                <a:gd name="connsiteX924" fmla="*/ 1353 w 926148"/>
                <a:gd name="connsiteY924" fmla="*/ 317603 h 610126"/>
                <a:gd name="connsiteX925" fmla="*/ 2497 w 926148"/>
                <a:gd name="connsiteY925" fmla="*/ 321349 h 610126"/>
                <a:gd name="connsiteX926" fmla="*/ 2497 w 926148"/>
                <a:gd name="connsiteY926" fmla="*/ 322078 h 610126"/>
                <a:gd name="connsiteX927" fmla="*/ 3954 w 926148"/>
                <a:gd name="connsiteY927" fmla="*/ 325720 h 610126"/>
                <a:gd name="connsiteX928" fmla="*/ 3954 w 926148"/>
                <a:gd name="connsiteY928" fmla="*/ 326344 h 610126"/>
                <a:gd name="connsiteX929" fmla="*/ 5723 w 926148"/>
                <a:gd name="connsiteY929" fmla="*/ 329778 h 610126"/>
                <a:gd name="connsiteX930" fmla="*/ 5723 w 926148"/>
                <a:gd name="connsiteY930" fmla="*/ 330403 h 610126"/>
                <a:gd name="connsiteX931" fmla="*/ 7909 w 926148"/>
                <a:gd name="connsiteY931" fmla="*/ 333629 h 610126"/>
                <a:gd name="connsiteX932" fmla="*/ 7909 w 926148"/>
                <a:gd name="connsiteY932" fmla="*/ 334253 h 610126"/>
                <a:gd name="connsiteX933" fmla="*/ 10406 w 926148"/>
                <a:gd name="connsiteY933" fmla="*/ 337167 h 610126"/>
                <a:gd name="connsiteX934" fmla="*/ 10926 w 926148"/>
                <a:gd name="connsiteY934" fmla="*/ 337687 h 610126"/>
                <a:gd name="connsiteX935" fmla="*/ 13632 w 926148"/>
                <a:gd name="connsiteY935" fmla="*/ 340393 h 610126"/>
                <a:gd name="connsiteX936" fmla="*/ 14152 w 926148"/>
                <a:gd name="connsiteY936" fmla="*/ 340393 h 610126"/>
                <a:gd name="connsiteX937" fmla="*/ 17170 w 926148"/>
                <a:gd name="connsiteY937" fmla="*/ 342890 h 610126"/>
                <a:gd name="connsiteX938" fmla="*/ 17170 w 926148"/>
                <a:gd name="connsiteY938" fmla="*/ 342890 h 610126"/>
                <a:gd name="connsiteX939" fmla="*/ 20396 w 926148"/>
                <a:gd name="connsiteY939" fmla="*/ 345076 h 610126"/>
                <a:gd name="connsiteX940" fmla="*/ 21020 w 926148"/>
                <a:gd name="connsiteY940" fmla="*/ 345076 h 610126"/>
                <a:gd name="connsiteX941" fmla="*/ 24454 w 926148"/>
                <a:gd name="connsiteY941" fmla="*/ 346949 h 610126"/>
                <a:gd name="connsiteX942" fmla="*/ 25183 w 926148"/>
                <a:gd name="connsiteY942" fmla="*/ 346949 h 610126"/>
                <a:gd name="connsiteX943" fmla="*/ 28721 w 926148"/>
                <a:gd name="connsiteY943" fmla="*/ 348510 h 610126"/>
                <a:gd name="connsiteX944" fmla="*/ 29449 w 926148"/>
                <a:gd name="connsiteY944" fmla="*/ 348510 h 610126"/>
                <a:gd name="connsiteX945" fmla="*/ 33196 w 926148"/>
                <a:gd name="connsiteY945" fmla="*/ 349759 h 610126"/>
                <a:gd name="connsiteX946" fmla="*/ 36422 w 926148"/>
                <a:gd name="connsiteY946" fmla="*/ 349759 h 610126"/>
                <a:gd name="connsiteX947" fmla="*/ 40272 w 926148"/>
                <a:gd name="connsiteY947" fmla="*/ 350591 h 610126"/>
                <a:gd name="connsiteX948" fmla="*/ 41625 w 926148"/>
                <a:gd name="connsiteY948" fmla="*/ 350591 h 610126"/>
                <a:gd name="connsiteX949" fmla="*/ 46203 w 926148"/>
                <a:gd name="connsiteY949" fmla="*/ 350591 h 610126"/>
                <a:gd name="connsiteX950" fmla="*/ 47868 w 926148"/>
                <a:gd name="connsiteY950" fmla="*/ 350591 h 610126"/>
                <a:gd name="connsiteX951" fmla="*/ 54840 w 926148"/>
                <a:gd name="connsiteY951" fmla="*/ 350071 h 610126"/>
                <a:gd name="connsiteX952" fmla="*/ 55673 w 926148"/>
                <a:gd name="connsiteY952" fmla="*/ 350071 h 610126"/>
                <a:gd name="connsiteX953" fmla="*/ 59523 w 926148"/>
                <a:gd name="connsiteY953" fmla="*/ 349238 h 610126"/>
                <a:gd name="connsiteX954" fmla="*/ 60356 w 926148"/>
                <a:gd name="connsiteY954" fmla="*/ 349238 h 610126"/>
                <a:gd name="connsiteX955" fmla="*/ 64102 w 926148"/>
                <a:gd name="connsiteY955" fmla="*/ 348094 h 610126"/>
                <a:gd name="connsiteX956" fmla="*/ 64830 w 926148"/>
                <a:gd name="connsiteY956" fmla="*/ 348094 h 610126"/>
                <a:gd name="connsiteX957" fmla="*/ 68369 w 926148"/>
                <a:gd name="connsiteY957" fmla="*/ 346637 h 610126"/>
                <a:gd name="connsiteX958" fmla="*/ 69097 w 926148"/>
                <a:gd name="connsiteY958" fmla="*/ 346637 h 610126"/>
                <a:gd name="connsiteX959" fmla="*/ 72427 w 926148"/>
                <a:gd name="connsiteY959" fmla="*/ 344868 h 610126"/>
                <a:gd name="connsiteX960" fmla="*/ 73155 w 926148"/>
                <a:gd name="connsiteY960" fmla="*/ 344868 h 610126"/>
                <a:gd name="connsiteX961" fmla="*/ 76277 w 926148"/>
                <a:gd name="connsiteY961" fmla="*/ 342682 h 610126"/>
                <a:gd name="connsiteX962" fmla="*/ 76902 w 926148"/>
                <a:gd name="connsiteY962" fmla="*/ 342682 h 610126"/>
                <a:gd name="connsiteX963" fmla="*/ 79919 w 926148"/>
                <a:gd name="connsiteY963" fmla="*/ 340185 h 610126"/>
                <a:gd name="connsiteX964" fmla="*/ 80440 w 926148"/>
                <a:gd name="connsiteY964" fmla="*/ 340185 h 610126"/>
                <a:gd name="connsiteX965" fmla="*/ 83145 w 926148"/>
                <a:gd name="connsiteY965" fmla="*/ 337479 h 610126"/>
                <a:gd name="connsiteX966" fmla="*/ 83145 w 926148"/>
                <a:gd name="connsiteY966" fmla="*/ 337479 h 610126"/>
                <a:gd name="connsiteX967" fmla="*/ 85539 w 926148"/>
                <a:gd name="connsiteY967" fmla="*/ 334461 h 610126"/>
                <a:gd name="connsiteX968" fmla="*/ 86059 w 926148"/>
                <a:gd name="connsiteY968" fmla="*/ 333837 h 610126"/>
                <a:gd name="connsiteX969" fmla="*/ 88140 w 926148"/>
                <a:gd name="connsiteY969" fmla="*/ 330715 h 610126"/>
                <a:gd name="connsiteX970" fmla="*/ 88140 w 926148"/>
                <a:gd name="connsiteY970" fmla="*/ 329987 h 610126"/>
                <a:gd name="connsiteX971" fmla="*/ 90013 w 926148"/>
                <a:gd name="connsiteY971" fmla="*/ 326656 h 610126"/>
                <a:gd name="connsiteX972" fmla="*/ 90013 w 926148"/>
                <a:gd name="connsiteY972" fmla="*/ 325928 h 610126"/>
                <a:gd name="connsiteX973" fmla="*/ 91470 w 926148"/>
                <a:gd name="connsiteY973" fmla="*/ 322390 h 610126"/>
                <a:gd name="connsiteX974" fmla="*/ 91470 w 926148"/>
                <a:gd name="connsiteY974" fmla="*/ 321661 h 610126"/>
                <a:gd name="connsiteX975" fmla="*/ 92615 w 926148"/>
                <a:gd name="connsiteY975" fmla="*/ 317811 h 610126"/>
                <a:gd name="connsiteX976" fmla="*/ 92615 w 926148"/>
                <a:gd name="connsiteY976" fmla="*/ 317083 h 610126"/>
                <a:gd name="connsiteX977" fmla="*/ 92615 w 926148"/>
                <a:gd name="connsiteY977" fmla="*/ 315105 h 610126"/>
                <a:gd name="connsiteX978" fmla="*/ 278885 w 926148"/>
                <a:gd name="connsiteY978" fmla="*/ 315105 h 610126"/>
                <a:gd name="connsiteX979" fmla="*/ 278885 w 926148"/>
                <a:gd name="connsiteY979" fmla="*/ 372965 h 610126"/>
                <a:gd name="connsiteX980" fmla="*/ 163169 w 926148"/>
                <a:gd name="connsiteY980" fmla="*/ 372965 h 610126"/>
                <a:gd name="connsiteX981" fmla="*/ 162128 w 926148"/>
                <a:gd name="connsiteY981" fmla="*/ 372965 h 610126"/>
                <a:gd name="connsiteX982" fmla="*/ 159631 w 926148"/>
                <a:gd name="connsiteY982" fmla="*/ 373485 h 610126"/>
                <a:gd name="connsiteX983" fmla="*/ 157966 w 926148"/>
                <a:gd name="connsiteY983" fmla="*/ 374526 h 610126"/>
                <a:gd name="connsiteX984" fmla="*/ 156613 w 926148"/>
                <a:gd name="connsiteY984" fmla="*/ 375358 h 610126"/>
                <a:gd name="connsiteX985" fmla="*/ 156092 w 926148"/>
                <a:gd name="connsiteY985" fmla="*/ 375775 h 610126"/>
                <a:gd name="connsiteX986" fmla="*/ 156092 w 926148"/>
                <a:gd name="connsiteY986" fmla="*/ 375775 h 610126"/>
                <a:gd name="connsiteX987" fmla="*/ 118006 w 926148"/>
                <a:gd name="connsiteY987" fmla="*/ 413862 h 610126"/>
                <a:gd name="connsiteX988" fmla="*/ 118006 w 926148"/>
                <a:gd name="connsiteY988" fmla="*/ 413862 h 610126"/>
                <a:gd name="connsiteX989" fmla="*/ 117486 w 926148"/>
                <a:gd name="connsiteY989" fmla="*/ 413862 h 610126"/>
                <a:gd name="connsiteX990" fmla="*/ 115612 w 926148"/>
                <a:gd name="connsiteY990" fmla="*/ 413030 h 610126"/>
                <a:gd name="connsiteX991" fmla="*/ 114884 w 926148"/>
                <a:gd name="connsiteY991" fmla="*/ 413030 h 610126"/>
                <a:gd name="connsiteX992" fmla="*/ 112907 w 926148"/>
                <a:gd name="connsiteY992" fmla="*/ 412405 h 610126"/>
                <a:gd name="connsiteX993" fmla="*/ 112178 w 926148"/>
                <a:gd name="connsiteY993" fmla="*/ 412405 h 610126"/>
                <a:gd name="connsiteX994" fmla="*/ 110201 w 926148"/>
                <a:gd name="connsiteY994" fmla="*/ 412405 h 610126"/>
                <a:gd name="connsiteX995" fmla="*/ 109369 w 926148"/>
                <a:gd name="connsiteY995" fmla="*/ 412405 h 610126"/>
                <a:gd name="connsiteX996" fmla="*/ 105206 w 926148"/>
                <a:gd name="connsiteY996" fmla="*/ 412405 h 610126"/>
                <a:gd name="connsiteX997" fmla="*/ 101460 w 926148"/>
                <a:gd name="connsiteY997" fmla="*/ 412405 h 610126"/>
                <a:gd name="connsiteX998" fmla="*/ 100628 w 926148"/>
                <a:gd name="connsiteY998" fmla="*/ 412405 h 610126"/>
                <a:gd name="connsiteX999" fmla="*/ 98650 w 926148"/>
                <a:gd name="connsiteY999" fmla="*/ 412405 h 610126"/>
                <a:gd name="connsiteX1000" fmla="*/ 97922 w 926148"/>
                <a:gd name="connsiteY1000" fmla="*/ 412405 h 610126"/>
                <a:gd name="connsiteX1001" fmla="*/ 95945 w 926148"/>
                <a:gd name="connsiteY1001" fmla="*/ 413030 h 610126"/>
                <a:gd name="connsiteX1002" fmla="*/ 95216 w 926148"/>
                <a:gd name="connsiteY1002" fmla="*/ 413030 h 610126"/>
                <a:gd name="connsiteX1003" fmla="*/ 93343 w 926148"/>
                <a:gd name="connsiteY1003" fmla="*/ 413862 h 610126"/>
                <a:gd name="connsiteX1004" fmla="*/ 92615 w 926148"/>
                <a:gd name="connsiteY1004" fmla="*/ 413862 h 610126"/>
                <a:gd name="connsiteX1005" fmla="*/ 90846 w 926148"/>
                <a:gd name="connsiteY1005" fmla="*/ 414799 h 610126"/>
                <a:gd name="connsiteX1006" fmla="*/ 90221 w 926148"/>
                <a:gd name="connsiteY1006" fmla="*/ 414799 h 610126"/>
                <a:gd name="connsiteX1007" fmla="*/ 88556 w 926148"/>
                <a:gd name="connsiteY1007" fmla="*/ 415943 h 610126"/>
                <a:gd name="connsiteX1008" fmla="*/ 87932 w 926148"/>
                <a:gd name="connsiteY1008" fmla="*/ 415943 h 610126"/>
                <a:gd name="connsiteX1009" fmla="*/ 86475 w 926148"/>
                <a:gd name="connsiteY1009" fmla="*/ 417192 h 610126"/>
                <a:gd name="connsiteX1010" fmla="*/ 85851 w 926148"/>
                <a:gd name="connsiteY1010" fmla="*/ 417712 h 610126"/>
                <a:gd name="connsiteX1011" fmla="*/ 84498 w 926148"/>
                <a:gd name="connsiteY1011" fmla="*/ 419169 h 610126"/>
                <a:gd name="connsiteX1012" fmla="*/ 84498 w 926148"/>
                <a:gd name="connsiteY1012" fmla="*/ 419690 h 610126"/>
                <a:gd name="connsiteX1013" fmla="*/ 83249 w 926148"/>
                <a:gd name="connsiteY1013" fmla="*/ 421250 h 610126"/>
                <a:gd name="connsiteX1014" fmla="*/ 83249 w 926148"/>
                <a:gd name="connsiteY1014" fmla="*/ 421875 h 610126"/>
                <a:gd name="connsiteX1015" fmla="*/ 82105 w 926148"/>
                <a:gd name="connsiteY1015" fmla="*/ 423540 h 610126"/>
                <a:gd name="connsiteX1016" fmla="*/ 82105 w 926148"/>
                <a:gd name="connsiteY1016" fmla="*/ 424164 h 610126"/>
                <a:gd name="connsiteX1017" fmla="*/ 81168 w 926148"/>
                <a:gd name="connsiteY1017" fmla="*/ 425933 h 610126"/>
                <a:gd name="connsiteX1018" fmla="*/ 81168 w 926148"/>
                <a:gd name="connsiteY1018" fmla="*/ 426662 h 610126"/>
                <a:gd name="connsiteX1019" fmla="*/ 80336 w 926148"/>
                <a:gd name="connsiteY1019" fmla="*/ 428535 h 610126"/>
                <a:gd name="connsiteX1020" fmla="*/ 80336 w 926148"/>
                <a:gd name="connsiteY1020" fmla="*/ 429263 h 610126"/>
                <a:gd name="connsiteX1021" fmla="*/ 79711 w 926148"/>
                <a:gd name="connsiteY1021" fmla="*/ 431241 h 610126"/>
                <a:gd name="connsiteX1022" fmla="*/ 79711 w 926148"/>
                <a:gd name="connsiteY1022" fmla="*/ 431969 h 610126"/>
                <a:gd name="connsiteX1023" fmla="*/ 79711 w 926148"/>
                <a:gd name="connsiteY1023" fmla="*/ 433946 h 610126"/>
                <a:gd name="connsiteX1024" fmla="*/ 79711 w 926148"/>
                <a:gd name="connsiteY1024" fmla="*/ 434779 h 610126"/>
                <a:gd name="connsiteX1025" fmla="*/ 79711 w 926148"/>
                <a:gd name="connsiteY1025" fmla="*/ 438941 h 610126"/>
                <a:gd name="connsiteX1026" fmla="*/ 79711 w 926148"/>
                <a:gd name="connsiteY1026" fmla="*/ 442688 h 610126"/>
                <a:gd name="connsiteX1027" fmla="*/ 79711 w 926148"/>
                <a:gd name="connsiteY1027" fmla="*/ 443520 h 610126"/>
                <a:gd name="connsiteX1028" fmla="*/ 79711 w 926148"/>
                <a:gd name="connsiteY1028" fmla="*/ 445497 h 610126"/>
                <a:gd name="connsiteX1029" fmla="*/ 79711 w 926148"/>
                <a:gd name="connsiteY1029" fmla="*/ 446226 h 610126"/>
                <a:gd name="connsiteX1030" fmla="*/ 80336 w 926148"/>
                <a:gd name="connsiteY1030" fmla="*/ 448203 h 610126"/>
                <a:gd name="connsiteX1031" fmla="*/ 80336 w 926148"/>
                <a:gd name="connsiteY1031" fmla="*/ 448932 h 610126"/>
                <a:gd name="connsiteX1032" fmla="*/ 81168 w 926148"/>
                <a:gd name="connsiteY1032" fmla="*/ 450805 h 610126"/>
                <a:gd name="connsiteX1033" fmla="*/ 81168 w 926148"/>
                <a:gd name="connsiteY1033" fmla="*/ 451533 h 610126"/>
                <a:gd name="connsiteX1034" fmla="*/ 82105 w 926148"/>
                <a:gd name="connsiteY1034" fmla="*/ 453302 h 610126"/>
                <a:gd name="connsiteX1035" fmla="*/ 82105 w 926148"/>
                <a:gd name="connsiteY1035" fmla="*/ 453927 h 610126"/>
                <a:gd name="connsiteX1036" fmla="*/ 83249 w 926148"/>
                <a:gd name="connsiteY1036" fmla="*/ 455592 h 610126"/>
                <a:gd name="connsiteX1037" fmla="*/ 83249 w 926148"/>
                <a:gd name="connsiteY1037" fmla="*/ 456216 h 610126"/>
                <a:gd name="connsiteX1038" fmla="*/ 84498 w 926148"/>
                <a:gd name="connsiteY1038" fmla="*/ 457673 h 610126"/>
                <a:gd name="connsiteX1039" fmla="*/ 85018 w 926148"/>
                <a:gd name="connsiteY1039" fmla="*/ 458297 h 610126"/>
                <a:gd name="connsiteX1040" fmla="*/ 86475 w 926148"/>
                <a:gd name="connsiteY1040" fmla="*/ 459650 h 610126"/>
                <a:gd name="connsiteX1041" fmla="*/ 86996 w 926148"/>
                <a:gd name="connsiteY1041" fmla="*/ 459650 h 610126"/>
                <a:gd name="connsiteX1042" fmla="*/ 88556 w 926148"/>
                <a:gd name="connsiteY1042" fmla="*/ 460899 h 610126"/>
                <a:gd name="connsiteX1043" fmla="*/ 89181 w 926148"/>
                <a:gd name="connsiteY1043" fmla="*/ 460899 h 610126"/>
                <a:gd name="connsiteX1044" fmla="*/ 90846 w 926148"/>
                <a:gd name="connsiteY1044" fmla="*/ 462044 h 610126"/>
                <a:gd name="connsiteX1045" fmla="*/ 91470 w 926148"/>
                <a:gd name="connsiteY1045" fmla="*/ 462044 h 610126"/>
                <a:gd name="connsiteX1046" fmla="*/ 93239 w 926148"/>
                <a:gd name="connsiteY1046" fmla="*/ 462980 h 610126"/>
                <a:gd name="connsiteX1047" fmla="*/ 93968 w 926148"/>
                <a:gd name="connsiteY1047" fmla="*/ 462980 h 610126"/>
                <a:gd name="connsiteX1048" fmla="*/ 95841 w 926148"/>
                <a:gd name="connsiteY1048" fmla="*/ 463813 h 610126"/>
                <a:gd name="connsiteX1049" fmla="*/ 96569 w 926148"/>
                <a:gd name="connsiteY1049" fmla="*/ 463813 h 610126"/>
                <a:gd name="connsiteX1050" fmla="*/ 98546 w 926148"/>
                <a:gd name="connsiteY1050" fmla="*/ 464437 h 610126"/>
                <a:gd name="connsiteX1051" fmla="*/ 99275 w 926148"/>
                <a:gd name="connsiteY1051" fmla="*/ 464437 h 610126"/>
                <a:gd name="connsiteX1052" fmla="*/ 101356 w 926148"/>
                <a:gd name="connsiteY1052" fmla="*/ 464437 h 610126"/>
                <a:gd name="connsiteX1053" fmla="*/ 102084 w 926148"/>
                <a:gd name="connsiteY1053" fmla="*/ 464437 h 610126"/>
                <a:gd name="connsiteX1054" fmla="*/ 105623 w 926148"/>
                <a:gd name="connsiteY1054" fmla="*/ 464437 h 610126"/>
                <a:gd name="connsiteX1055" fmla="*/ 106455 w 926148"/>
                <a:gd name="connsiteY1055" fmla="*/ 464437 h 610126"/>
                <a:gd name="connsiteX1056" fmla="*/ 109993 w 926148"/>
                <a:gd name="connsiteY1056" fmla="*/ 464437 h 610126"/>
                <a:gd name="connsiteX1057" fmla="*/ 110826 w 926148"/>
                <a:gd name="connsiteY1057" fmla="*/ 464437 h 610126"/>
                <a:gd name="connsiteX1058" fmla="*/ 112803 w 926148"/>
                <a:gd name="connsiteY1058" fmla="*/ 464437 h 610126"/>
                <a:gd name="connsiteX1059" fmla="*/ 113531 w 926148"/>
                <a:gd name="connsiteY1059" fmla="*/ 464437 h 610126"/>
                <a:gd name="connsiteX1060" fmla="*/ 115508 w 926148"/>
                <a:gd name="connsiteY1060" fmla="*/ 463813 h 610126"/>
                <a:gd name="connsiteX1061" fmla="*/ 116237 w 926148"/>
                <a:gd name="connsiteY1061" fmla="*/ 463813 h 610126"/>
                <a:gd name="connsiteX1062" fmla="*/ 118110 w 926148"/>
                <a:gd name="connsiteY1062" fmla="*/ 462980 h 610126"/>
                <a:gd name="connsiteX1063" fmla="*/ 118838 w 926148"/>
                <a:gd name="connsiteY1063" fmla="*/ 462980 h 610126"/>
                <a:gd name="connsiteX1064" fmla="*/ 120607 w 926148"/>
                <a:gd name="connsiteY1064" fmla="*/ 462044 h 610126"/>
                <a:gd name="connsiteX1065" fmla="*/ 121232 w 926148"/>
                <a:gd name="connsiteY1065" fmla="*/ 462044 h 610126"/>
                <a:gd name="connsiteX1066" fmla="*/ 122897 w 926148"/>
                <a:gd name="connsiteY1066" fmla="*/ 460899 h 610126"/>
                <a:gd name="connsiteX1067" fmla="*/ 123521 w 926148"/>
                <a:gd name="connsiteY1067" fmla="*/ 460899 h 610126"/>
                <a:gd name="connsiteX1068" fmla="*/ 124978 w 926148"/>
                <a:gd name="connsiteY1068" fmla="*/ 459650 h 610126"/>
                <a:gd name="connsiteX1069" fmla="*/ 125602 w 926148"/>
                <a:gd name="connsiteY1069" fmla="*/ 459130 h 610126"/>
                <a:gd name="connsiteX1070" fmla="*/ 126955 w 926148"/>
                <a:gd name="connsiteY1070" fmla="*/ 457673 h 610126"/>
                <a:gd name="connsiteX1071" fmla="*/ 127476 w 926148"/>
                <a:gd name="connsiteY1071" fmla="*/ 457153 h 610126"/>
                <a:gd name="connsiteX1072" fmla="*/ 128724 w 926148"/>
                <a:gd name="connsiteY1072" fmla="*/ 455592 h 610126"/>
                <a:gd name="connsiteX1073" fmla="*/ 129245 w 926148"/>
                <a:gd name="connsiteY1073" fmla="*/ 454967 h 610126"/>
                <a:gd name="connsiteX1074" fmla="*/ 130285 w 926148"/>
                <a:gd name="connsiteY1074" fmla="*/ 453302 h 610126"/>
                <a:gd name="connsiteX1075" fmla="*/ 130285 w 926148"/>
                <a:gd name="connsiteY1075" fmla="*/ 452678 h 610126"/>
                <a:gd name="connsiteX1076" fmla="*/ 131222 w 926148"/>
                <a:gd name="connsiteY1076" fmla="*/ 450909 h 610126"/>
                <a:gd name="connsiteX1077" fmla="*/ 131222 w 926148"/>
                <a:gd name="connsiteY1077" fmla="*/ 450180 h 610126"/>
                <a:gd name="connsiteX1078" fmla="*/ 132054 w 926148"/>
                <a:gd name="connsiteY1078" fmla="*/ 448307 h 610126"/>
                <a:gd name="connsiteX1079" fmla="*/ 132054 w 926148"/>
                <a:gd name="connsiteY1079" fmla="*/ 447579 h 610126"/>
                <a:gd name="connsiteX1080" fmla="*/ 132679 w 926148"/>
                <a:gd name="connsiteY1080" fmla="*/ 445602 h 610126"/>
                <a:gd name="connsiteX1081" fmla="*/ 132679 w 926148"/>
                <a:gd name="connsiteY1081" fmla="*/ 444873 h 610126"/>
                <a:gd name="connsiteX1082" fmla="*/ 132679 w 926148"/>
                <a:gd name="connsiteY1082" fmla="*/ 442896 h 610126"/>
                <a:gd name="connsiteX1083" fmla="*/ 132679 w 926148"/>
                <a:gd name="connsiteY1083" fmla="*/ 442063 h 610126"/>
                <a:gd name="connsiteX1084" fmla="*/ 132679 w 926148"/>
                <a:gd name="connsiteY1084" fmla="*/ 437901 h 610126"/>
                <a:gd name="connsiteX1085" fmla="*/ 132679 w 926148"/>
                <a:gd name="connsiteY1085" fmla="*/ 434154 h 610126"/>
                <a:gd name="connsiteX1086" fmla="*/ 132679 w 926148"/>
                <a:gd name="connsiteY1086" fmla="*/ 433322 h 610126"/>
                <a:gd name="connsiteX1087" fmla="*/ 132679 w 926148"/>
                <a:gd name="connsiteY1087" fmla="*/ 431345 h 610126"/>
                <a:gd name="connsiteX1088" fmla="*/ 132679 w 926148"/>
                <a:gd name="connsiteY1088" fmla="*/ 430616 h 610126"/>
                <a:gd name="connsiteX1089" fmla="*/ 132054 w 926148"/>
                <a:gd name="connsiteY1089" fmla="*/ 428535 h 610126"/>
                <a:gd name="connsiteX1090" fmla="*/ 132054 w 926148"/>
                <a:gd name="connsiteY1090" fmla="*/ 427911 h 610126"/>
                <a:gd name="connsiteX1091" fmla="*/ 131326 w 926148"/>
                <a:gd name="connsiteY1091" fmla="*/ 426038 h 610126"/>
                <a:gd name="connsiteX1092" fmla="*/ 131326 w 926148"/>
                <a:gd name="connsiteY1092" fmla="*/ 426038 h 610126"/>
                <a:gd name="connsiteX1093" fmla="*/ 131326 w 926148"/>
                <a:gd name="connsiteY1093" fmla="*/ 426038 h 610126"/>
                <a:gd name="connsiteX1094" fmla="*/ 167019 w 926148"/>
                <a:gd name="connsiteY1094" fmla="*/ 390344 h 610126"/>
                <a:gd name="connsiteX1095" fmla="*/ 278885 w 926148"/>
                <a:gd name="connsiteY1095" fmla="*/ 390344 h 610126"/>
                <a:gd name="connsiteX1096" fmla="*/ 278885 w 926148"/>
                <a:gd name="connsiteY1096" fmla="*/ 448307 h 610126"/>
                <a:gd name="connsiteX1097" fmla="*/ 239966 w 926148"/>
                <a:gd name="connsiteY1097" fmla="*/ 448307 h 610126"/>
                <a:gd name="connsiteX1098" fmla="*/ 236324 w 926148"/>
                <a:gd name="connsiteY1098" fmla="*/ 449036 h 610126"/>
                <a:gd name="connsiteX1099" fmla="*/ 234451 w 926148"/>
                <a:gd name="connsiteY1099" fmla="*/ 450284 h 610126"/>
                <a:gd name="connsiteX1100" fmla="*/ 233306 w 926148"/>
                <a:gd name="connsiteY1100" fmla="*/ 451013 h 610126"/>
                <a:gd name="connsiteX1101" fmla="*/ 194907 w 926148"/>
                <a:gd name="connsiteY1101" fmla="*/ 490245 h 610126"/>
                <a:gd name="connsiteX1102" fmla="*/ 194907 w 926148"/>
                <a:gd name="connsiteY1102" fmla="*/ 490245 h 610126"/>
                <a:gd name="connsiteX1103" fmla="*/ 194907 w 926148"/>
                <a:gd name="connsiteY1103" fmla="*/ 490245 h 610126"/>
                <a:gd name="connsiteX1104" fmla="*/ 193034 w 926148"/>
                <a:gd name="connsiteY1104" fmla="*/ 489516 h 610126"/>
                <a:gd name="connsiteX1105" fmla="*/ 192306 w 926148"/>
                <a:gd name="connsiteY1105" fmla="*/ 489516 h 610126"/>
                <a:gd name="connsiteX1106" fmla="*/ 190329 w 926148"/>
                <a:gd name="connsiteY1106" fmla="*/ 488892 h 610126"/>
                <a:gd name="connsiteX1107" fmla="*/ 189600 w 926148"/>
                <a:gd name="connsiteY1107" fmla="*/ 488892 h 610126"/>
                <a:gd name="connsiteX1108" fmla="*/ 187519 w 926148"/>
                <a:gd name="connsiteY1108" fmla="*/ 488892 h 610126"/>
                <a:gd name="connsiteX1109" fmla="*/ 186687 w 926148"/>
                <a:gd name="connsiteY1109" fmla="*/ 488892 h 610126"/>
                <a:gd name="connsiteX1110" fmla="*/ 182524 w 926148"/>
                <a:gd name="connsiteY1110" fmla="*/ 488892 h 610126"/>
                <a:gd name="connsiteX1111" fmla="*/ 178882 w 926148"/>
                <a:gd name="connsiteY1111" fmla="*/ 488892 h 610126"/>
                <a:gd name="connsiteX1112" fmla="*/ 178050 w 926148"/>
                <a:gd name="connsiteY1112" fmla="*/ 488892 h 610126"/>
                <a:gd name="connsiteX1113" fmla="*/ 175968 w 926148"/>
                <a:gd name="connsiteY1113" fmla="*/ 488892 h 610126"/>
                <a:gd name="connsiteX1114" fmla="*/ 175240 w 926148"/>
                <a:gd name="connsiteY1114" fmla="*/ 488892 h 610126"/>
                <a:gd name="connsiteX1115" fmla="*/ 173263 w 926148"/>
                <a:gd name="connsiteY1115" fmla="*/ 489516 h 610126"/>
                <a:gd name="connsiteX1116" fmla="*/ 172534 w 926148"/>
                <a:gd name="connsiteY1116" fmla="*/ 489516 h 610126"/>
                <a:gd name="connsiteX1117" fmla="*/ 170661 w 926148"/>
                <a:gd name="connsiteY1117" fmla="*/ 490349 h 610126"/>
                <a:gd name="connsiteX1118" fmla="*/ 170037 w 926148"/>
                <a:gd name="connsiteY1118" fmla="*/ 490349 h 610126"/>
                <a:gd name="connsiteX1119" fmla="*/ 168268 w 926148"/>
                <a:gd name="connsiteY1119" fmla="*/ 491390 h 610126"/>
                <a:gd name="connsiteX1120" fmla="*/ 167643 w 926148"/>
                <a:gd name="connsiteY1120" fmla="*/ 491390 h 610126"/>
                <a:gd name="connsiteX1121" fmla="*/ 165978 w 926148"/>
                <a:gd name="connsiteY1121" fmla="*/ 492534 h 610126"/>
                <a:gd name="connsiteX1122" fmla="*/ 165354 w 926148"/>
                <a:gd name="connsiteY1122" fmla="*/ 493055 h 610126"/>
                <a:gd name="connsiteX1123" fmla="*/ 163793 w 926148"/>
                <a:gd name="connsiteY1123" fmla="*/ 494303 h 610126"/>
                <a:gd name="connsiteX1124" fmla="*/ 163793 w 926148"/>
                <a:gd name="connsiteY1124" fmla="*/ 494303 h 610126"/>
                <a:gd name="connsiteX1125" fmla="*/ 162336 w 926148"/>
                <a:gd name="connsiteY1125" fmla="*/ 495656 h 610126"/>
                <a:gd name="connsiteX1126" fmla="*/ 162336 w 926148"/>
                <a:gd name="connsiteY1126" fmla="*/ 496281 h 610126"/>
                <a:gd name="connsiteX1127" fmla="*/ 160983 w 926148"/>
                <a:gd name="connsiteY1127" fmla="*/ 497842 h 610126"/>
                <a:gd name="connsiteX1128" fmla="*/ 160983 w 926148"/>
                <a:gd name="connsiteY1128" fmla="*/ 498362 h 610126"/>
                <a:gd name="connsiteX1129" fmla="*/ 159839 w 926148"/>
                <a:gd name="connsiteY1129" fmla="*/ 500027 h 610126"/>
                <a:gd name="connsiteX1130" fmla="*/ 159839 w 926148"/>
                <a:gd name="connsiteY1130" fmla="*/ 500755 h 610126"/>
                <a:gd name="connsiteX1131" fmla="*/ 158798 w 926148"/>
                <a:gd name="connsiteY1131" fmla="*/ 502524 h 610126"/>
                <a:gd name="connsiteX1132" fmla="*/ 158798 w 926148"/>
                <a:gd name="connsiteY1132" fmla="*/ 503149 h 610126"/>
                <a:gd name="connsiteX1133" fmla="*/ 158070 w 926148"/>
                <a:gd name="connsiteY1133" fmla="*/ 505022 h 610126"/>
                <a:gd name="connsiteX1134" fmla="*/ 158070 w 926148"/>
                <a:gd name="connsiteY1134" fmla="*/ 505750 h 610126"/>
                <a:gd name="connsiteX1135" fmla="*/ 157445 w 926148"/>
                <a:gd name="connsiteY1135" fmla="*/ 507728 h 610126"/>
                <a:gd name="connsiteX1136" fmla="*/ 157445 w 926148"/>
                <a:gd name="connsiteY1136" fmla="*/ 508456 h 610126"/>
                <a:gd name="connsiteX1137" fmla="*/ 157445 w 926148"/>
                <a:gd name="connsiteY1137" fmla="*/ 510537 h 610126"/>
                <a:gd name="connsiteX1138" fmla="*/ 157445 w 926148"/>
                <a:gd name="connsiteY1138" fmla="*/ 511266 h 610126"/>
                <a:gd name="connsiteX1139" fmla="*/ 157445 w 926148"/>
                <a:gd name="connsiteY1139" fmla="*/ 513971 h 610126"/>
                <a:gd name="connsiteX1140" fmla="*/ 157445 w 926148"/>
                <a:gd name="connsiteY1140" fmla="*/ 515532 h 610126"/>
                <a:gd name="connsiteX1141" fmla="*/ 157445 w 926148"/>
                <a:gd name="connsiteY1141" fmla="*/ 519279 h 610126"/>
                <a:gd name="connsiteX1142" fmla="*/ 157445 w 926148"/>
                <a:gd name="connsiteY1142" fmla="*/ 520007 h 610126"/>
                <a:gd name="connsiteX1143" fmla="*/ 157445 w 926148"/>
                <a:gd name="connsiteY1143" fmla="*/ 521984 h 610126"/>
                <a:gd name="connsiteX1144" fmla="*/ 157445 w 926148"/>
                <a:gd name="connsiteY1144" fmla="*/ 522817 h 610126"/>
                <a:gd name="connsiteX1145" fmla="*/ 158070 w 926148"/>
                <a:gd name="connsiteY1145" fmla="*/ 524794 h 610126"/>
                <a:gd name="connsiteX1146" fmla="*/ 158070 w 926148"/>
                <a:gd name="connsiteY1146" fmla="*/ 525523 h 610126"/>
                <a:gd name="connsiteX1147" fmla="*/ 158902 w 926148"/>
                <a:gd name="connsiteY1147" fmla="*/ 527396 h 610126"/>
                <a:gd name="connsiteX1148" fmla="*/ 158902 w 926148"/>
                <a:gd name="connsiteY1148" fmla="*/ 528020 h 610126"/>
                <a:gd name="connsiteX1149" fmla="*/ 159943 w 926148"/>
                <a:gd name="connsiteY1149" fmla="*/ 529789 h 610126"/>
                <a:gd name="connsiteX1150" fmla="*/ 159943 w 926148"/>
                <a:gd name="connsiteY1150" fmla="*/ 530414 h 610126"/>
                <a:gd name="connsiteX1151" fmla="*/ 161087 w 926148"/>
                <a:gd name="connsiteY1151" fmla="*/ 532079 h 610126"/>
                <a:gd name="connsiteX1152" fmla="*/ 161087 w 926148"/>
                <a:gd name="connsiteY1152" fmla="*/ 532703 h 610126"/>
                <a:gd name="connsiteX1153" fmla="*/ 162336 w 926148"/>
                <a:gd name="connsiteY1153" fmla="*/ 534264 h 610126"/>
                <a:gd name="connsiteX1154" fmla="*/ 162336 w 926148"/>
                <a:gd name="connsiteY1154" fmla="*/ 534784 h 610126"/>
                <a:gd name="connsiteX1155" fmla="*/ 163689 w 926148"/>
                <a:gd name="connsiteY1155" fmla="*/ 536241 h 610126"/>
                <a:gd name="connsiteX1156" fmla="*/ 164313 w 926148"/>
                <a:gd name="connsiteY1156" fmla="*/ 536761 h 610126"/>
                <a:gd name="connsiteX1157" fmla="*/ 165770 w 926148"/>
                <a:gd name="connsiteY1157" fmla="*/ 538010 h 610126"/>
                <a:gd name="connsiteX1158" fmla="*/ 166395 w 926148"/>
                <a:gd name="connsiteY1158" fmla="*/ 538010 h 610126"/>
                <a:gd name="connsiteX1159" fmla="*/ 168060 w 926148"/>
                <a:gd name="connsiteY1159" fmla="*/ 539155 h 610126"/>
                <a:gd name="connsiteX1160" fmla="*/ 168788 w 926148"/>
                <a:gd name="connsiteY1160" fmla="*/ 539155 h 610126"/>
                <a:gd name="connsiteX1161" fmla="*/ 170557 w 926148"/>
                <a:gd name="connsiteY1161" fmla="*/ 540091 h 610126"/>
                <a:gd name="connsiteX1162" fmla="*/ 171181 w 926148"/>
                <a:gd name="connsiteY1162" fmla="*/ 540091 h 610126"/>
                <a:gd name="connsiteX1163" fmla="*/ 173055 w 926148"/>
                <a:gd name="connsiteY1163" fmla="*/ 540820 h 610126"/>
                <a:gd name="connsiteX1164" fmla="*/ 173783 w 926148"/>
                <a:gd name="connsiteY1164" fmla="*/ 540820 h 610126"/>
                <a:gd name="connsiteX1165" fmla="*/ 175760 w 926148"/>
                <a:gd name="connsiteY1165" fmla="*/ 541444 h 610126"/>
                <a:gd name="connsiteX1166" fmla="*/ 176489 w 926148"/>
                <a:gd name="connsiteY1166" fmla="*/ 541444 h 610126"/>
                <a:gd name="connsiteX1167" fmla="*/ 178570 w 926148"/>
                <a:gd name="connsiteY1167" fmla="*/ 541444 h 610126"/>
                <a:gd name="connsiteX1168" fmla="*/ 179402 w 926148"/>
                <a:gd name="connsiteY1168" fmla="*/ 541444 h 610126"/>
                <a:gd name="connsiteX1169" fmla="*/ 182940 w 926148"/>
                <a:gd name="connsiteY1169" fmla="*/ 541444 h 610126"/>
                <a:gd name="connsiteX1170" fmla="*/ 182940 w 926148"/>
                <a:gd name="connsiteY1170" fmla="*/ 541444 h 610126"/>
                <a:gd name="connsiteX1171" fmla="*/ 186999 w 926148"/>
                <a:gd name="connsiteY1171" fmla="*/ 541444 h 610126"/>
                <a:gd name="connsiteX1172" fmla="*/ 187311 w 926148"/>
                <a:gd name="connsiteY1172" fmla="*/ 541444 h 610126"/>
                <a:gd name="connsiteX1173" fmla="*/ 189392 w 926148"/>
                <a:gd name="connsiteY1173" fmla="*/ 541444 h 610126"/>
                <a:gd name="connsiteX1174" fmla="*/ 190121 w 926148"/>
                <a:gd name="connsiteY1174" fmla="*/ 541444 h 610126"/>
                <a:gd name="connsiteX1175" fmla="*/ 192098 w 926148"/>
                <a:gd name="connsiteY1175" fmla="*/ 540820 h 610126"/>
                <a:gd name="connsiteX1176" fmla="*/ 192826 w 926148"/>
                <a:gd name="connsiteY1176" fmla="*/ 540820 h 610126"/>
                <a:gd name="connsiteX1177" fmla="*/ 194595 w 926148"/>
                <a:gd name="connsiteY1177" fmla="*/ 539987 h 610126"/>
                <a:gd name="connsiteX1178" fmla="*/ 195324 w 926148"/>
                <a:gd name="connsiteY1178" fmla="*/ 539987 h 610126"/>
                <a:gd name="connsiteX1179" fmla="*/ 197093 w 926148"/>
                <a:gd name="connsiteY1179" fmla="*/ 539051 h 610126"/>
                <a:gd name="connsiteX1180" fmla="*/ 197717 w 926148"/>
                <a:gd name="connsiteY1180" fmla="*/ 539051 h 610126"/>
                <a:gd name="connsiteX1181" fmla="*/ 199382 w 926148"/>
                <a:gd name="connsiteY1181" fmla="*/ 537906 h 610126"/>
                <a:gd name="connsiteX1182" fmla="*/ 200006 w 926148"/>
                <a:gd name="connsiteY1182" fmla="*/ 537386 h 610126"/>
                <a:gd name="connsiteX1183" fmla="*/ 201567 w 926148"/>
                <a:gd name="connsiteY1183" fmla="*/ 536137 h 610126"/>
                <a:gd name="connsiteX1184" fmla="*/ 202088 w 926148"/>
                <a:gd name="connsiteY1184" fmla="*/ 536137 h 610126"/>
                <a:gd name="connsiteX1185" fmla="*/ 203545 w 926148"/>
                <a:gd name="connsiteY1185" fmla="*/ 534784 h 610126"/>
                <a:gd name="connsiteX1186" fmla="*/ 203545 w 926148"/>
                <a:gd name="connsiteY1186" fmla="*/ 534160 h 610126"/>
                <a:gd name="connsiteX1187" fmla="*/ 204897 w 926148"/>
                <a:gd name="connsiteY1187" fmla="*/ 532599 h 610126"/>
                <a:gd name="connsiteX1188" fmla="*/ 204897 w 926148"/>
                <a:gd name="connsiteY1188" fmla="*/ 532079 h 610126"/>
                <a:gd name="connsiteX1189" fmla="*/ 206042 w 926148"/>
                <a:gd name="connsiteY1189" fmla="*/ 530414 h 610126"/>
                <a:gd name="connsiteX1190" fmla="*/ 206042 w 926148"/>
                <a:gd name="connsiteY1190" fmla="*/ 529685 h 610126"/>
                <a:gd name="connsiteX1191" fmla="*/ 207083 w 926148"/>
                <a:gd name="connsiteY1191" fmla="*/ 527916 h 610126"/>
                <a:gd name="connsiteX1192" fmla="*/ 207083 w 926148"/>
                <a:gd name="connsiteY1192" fmla="*/ 527292 h 610126"/>
                <a:gd name="connsiteX1193" fmla="*/ 207811 w 926148"/>
                <a:gd name="connsiteY1193" fmla="*/ 525419 h 610126"/>
                <a:gd name="connsiteX1194" fmla="*/ 207811 w 926148"/>
                <a:gd name="connsiteY1194" fmla="*/ 524690 h 610126"/>
                <a:gd name="connsiteX1195" fmla="*/ 208436 w 926148"/>
                <a:gd name="connsiteY1195" fmla="*/ 522713 h 610126"/>
                <a:gd name="connsiteX1196" fmla="*/ 208436 w 926148"/>
                <a:gd name="connsiteY1196" fmla="*/ 521984 h 610126"/>
                <a:gd name="connsiteX1197" fmla="*/ 208436 w 926148"/>
                <a:gd name="connsiteY1197" fmla="*/ 519903 h 610126"/>
                <a:gd name="connsiteX1198" fmla="*/ 208436 w 926148"/>
                <a:gd name="connsiteY1198" fmla="*/ 519175 h 610126"/>
                <a:gd name="connsiteX1199" fmla="*/ 208436 w 926148"/>
                <a:gd name="connsiteY1199" fmla="*/ 516469 h 610126"/>
                <a:gd name="connsiteX1200" fmla="*/ 208436 w 926148"/>
                <a:gd name="connsiteY1200" fmla="*/ 514908 h 610126"/>
                <a:gd name="connsiteX1201" fmla="*/ 208436 w 926148"/>
                <a:gd name="connsiteY1201" fmla="*/ 511162 h 610126"/>
                <a:gd name="connsiteX1202" fmla="*/ 208436 w 926148"/>
                <a:gd name="connsiteY1202" fmla="*/ 510433 h 610126"/>
                <a:gd name="connsiteX1203" fmla="*/ 208436 w 926148"/>
                <a:gd name="connsiteY1203" fmla="*/ 508352 h 610126"/>
                <a:gd name="connsiteX1204" fmla="*/ 208436 w 926148"/>
                <a:gd name="connsiteY1204" fmla="*/ 507624 h 610126"/>
                <a:gd name="connsiteX1205" fmla="*/ 207811 w 926148"/>
                <a:gd name="connsiteY1205" fmla="*/ 505646 h 610126"/>
                <a:gd name="connsiteX1206" fmla="*/ 207811 w 926148"/>
                <a:gd name="connsiteY1206" fmla="*/ 504918 h 610126"/>
                <a:gd name="connsiteX1207" fmla="*/ 206979 w 926148"/>
                <a:gd name="connsiteY1207" fmla="*/ 503045 h 610126"/>
                <a:gd name="connsiteX1208" fmla="*/ 206979 w 926148"/>
                <a:gd name="connsiteY1208" fmla="*/ 503045 h 610126"/>
                <a:gd name="connsiteX1209" fmla="*/ 206979 w 926148"/>
                <a:gd name="connsiteY1209" fmla="*/ 503045 h 610126"/>
                <a:gd name="connsiteX1210" fmla="*/ 242568 w 926148"/>
                <a:gd name="connsiteY1210" fmla="*/ 467455 h 610126"/>
                <a:gd name="connsiteX1211" fmla="*/ 278885 w 926148"/>
                <a:gd name="connsiteY1211" fmla="*/ 467455 h 610126"/>
                <a:gd name="connsiteX1212" fmla="*/ 278885 w 926148"/>
                <a:gd name="connsiteY1212" fmla="*/ 559759 h 610126"/>
                <a:gd name="connsiteX1213" fmla="*/ 279406 w 926148"/>
                <a:gd name="connsiteY1213" fmla="*/ 566420 h 610126"/>
                <a:gd name="connsiteX1214" fmla="*/ 280342 w 926148"/>
                <a:gd name="connsiteY1214" fmla="*/ 571311 h 610126"/>
                <a:gd name="connsiteX1215" fmla="*/ 281799 w 926148"/>
                <a:gd name="connsiteY1215" fmla="*/ 576098 h 610126"/>
                <a:gd name="connsiteX1216" fmla="*/ 283672 w 926148"/>
                <a:gd name="connsiteY1216" fmla="*/ 580676 h 610126"/>
                <a:gd name="connsiteX1217" fmla="*/ 285961 w 926148"/>
                <a:gd name="connsiteY1217" fmla="*/ 584943 h 610126"/>
                <a:gd name="connsiteX1218" fmla="*/ 291581 w 926148"/>
                <a:gd name="connsiteY1218" fmla="*/ 592644 h 610126"/>
                <a:gd name="connsiteX1219" fmla="*/ 295015 w 926148"/>
                <a:gd name="connsiteY1219" fmla="*/ 596078 h 610126"/>
                <a:gd name="connsiteX1220" fmla="*/ 298657 w 926148"/>
                <a:gd name="connsiteY1220" fmla="*/ 599200 h 610126"/>
                <a:gd name="connsiteX1221" fmla="*/ 306878 w 926148"/>
                <a:gd name="connsiteY1221" fmla="*/ 604299 h 610126"/>
                <a:gd name="connsiteX1222" fmla="*/ 734779 w 926148"/>
                <a:gd name="connsiteY1222" fmla="*/ 515116 h 610126"/>
                <a:gd name="connsiteX1223" fmla="*/ 735716 w 926148"/>
                <a:gd name="connsiteY1223" fmla="*/ 512202 h 610126"/>
                <a:gd name="connsiteX1224" fmla="*/ 737277 w 926148"/>
                <a:gd name="connsiteY1224" fmla="*/ 509913 h 610126"/>
                <a:gd name="connsiteX1225" fmla="*/ 739358 w 926148"/>
                <a:gd name="connsiteY1225" fmla="*/ 508144 h 610126"/>
                <a:gd name="connsiteX1226" fmla="*/ 741960 w 926148"/>
                <a:gd name="connsiteY1226" fmla="*/ 506999 h 610126"/>
                <a:gd name="connsiteX1227" fmla="*/ 744769 w 926148"/>
                <a:gd name="connsiteY1227" fmla="*/ 506999 h 610126"/>
                <a:gd name="connsiteX1228" fmla="*/ 745706 w 926148"/>
                <a:gd name="connsiteY1228" fmla="*/ 506999 h 610126"/>
                <a:gd name="connsiteX1229" fmla="*/ 748620 w 926148"/>
                <a:gd name="connsiteY1229" fmla="*/ 507832 h 610126"/>
                <a:gd name="connsiteX1230" fmla="*/ 751013 w 926148"/>
                <a:gd name="connsiteY1230" fmla="*/ 509393 h 610126"/>
                <a:gd name="connsiteX1231" fmla="*/ 752782 w 926148"/>
                <a:gd name="connsiteY1231" fmla="*/ 511578 h 610126"/>
                <a:gd name="connsiteX1232" fmla="*/ 753927 w 926148"/>
                <a:gd name="connsiteY1232" fmla="*/ 514180 h 610126"/>
                <a:gd name="connsiteX1233" fmla="*/ 753927 w 926148"/>
                <a:gd name="connsiteY1233" fmla="*/ 516781 h 610126"/>
                <a:gd name="connsiteX1234" fmla="*/ 753927 w 926148"/>
                <a:gd name="connsiteY1234" fmla="*/ 517926 h 610126"/>
                <a:gd name="connsiteX1235" fmla="*/ 753094 w 926148"/>
                <a:gd name="connsiteY1235" fmla="*/ 520840 h 610126"/>
                <a:gd name="connsiteX1236" fmla="*/ 751533 w 926148"/>
                <a:gd name="connsiteY1236" fmla="*/ 523129 h 610126"/>
                <a:gd name="connsiteX1237" fmla="*/ 749348 w 926148"/>
                <a:gd name="connsiteY1237" fmla="*/ 524898 h 610126"/>
                <a:gd name="connsiteX1238" fmla="*/ 746746 w 926148"/>
                <a:gd name="connsiteY1238" fmla="*/ 526043 h 610126"/>
                <a:gd name="connsiteX1239" fmla="*/ 744145 w 926148"/>
                <a:gd name="connsiteY1239" fmla="*/ 526043 h 610126"/>
                <a:gd name="connsiteX1240" fmla="*/ 742896 w 926148"/>
                <a:gd name="connsiteY1240" fmla="*/ 526043 h 610126"/>
                <a:gd name="connsiteX1241" fmla="*/ 740087 w 926148"/>
                <a:gd name="connsiteY1241" fmla="*/ 525210 h 610126"/>
                <a:gd name="connsiteX1242" fmla="*/ 737797 w 926148"/>
                <a:gd name="connsiteY1242" fmla="*/ 523649 h 610126"/>
                <a:gd name="connsiteX1243" fmla="*/ 736028 w 926148"/>
                <a:gd name="connsiteY1243" fmla="*/ 521464 h 610126"/>
                <a:gd name="connsiteX1244" fmla="*/ 734883 w 926148"/>
                <a:gd name="connsiteY1244" fmla="*/ 518862 h 610126"/>
                <a:gd name="connsiteX1245" fmla="*/ 734883 w 926148"/>
                <a:gd name="connsiteY1245" fmla="*/ 516261 h 610126"/>
                <a:gd name="connsiteX1246" fmla="*/ 811681 w 926148"/>
                <a:gd name="connsiteY1246" fmla="*/ 438213 h 610126"/>
                <a:gd name="connsiteX1247" fmla="*/ 812513 w 926148"/>
                <a:gd name="connsiteY1247" fmla="*/ 435299 h 610126"/>
                <a:gd name="connsiteX1248" fmla="*/ 814074 w 926148"/>
                <a:gd name="connsiteY1248" fmla="*/ 432906 h 610126"/>
                <a:gd name="connsiteX1249" fmla="*/ 816260 w 926148"/>
                <a:gd name="connsiteY1249" fmla="*/ 431137 h 610126"/>
                <a:gd name="connsiteX1250" fmla="*/ 818861 w 926148"/>
                <a:gd name="connsiteY1250" fmla="*/ 430096 h 610126"/>
                <a:gd name="connsiteX1251" fmla="*/ 821463 w 926148"/>
                <a:gd name="connsiteY1251" fmla="*/ 430096 h 610126"/>
                <a:gd name="connsiteX1252" fmla="*/ 822607 w 926148"/>
                <a:gd name="connsiteY1252" fmla="*/ 430096 h 610126"/>
                <a:gd name="connsiteX1253" fmla="*/ 825521 w 926148"/>
                <a:gd name="connsiteY1253" fmla="*/ 431033 h 610126"/>
                <a:gd name="connsiteX1254" fmla="*/ 827811 w 926148"/>
                <a:gd name="connsiteY1254" fmla="*/ 432594 h 610126"/>
                <a:gd name="connsiteX1255" fmla="*/ 829580 w 926148"/>
                <a:gd name="connsiteY1255" fmla="*/ 434675 h 610126"/>
                <a:gd name="connsiteX1256" fmla="*/ 830724 w 926148"/>
                <a:gd name="connsiteY1256" fmla="*/ 437276 h 610126"/>
                <a:gd name="connsiteX1257" fmla="*/ 830724 w 926148"/>
                <a:gd name="connsiteY1257" fmla="*/ 439982 h 610126"/>
                <a:gd name="connsiteX1258" fmla="*/ 830724 w 926148"/>
                <a:gd name="connsiteY1258" fmla="*/ 441023 h 610126"/>
                <a:gd name="connsiteX1259" fmla="*/ 829788 w 926148"/>
                <a:gd name="connsiteY1259" fmla="*/ 443936 h 610126"/>
                <a:gd name="connsiteX1260" fmla="*/ 828227 w 926148"/>
                <a:gd name="connsiteY1260" fmla="*/ 446330 h 610126"/>
                <a:gd name="connsiteX1261" fmla="*/ 826145 w 926148"/>
                <a:gd name="connsiteY1261" fmla="*/ 448099 h 610126"/>
                <a:gd name="connsiteX1262" fmla="*/ 823440 w 926148"/>
                <a:gd name="connsiteY1262" fmla="*/ 449140 h 610126"/>
                <a:gd name="connsiteX1263" fmla="*/ 820838 w 926148"/>
                <a:gd name="connsiteY1263" fmla="*/ 449140 h 610126"/>
                <a:gd name="connsiteX1264" fmla="*/ 819590 w 926148"/>
                <a:gd name="connsiteY1264" fmla="*/ 449140 h 610126"/>
                <a:gd name="connsiteX1265" fmla="*/ 816884 w 926148"/>
                <a:gd name="connsiteY1265" fmla="*/ 448203 h 610126"/>
                <a:gd name="connsiteX1266" fmla="*/ 814491 w 926148"/>
                <a:gd name="connsiteY1266" fmla="*/ 446642 h 610126"/>
                <a:gd name="connsiteX1267" fmla="*/ 812722 w 926148"/>
                <a:gd name="connsiteY1267" fmla="*/ 444561 h 610126"/>
                <a:gd name="connsiteX1268" fmla="*/ 811577 w 926148"/>
                <a:gd name="connsiteY1268" fmla="*/ 441959 h 610126"/>
                <a:gd name="connsiteX1269" fmla="*/ 811577 w 926148"/>
                <a:gd name="connsiteY1269" fmla="*/ 439254 h 610126"/>
                <a:gd name="connsiteX1270" fmla="*/ 850288 w 926148"/>
                <a:gd name="connsiteY1270" fmla="*/ 300641 h 610126"/>
                <a:gd name="connsiteX1271" fmla="*/ 850912 w 926148"/>
                <a:gd name="connsiteY1271" fmla="*/ 297831 h 610126"/>
                <a:gd name="connsiteX1272" fmla="*/ 851745 w 926148"/>
                <a:gd name="connsiteY1272" fmla="*/ 295125 h 610126"/>
                <a:gd name="connsiteX1273" fmla="*/ 853306 w 926148"/>
                <a:gd name="connsiteY1273" fmla="*/ 292524 h 610126"/>
                <a:gd name="connsiteX1274" fmla="*/ 854658 w 926148"/>
                <a:gd name="connsiteY1274" fmla="*/ 290026 h 610126"/>
                <a:gd name="connsiteX1275" fmla="*/ 856219 w 926148"/>
                <a:gd name="connsiteY1275" fmla="*/ 287737 h 610126"/>
                <a:gd name="connsiteX1276" fmla="*/ 857988 w 926148"/>
                <a:gd name="connsiteY1276" fmla="*/ 285551 h 610126"/>
                <a:gd name="connsiteX1277" fmla="*/ 859966 w 926148"/>
                <a:gd name="connsiteY1277" fmla="*/ 283574 h 610126"/>
                <a:gd name="connsiteX1278" fmla="*/ 862047 w 926148"/>
                <a:gd name="connsiteY1278" fmla="*/ 281805 h 610126"/>
                <a:gd name="connsiteX1279" fmla="*/ 864336 w 926148"/>
                <a:gd name="connsiteY1279" fmla="*/ 280244 h 610126"/>
                <a:gd name="connsiteX1280" fmla="*/ 866834 w 926148"/>
                <a:gd name="connsiteY1280" fmla="*/ 278891 h 610126"/>
                <a:gd name="connsiteX1281" fmla="*/ 869435 w 926148"/>
                <a:gd name="connsiteY1281" fmla="*/ 277851 h 610126"/>
                <a:gd name="connsiteX1282" fmla="*/ 872141 w 926148"/>
                <a:gd name="connsiteY1282" fmla="*/ 276914 h 610126"/>
                <a:gd name="connsiteX1283" fmla="*/ 874950 w 926148"/>
                <a:gd name="connsiteY1283" fmla="*/ 276914 h 610126"/>
                <a:gd name="connsiteX1284" fmla="*/ 879529 w 926148"/>
                <a:gd name="connsiteY1284" fmla="*/ 276914 h 610126"/>
                <a:gd name="connsiteX1285" fmla="*/ 883796 w 926148"/>
                <a:gd name="connsiteY1285" fmla="*/ 276914 h 610126"/>
                <a:gd name="connsiteX1286" fmla="*/ 886605 w 926148"/>
                <a:gd name="connsiteY1286" fmla="*/ 277538 h 610126"/>
                <a:gd name="connsiteX1287" fmla="*/ 889311 w 926148"/>
                <a:gd name="connsiteY1287" fmla="*/ 278371 h 610126"/>
                <a:gd name="connsiteX1288" fmla="*/ 891912 w 926148"/>
                <a:gd name="connsiteY1288" fmla="*/ 279412 h 610126"/>
                <a:gd name="connsiteX1289" fmla="*/ 894410 w 926148"/>
                <a:gd name="connsiteY1289" fmla="*/ 280764 h 610126"/>
                <a:gd name="connsiteX1290" fmla="*/ 896699 w 926148"/>
                <a:gd name="connsiteY1290" fmla="*/ 282325 h 610126"/>
                <a:gd name="connsiteX1291" fmla="*/ 898885 w 926148"/>
                <a:gd name="connsiteY1291" fmla="*/ 284094 h 610126"/>
                <a:gd name="connsiteX1292" fmla="*/ 900862 w 926148"/>
                <a:gd name="connsiteY1292" fmla="*/ 286072 h 610126"/>
                <a:gd name="connsiteX1293" fmla="*/ 902631 w 926148"/>
                <a:gd name="connsiteY1293" fmla="*/ 288153 h 610126"/>
                <a:gd name="connsiteX1294" fmla="*/ 904192 w 926148"/>
                <a:gd name="connsiteY1294" fmla="*/ 290442 h 610126"/>
                <a:gd name="connsiteX1295" fmla="*/ 905336 w 926148"/>
                <a:gd name="connsiteY1295" fmla="*/ 292524 h 610126"/>
                <a:gd name="connsiteX1296" fmla="*/ 906481 w 926148"/>
                <a:gd name="connsiteY1296" fmla="*/ 295125 h 610126"/>
                <a:gd name="connsiteX1297" fmla="*/ 907314 w 926148"/>
                <a:gd name="connsiteY1297" fmla="*/ 297831 h 610126"/>
                <a:gd name="connsiteX1298" fmla="*/ 907314 w 926148"/>
                <a:gd name="connsiteY1298" fmla="*/ 300641 h 610126"/>
                <a:gd name="connsiteX1299" fmla="*/ 907314 w 926148"/>
                <a:gd name="connsiteY1299" fmla="*/ 305219 h 610126"/>
                <a:gd name="connsiteX1300" fmla="*/ 907314 w 926148"/>
                <a:gd name="connsiteY1300" fmla="*/ 309486 h 610126"/>
                <a:gd name="connsiteX1301" fmla="*/ 906689 w 926148"/>
                <a:gd name="connsiteY1301" fmla="*/ 312296 h 610126"/>
                <a:gd name="connsiteX1302" fmla="*/ 905857 w 926148"/>
                <a:gd name="connsiteY1302" fmla="*/ 315001 h 610126"/>
                <a:gd name="connsiteX1303" fmla="*/ 904816 w 926148"/>
                <a:gd name="connsiteY1303" fmla="*/ 317603 h 610126"/>
                <a:gd name="connsiteX1304" fmla="*/ 903463 w 926148"/>
                <a:gd name="connsiteY1304" fmla="*/ 320100 h 610126"/>
                <a:gd name="connsiteX1305" fmla="*/ 901902 w 926148"/>
                <a:gd name="connsiteY1305" fmla="*/ 322390 h 610126"/>
                <a:gd name="connsiteX1306" fmla="*/ 900133 w 926148"/>
                <a:gd name="connsiteY1306" fmla="*/ 324575 h 610126"/>
                <a:gd name="connsiteX1307" fmla="*/ 898260 w 926148"/>
                <a:gd name="connsiteY1307" fmla="*/ 326552 h 610126"/>
                <a:gd name="connsiteX1308" fmla="*/ 896075 w 926148"/>
                <a:gd name="connsiteY1308" fmla="*/ 328322 h 610126"/>
                <a:gd name="connsiteX1309" fmla="*/ 893786 w 926148"/>
                <a:gd name="connsiteY1309" fmla="*/ 329882 h 610126"/>
                <a:gd name="connsiteX1310" fmla="*/ 891288 w 926148"/>
                <a:gd name="connsiteY1310" fmla="*/ 331235 h 610126"/>
                <a:gd name="connsiteX1311" fmla="*/ 888687 w 926148"/>
                <a:gd name="connsiteY1311" fmla="*/ 332380 h 610126"/>
                <a:gd name="connsiteX1312" fmla="*/ 885981 w 926148"/>
                <a:gd name="connsiteY1312" fmla="*/ 333213 h 610126"/>
                <a:gd name="connsiteX1313" fmla="*/ 883171 w 926148"/>
                <a:gd name="connsiteY1313" fmla="*/ 333213 h 610126"/>
                <a:gd name="connsiteX1314" fmla="*/ 878697 w 926148"/>
                <a:gd name="connsiteY1314" fmla="*/ 333213 h 610126"/>
                <a:gd name="connsiteX1315" fmla="*/ 874326 w 926148"/>
                <a:gd name="connsiteY1315" fmla="*/ 333213 h 610126"/>
                <a:gd name="connsiteX1316" fmla="*/ 871516 w 926148"/>
                <a:gd name="connsiteY1316" fmla="*/ 332588 h 610126"/>
                <a:gd name="connsiteX1317" fmla="*/ 868811 w 926148"/>
                <a:gd name="connsiteY1317" fmla="*/ 331756 h 610126"/>
                <a:gd name="connsiteX1318" fmla="*/ 866209 w 926148"/>
                <a:gd name="connsiteY1318" fmla="*/ 330715 h 610126"/>
                <a:gd name="connsiteX1319" fmla="*/ 863712 w 926148"/>
                <a:gd name="connsiteY1319" fmla="*/ 329362 h 610126"/>
                <a:gd name="connsiteX1320" fmla="*/ 861422 w 926148"/>
                <a:gd name="connsiteY1320" fmla="*/ 327801 h 610126"/>
                <a:gd name="connsiteX1321" fmla="*/ 859237 w 926148"/>
                <a:gd name="connsiteY1321" fmla="*/ 326032 h 610126"/>
                <a:gd name="connsiteX1322" fmla="*/ 857260 w 926148"/>
                <a:gd name="connsiteY1322" fmla="*/ 324159 h 610126"/>
                <a:gd name="connsiteX1323" fmla="*/ 855491 w 926148"/>
                <a:gd name="connsiteY1323" fmla="*/ 321974 h 610126"/>
                <a:gd name="connsiteX1324" fmla="*/ 853930 w 926148"/>
                <a:gd name="connsiteY1324" fmla="*/ 319684 h 610126"/>
                <a:gd name="connsiteX1325" fmla="*/ 852577 w 926148"/>
                <a:gd name="connsiteY1325" fmla="*/ 317187 h 610126"/>
                <a:gd name="connsiteX1326" fmla="*/ 851537 w 926148"/>
                <a:gd name="connsiteY1326" fmla="*/ 314585 h 610126"/>
                <a:gd name="connsiteX1327" fmla="*/ 850600 w 926148"/>
                <a:gd name="connsiteY1327" fmla="*/ 311879 h 610126"/>
                <a:gd name="connsiteX1328" fmla="*/ 850600 w 926148"/>
                <a:gd name="connsiteY1328" fmla="*/ 309070 h 610126"/>
                <a:gd name="connsiteX1329" fmla="*/ 850600 w 926148"/>
                <a:gd name="connsiteY1329" fmla="*/ 304595 h 610126"/>
                <a:gd name="connsiteX1330" fmla="*/ 811681 w 926148"/>
                <a:gd name="connsiteY1330" fmla="*/ 169312 h 610126"/>
                <a:gd name="connsiteX1331" fmla="*/ 812513 w 926148"/>
                <a:gd name="connsiteY1331" fmla="*/ 166398 h 610126"/>
                <a:gd name="connsiteX1332" fmla="*/ 814074 w 926148"/>
                <a:gd name="connsiteY1332" fmla="*/ 164109 h 610126"/>
                <a:gd name="connsiteX1333" fmla="*/ 816260 w 926148"/>
                <a:gd name="connsiteY1333" fmla="*/ 162340 h 610126"/>
                <a:gd name="connsiteX1334" fmla="*/ 818861 w 926148"/>
                <a:gd name="connsiteY1334" fmla="*/ 161195 h 610126"/>
                <a:gd name="connsiteX1335" fmla="*/ 821671 w 926148"/>
                <a:gd name="connsiteY1335" fmla="*/ 161195 h 610126"/>
                <a:gd name="connsiteX1336" fmla="*/ 822607 w 926148"/>
                <a:gd name="connsiteY1336" fmla="*/ 161195 h 610126"/>
                <a:gd name="connsiteX1337" fmla="*/ 825521 w 926148"/>
                <a:gd name="connsiteY1337" fmla="*/ 162132 h 610126"/>
                <a:gd name="connsiteX1338" fmla="*/ 827811 w 926148"/>
                <a:gd name="connsiteY1338" fmla="*/ 163692 h 610126"/>
                <a:gd name="connsiteX1339" fmla="*/ 829580 w 926148"/>
                <a:gd name="connsiteY1339" fmla="*/ 165878 h 610126"/>
                <a:gd name="connsiteX1340" fmla="*/ 830724 w 926148"/>
                <a:gd name="connsiteY1340" fmla="*/ 168375 h 610126"/>
                <a:gd name="connsiteX1341" fmla="*/ 830724 w 926148"/>
                <a:gd name="connsiteY1341" fmla="*/ 171081 h 610126"/>
                <a:gd name="connsiteX1342" fmla="*/ 830724 w 926148"/>
                <a:gd name="connsiteY1342" fmla="*/ 172122 h 610126"/>
                <a:gd name="connsiteX1343" fmla="*/ 829788 w 926148"/>
                <a:gd name="connsiteY1343" fmla="*/ 175036 h 610126"/>
                <a:gd name="connsiteX1344" fmla="*/ 828227 w 926148"/>
                <a:gd name="connsiteY1344" fmla="*/ 177429 h 610126"/>
                <a:gd name="connsiteX1345" fmla="*/ 826041 w 926148"/>
                <a:gd name="connsiteY1345" fmla="*/ 179198 h 610126"/>
                <a:gd name="connsiteX1346" fmla="*/ 823440 w 926148"/>
                <a:gd name="connsiteY1346" fmla="*/ 180343 h 610126"/>
                <a:gd name="connsiteX1347" fmla="*/ 820838 w 926148"/>
                <a:gd name="connsiteY1347" fmla="*/ 180343 h 610126"/>
                <a:gd name="connsiteX1348" fmla="*/ 819590 w 926148"/>
                <a:gd name="connsiteY1348" fmla="*/ 180343 h 610126"/>
                <a:gd name="connsiteX1349" fmla="*/ 816884 w 926148"/>
                <a:gd name="connsiteY1349" fmla="*/ 179510 h 610126"/>
                <a:gd name="connsiteX1350" fmla="*/ 814803 w 926148"/>
                <a:gd name="connsiteY1350" fmla="*/ 178053 h 610126"/>
                <a:gd name="connsiteX1351" fmla="*/ 813034 w 926148"/>
                <a:gd name="connsiteY1351" fmla="*/ 175868 h 610126"/>
                <a:gd name="connsiteX1352" fmla="*/ 811889 w 926148"/>
                <a:gd name="connsiteY1352" fmla="*/ 173266 h 610126"/>
                <a:gd name="connsiteX1353" fmla="*/ 811889 w 926148"/>
                <a:gd name="connsiteY1353" fmla="*/ 170665 h 610126"/>
                <a:gd name="connsiteX1354" fmla="*/ 734779 w 926148"/>
                <a:gd name="connsiteY1354" fmla="*/ 92513 h 610126"/>
                <a:gd name="connsiteX1355" fmla="*/ 735716 w 926148"/>
                <a:gd name="connsiteY1355" fmla="*/ 89599 h 610126"/>
                <a:gd name="connsiteX1356" fmla="*/ 737277 w 926148"/>
                <a:gd name="connsiteY1356" fmla="*/ 87206 h 610126"/>
                <a:gd name="connsiteX1357" fmla="*/ 739358 w 926148"/>
                <a:gd name="connsiteY1357" fmla="*/ 85437 h 610126"/>
                <a:gd name="connsiteX1358" fmla="*/ 741960 w 926148"/>
                <a:gd name="connsiteY1358" fmla="*/ 84292 h 610126"/>
                <a:gd name="connsiteX1359" fmla="*/ 744769 w 926148"/>
                <a:gd name="connsiteY1359" fmla="*/ 84292 h 610126"/>
                <a:gd name="connsiteX1360" fmla="*/ 745706 w 926148"/>
                <a:gd name="connsiteY1360" fmla="*/ 84292 h 610126"/>
                <a:gd name="connsiteX1361" fmla="*/ 748620 w 926148"/>
                <a:gd name="connsiteY1361" fmla="*/ 85124 h 610126"/>
                <a:gd name="connsiteX1362" fmla="*/ 751013 w 926148"/>
                <a:gd name="connsiteY1362" fmla="*/ 86685 h 610126"/>
                <a:gd name="connsiteX1363" fmla="*/ 752782 w 926148"/>
                <a:gd name="connsiteY1363" fmla="*/ 88870 h 610126"/>
                <a:gd name="connsiteX1364" fmla="*/ 753927 w 926148"/>
                <a:gd name="connsiteY1364" fmla="*/ 91472 h 610126"/>
                <a:gd name="connsiteX1365" fmla="*/ 753927 w 926148"/>
                <a:gd name="connsiteY1365" fmla="*/ 94178 h 610126"/>
                <a:gd name="connsiteX1366" fmla="*/ 753927 w 926148"/>
                <a:gd name="connsiteY1366" fmla="*/ 95218 h 610126"/>
                <a:gd name="connsiteX1367" fmla="*/ 753094 w 926148"/>
                <a:gd name="connsiteY1367" fmla="*/ 98132 h 610126"/>
                <a:gd name="connsiteX1368" fmla="*/ 751533 w 926148"/>
                <a:gd name="connsiteY1368" fmla="*/ 100422 h 610126"/>
                <a:gd name="connsiteX1369" fmla="*/ 749348 w 926148"/>
                <a:gd name="connsiteY1369" fmla="*/ 102295 h 610126"/>
                <a:gd name="connsiteX1370" fmla="*/ 746746 w 926148"/>
                <a:gd name="connsiteY1370" fmla="*/ 103336 h 610126"/>
                <a:gd name="connsiteX1371" fmla="*/ 743937 w 926148"/>
                <a:gd name="connsiteY1371" fmla="*/ 103336 h 610126"/>
                <a:gd name="connsiteX1372" fmla="*/ 742896 w 926148"/>
                <a:gd name="connsiteY1372" fmla="*/ 103336 h 610126"/>
                <a:gd name="connsiteX1373" fmla="*/ 740087 w 926148"/>
                <a:gd name="connsiteY1373" fmla="*/ 102503 h 610126"/>
                <a:gd name="connsiteX1374" fmla="*/ 737797 w 926148"/>
                <a:gd name="connsiteY1374" fmla="*/ 100942 h 610126"/>
                <a:gd name="connsiteX1375" fmla="*/ 735924 w 926148"/>
                <a:gd name="connsiteY1375" fmla="*/ 98861 h 610126"/>
                <a:gd name="connsiteX1376" fmla="*/ 734883 w 926148"/>
                <a:gd name="connsiteY1376" fmla="*/ 96259 h 610126"/>
                <a:gd name="connsiteX1377" fmla="*/ 734883 w 926148"/>
                <a:gd name="connsiteY1377" fmla="*/ 93553 h 610126"/>
                <a:gd name="connsiteX1378" fmla="*/ 191994 w 926148"/>
                <a:gd name="connsiteY1378" fmla="*/ 94802 h 610126"/>
                <a:gd name="connsiteX1379" fmla="*/ 191161 w 926148"/>
                <a:gd name="connsiteY1379" fmla="*/ 97716 h 610126"/>
                <a:gd name="connsiteX1380" fmla="*/ 189496 w 926148"/>
                <a:gd name="connsiteY1380" fmla="*/ 100005 h 610126"/>
                <a:gd name="connsiteX1381" fmla="*/ 187415 w 926148"/>
                <a:gd name="connsiteY1381" fmla="*/ 101774 h 610126"/>
                <a:gd name="connsiteX1382" fmla="*/ 184709 w 926148"/>
                <a:gd name="connsiteY1382" fmla="*/ 102815 h 610126"/>
                <a:gd name="connsiteX1383" fmla="*/ 182212 w 926148"/>
                <a:gd name="connsiteY1383" fmla="*/ 102815 h 610126"/>
                <a:gd name="connsiteX1384" fmla="*/ 180859 w 926148"/>
                <a:gd name="connsiteY1384" fmla="*/ 102815 h 610126"/>
                <a:gd name="connsiteX1385" fmla="*/ 178154 w 926148"/>
                <a:gd name="connsiteY1385" fmla="*/ 101983 h 610126"/>
                <a:gd name="connsiteX1386" fmla="*/ 175760 w 926148"/>
                <a:gd name="connsiteY1386" fmla="*/ 100422 h 610126"/>
                <a:gd name="connsiteX1387" fmla="*/ 173991 w 926148"/>
                <a:gd name="connsiteY1387" fmla="*/ 98236 h 610126"/>
                <a:gd name="connsiteX1388" fmla="*/ 172950 w 926148"/>
                <a:gd name="connsiteY1388" fmla="*/ 95635 h 610126"/>
                <a:gd name="connsiteX1389" fmla="*/ 172950 w 926148"/>
                <a:gd name="connsiteY1389" fmla="*/ 93345 h 610126"/>
                <a:gd name="connsiteX1390" fmla="*/ 172950 w 926148"/>
                <a:gd name="connsiteY1390" fmla="*/ 91888 h 610126"/>
                <a:gd name="connsiteX1391" fmla="*/ 173783 w 926148"/>
                <a:gd name="connsiteY1391" fmla="*/ 88975 h 610126"/>
                <a:gd name="connsiteX1392" fmla="*/ 175448 w 926148"/>
                <a:gd name="connsiteY1392" fmla="*/ 86685 h 610126"/>
                <a:gd name="connsiteX1393" fmla="*/ 177529 w 926148"/>
                <a:gd name="connsiteY1393" fmla="*/ 84916 h 610126"/>
                <a:gd name="connsiteX1394" fmla="*/ 180235 w 926148"/>
                <a:gd name="connsiteY1394" fmla="*/ 83771 h 610126"/>
                <a:gd name="connsiteX1395" fmla="*/ 182732 w 926148"/>
                <a:gd name="connsiteY1395" fmla="*/ 83771 h 610126"/>
                <a:gd name="connsiteX1396" fmla="*/ 183981 w 926148"/>
                <a:gd name="connsiteY1396" fmla="*/ 83771 h 610126"/>
                <a:gd name="connsiteX1397" fmla="*/ 186791 w 926148"/>
                <a:gd name="connsiteY1397" fmla="*/ 84708 h 610126"/>
                <a:gd name="connsiteX1398" fmla="*/ 189184 w 926148"/>
                <a:gd name="connsiteY1398" fmla="*/ 86269 h 610126"/>
                <a:gd name="connsiteX1399" fmla="*/ 190953 w 926148"/>
                <a:gd name="connsiteY1399" fmla="*/ 88454 h 610126"/>
                <a:gd name="connsiteX1400" fmla="*/ 191994 w 926148"/>
                <a:gd name="connsiteY1400" fmla="*/ 91056 h 610126"/>
                <a:gd name="connsiteX1401" fmla="*/ 191994 w 926148"/>
                <a:gd name="connsiteY1401" fmla="*/ 93345 h 610126"/>
                <a:gd name="connsiteX1402" fmla="*/ 115196 w 926148"/>
                <a:gd name="connsiteY1402" fmla="*/ 171601 h 610126"/>
                <a:gd name="connsiteX1403" fmla="*/ 114260 w 926148"/>
                <a:gd name="connsiteY1403" fmla="*/ 174515 h 610126"/>
                <a:gd name="connsiteX1404" fmla="*/ 112699 w 926148"/>
                <a:gd name="connsiteY1404" fmla="*/ 176805 h 610126"/>
                <a:gd name="connsiteX1405" fmla="*/ 110513 w 926148"/>
                <a:gd name="connsiteY1405" fmla="*/ 178574 h 610126"/>
                <a:gd name="connsiteX1406" fmla="*/ 107912 w 926148"/>
                <a:gd name="connsiteY1406" fmla="*/ 179718 h 610126"/>
                <a:gd name="connsiteX1407" fmla="*/ 105623 w 926148"/>
                <a:gd name="connsiteY1407" fmla="*/ 179718 h 610126"/>
                <a:gd name="connsiteX1408" fmla="*/ 104062 w 926148"/>
                <a:gd name="connsiteY1408" fmla="*/ 179718 h 610126"/>
                <a:gd name="connsiteX1409" fmla="*/ 101148 w 926148"/>
                <a:gd name="connsiteY1409" fmla="*/ 178782 h 610126"/>
                <a:gd name="connsiteX1410" fmla="*/ 98963 w 926148"/>
                <a:gd name="connsiteY1410" fmla="*/ 178053 h 610126"/>
                <a:gd name="connsiteX1411" fmla="*/ 97194 w 926148"/>
                <a:gd name="connsiteY1411" fmla="*/ 175868 h 610126"/>
                <a:gd name="connsiteX1412" fmla="*/ 96049 w 926148"/>
                <a:gd name="connsiteY1412" fmla="*/ 173266 h 610126"/>
                <a:gd name="connsiteX1413" fmla="*/ 96049 w 926148"/>
                <a:gd name="connsiteY1413" fmla="*/ 170769 h 610126"/>
                <a:gd name="connsiteX1414" fmla="*/ 96049 w 926148"/>
                <a:gd name="connsiteY1414" fmla="*/ 169520 h 610126"/>
                <a:gd name="connsiteX1415" fmla="*/ 96985 w 926148"/>
                <a:gd name="connsiteY1415" fmla="*/ 166606 h 610126"/>
                <a:gd name="connsiteX1416" fmla="*/ 98546 w 926148"/>
                <a:gd name="connsiteY1416" fmla="*/ 164317 h 610126"/>
                <a:gd name="connsiteX1417" fmla="*/ 100732 w 926148"/>
                <a:gd name="connsiteY1417" fmla="*/ 162548 h 610126"/>
                <a:gd name="connsiteX1418" fmla="*/ 103333 w 926148"/>
                <a:gd name="connsiteY1418" fmla="*/ 161507 h 610126"/>
                <a:gd name="connsiteX1419" fmla="*/ 105935 w 926148"/>
                <a:gd name="connsiteY1419" fmla="*/ 161507 h 610126"/>
                <a:gd name="connsiteX1420" fmla="*/ 107079 w 926148"/>
                <a:gd name="connsiteY1420" fmla="*/ 161507 h 610126"/>
                <a:gd name="connsiteX1421" fmla="*/ 109993 w 926148"/>
                <a:gd name="connsiteY1421" fmla="*/ 162444 h 610126"/>
                <a:gd name="connsiteX1422" fmla="*/ 112283 w 926148"/>
                <a:gd name="connsiteY1422" fmla="*/ 164005 h 610126"/>
                <a:gd name="connsiteX1423" fmla="*/ 114052 w 926148"/>
                <a:gd name="connsiteY1423" fmla="*/ 166190 h 610126"/>
                <a:gd name="connsiteX1424" fmla="*/ 115196 w 926148"/>
                <a:gd name="connsiteY1424" fmla="*/ 168792 h 610126"/>
                <a:gd name="connsiteX1425" fmla="*/ 115196 w 926148"/>
                <a:gd name="connsiteY1425" fmla="*/ 171393 h 610126"/>
                <a:gd name="connsiteX1426" fmla="*/ 76485 w 926148"/>
                <a:gd name="connsiteY1426" fmla="*/ 309486 h 610126"/>
                <a:gd name="connsiteX1427" fmla="*/ 76485 w 926148"/>
                <a:gd name="connsiteY1427" fmla="*/ 312296 h 610126"/>
                <a:gd name="connsiteX1428" fmla="*/ 75653 w 926148"/>
                <a:gd name="connsiteY1428" fmla="*/ 315001 h 610126"/>
                <a:gd name="connsiteX1429" fmla="*/ 74508 w 926148"/>
                <a:gd name="connsiteY1429" fmla="*/ 317603 h 610126"/>
                <a:gd name="connsiteX1430" fmla="*/ 73155 w 926148"/>
                <a:gd name="connsiteY1430" fmla="*/ 320100 h 610126"/>
                <a:gd name="connsiteX1431" fmla="*/ 71594 w 926148"/>
                <a:gd name="connsiteY1431" fmla="*/ 322390 h 610126"/>
                <a:gd name="connsiteX1432" fmla="*/ 69825 w 926148"/>
                <a:gd name="connsiteY1432" fmla="*/ 324575 h 610126"/>
                <a:gd name="connsiteX1433" fmla="*/ 67848 w 926148"/>
                <a:gd name="connsiteY1433" fmla="*/ 326552 h 610126"/>
                <a:gd name="connsiteX1434" fmla="*/ 65767 w 926148"/>
                <a:gd name="connsiteY1434" fmla="*/ 328322 h 610126"/>
                <a:gd name="connsiteX1435" fmla="*/ 63374 w 926148"/>
                <a:gd name="connsiteY1435" fmla="*/ 329882 h 610126"/>
                <a:gd name="connsiteX1436" fmla="*/ 60980 w 926148"/>
                <a:gd name="connsiteY1436" fmla="*/ 331131 h 610126"/>
                <a:gd name="connsiteX1437" fmla="*/ 58379 w 926148"/>
                <a:gd name="connsiteY1437" fmla="*/ 332276 h 610126"/>
                <a:gd name="connsiteX1438" fmla="*/ 55673 w 926148"/>
                <a:gd name="connsiteY1438" fmla="*/ 333108 h 610126"/>
                <a:gd name="connsiteX1439" fmla="*/ 52031 w 926148"/>
                <a:gd name="connsiteY1439" fmla="*/ 334149 h 610126"/>
                <a:gd name="connsiteX1440" fmla="*/ 47556 w 926148"/>
                <a:gd name="connsiteY1440" fmla="*/ 334149 h 610126"/>
                <a:gd name="connsiteX1441" fmla="*/ 43082 w 926148"/>
                <a:gd name="connsiteY1441" fmla="*/ 334149 h 610126"/>
                <a:gd name="connsiteX1442" fmla="*/ 40272 w 926148"/>
                <a:gd name="connsiteY1442" fmla="*/ 334149 h 610126"/>
                <a:gd name="connsiteX1443" fmla="*/ 37566 w 926148"/>
                <a:gd name="connsiteY1443" fmla="*/ 333317 h 610126"/>
                <a:gd name="connsiteX1444" fmla="*/ 35069 w 926148"/>
                <a:gd name="connsiteY1444" fmla="*/ 332172 h 610126"/>
                <a:gd name="connsiteX1445" fmla="*/ 32571 w 926148"/>
                <a:gd name="connsiteY1445" fmla="*/ 330923 h 610126"/>
                <a:gd name="connsiteX1446" fmla="*/ 30282 w 926148"/>
                <a:gd name="connsiteY1446" fmla="*/ 329362 h 610126"/>
                <a:gd name="connsiteX1447" fmla="*/ 28097 w 926148"/>
                <a:gd name="connsiteY1447" fmla="*/ 327593 h 610126"/>
                <a:gd name="connsiteX1448" fmla="*/ 26119 w 926148"/>
                <a:gd name="connsiteY1448" fmla="*/ 325616 h 610126"/>
                <a:gd name="connsiteX1449" fmla="*/ 24350 w 926148"/>
                <a:gd name="connsiteY1449" fmla="*/ 323431 h 610126"/>
                <a:gd name="connsiteX1450" fmla="*/ 22790 w 926148"/>
                <a:gd name="connsiteY1450" fmla="*/ 321141 h 610126"/>
                <a:gd name="connsiteX1451" fmla="*/ 21437 w 926148"/>
                <a:gd name="connsiteY1451" fmla="*/ 318644 h 610126"/>
                <a:gd name="connsiteX1452" fmla="*/ 20396 w 926148"/>
                <a:gd name="connsiteY1452" fmla="*/ 316042 h 610126"/>
                <a:gd name="connsiteX1453" fmla="*/ 19564 w 926148"/>
                <a:gd name="connsiteY1453" fmla="*/ 313336 h 610126"/>
                <a:gd name="connsiteX1454" fmla="*/ 18939 w 926148"/>
                <a:gd name="connsiteY1454" fmla="*/ 310527 h 610126"/>
                <a:gd name="connsiteX1455" fmla="*/ 18939 w 926148"/>
                <a:gd name="connsiteY1455" fmla="*/ 306156 h 610126"/>
                <a:gd name="connsiteX1456" fmla="*/ 18939 w 926148"/>
                <a:gd name="connsiteY1456" fmla="*/ 301681 h 610126"/>
                <a:gd name="connsiteX1457" fmla="*/ 19564 w 926148"/>
                <a:gd name="connsiteY1457" fmla="*/ 298871 h 610126"/>
                <a:gd name="connsiteX1458" fmla="*/ 20396 w 926148"/>
                <a:gd name="connsiteY1458" fmla="*/ 296166 h 610126"/>
                <a:gd name="connsiteX1459" fmla="*/ 21437 w 926148"/>
                <a:gd name="connsiteY1459" fmla="*/ 293564 h 610126"/>
                <a:gd name="connsiteX1460" fmla="*/ 22790 w 926148"/>
                <a:gd name="connsiteY1460" fmla="*/ 291067 h 610126"/>
                <a:gd name="connsiteX1461" fmla="*/ 24350 w 926148"/>
                <a:gd name="connsiteY1461" fmla="*/ 288777 h 610126"/>
                <a:gd name="connsiteX1462" fmla="*/ 26119 w 926148"/>
                <a:gd name="connsiteY1462" fmla="*/ 286696 h 610126"/>
                <a:gd name="connsiteX1463" fmla="*/ 28097 w 926148"/>
                <a:gd name="connsiteY1463" fmla="*/ 284719 h 610126"/>
                <a:gd name="connsiteX1464" fmla="*/ 30282 w 926148"/>
                <a:gd name="connsiteY1464" fmla="*/ 282950 h 610126"/>
                <a:gd name="connsiteX1465" fmla="*/ 32571 w 926148"/>
                <a:gd name="connsiteY1465" fmla="*/ 281389 h 610126"/>
                <a:gd name="connsiteX1466" fmla="*/ 35069 w 926148"/>
                <a:gd name="connsiteY1466" fmla="*/ 280036 h 610126"/>
                <a:gd name="connsiteX1467" fmla="*/ 37670 w 926148"/>
                <a:gd name="connsiteY1467" fmla="*/ 278891 h 610126"/>
                <a:gd name="connsiteX1468" fmla="*/ 40272 w 926148"/>
                <a:gd name="connsiteY1468" fmla="*/ 278059 h 610126"/>
                <a:gd name="connsiteX1469" fmla="*/ 43186 w 926148"/>
                <a:gd name="connsiteY1469" fmla="*/ 278059 h 610126"/>
                <a:gd name="connsiteX1470" fmla="*/ 47556 w 926148"/>
                <a:gd name="connsiteY1470" fmla="*/ 278059 h 610126"/>
                <a:gd name="connsiteX1471" fmla="*/ 52031 w 926148"/>
                <a:gd name="connsiteY1471" fmla="*/ 278059 h 610126"/>
                <a:gd name="connsiteX1472" fmla="*/ 54840 w 926148"/>
                <a:gd name="connsiteY1472" fmla="*/ 278059 h 610126"/>
                <a:gd name="connsiteX1473" fmla="*/ 57546 w 926148"/>
                <a:gd name="connsiteY1473" fmla="*/ 278891 h 610126"/>
                <a:gd name="connsiteX1474" fmla="*/ 60148 w 926148"/>
                <a:gd name="connsiteY1474" fmla="*/ 280036 h 610126"/>
                <a:gd name="connsiteX1475" fmla="*/ 62541 w 926148"/>
                <a:gd name="connsiteY1475" fmla="*/ 281389 h 610126"/>
                <a:gd name="connsiteX1476" fmla="*/ 64934 w 926148"/>
                <a:gd name="connsiteY1476" fmla="*/ 282950 h 610126"/>
                <a:gd name="connsiteX1477" fmla="*/ 67016 w 926148"/>
                <a:gd name="connsiteY1477" fmla="*/ 284719 h 610126"/>
                <a:gd name="connsiteX1478" fmla="*/ 68993 w 926148"/>
                <a:gd name="connsiteY1478" fmla="*/ 286696 h 610126"/>
                <a:gd name="connsiteX1479" fmla="*/ 70762 w 926148"/>
                <a:gd name="connsiteY1479" fmla="*/ 288777 h 610126"/>
                <a:gd name="connsiteX1480" fmla="*/ 72323 w 926148"/>
                <a:gd name="connsiteY1480" fmla="*/ 291067 h 610126"/>
                <a:gd name="connsiteX1481" fmla="*/ 73676 w 926148"/>
                <a:gd name="connsiteY1481" fmla="*/ 293564 h 610126"/>
                <a:gd name="connsiteX1482" fmla="*/ 74820 w 926148"/>
                <a:gd name="connsiteY1482" fmla="*/ 296166 h 610126"/>
                <a:gd name="connsiteX1483" fmla="*/ 75653 w 926148"/>
                <a:gd name="connsiteY1483" fmla="*/ 298871 h 610126"/>
                <a:gd name="connsiteX1484" fmla="*/ 75653 w 926148"/>
                <a:gd name="connsiteY1484" fmla="*/ 301681 h 610126"/>
                <a:gd name="connsiteX1485" fmla="*/ 75653 w 926148"/>
                <a:gd name="connsiteY1485" fmla="*/ 306052 h 610126"/>
                <a:gd name="connsiteX1486" fmla="*/ 115196 w 926148"/>
                <a:gd name="connsiteY1486" fmla="*/ 440919 h 610126"/>
                <a:gd name="connsiteX1487" fmla="*/ 114260 w 926148"/>
                <a:gd name="connsiteY1487" fmla="*/ 443832 h 610126"/>
                <a:gd name="connsiteX1488" fmla="*/ 112699 w 926148"/>
                <a:gd name="connsiteY1488" fmla="*/ 446122 h 610126"/>
                <a:gd name="connsiteX1489" fmla="*/ 110513 w 926148"/>
                <a:gd name="connsiteY1489" fmla="*/ 447891 h 610126"/>
                <a:gd name="connsiteX1490" fmla="*/ 107912 w 926148"/>
                <a:gd name="connsiteY1490" fmla="*/ 449036 h 610126"/>
                <a:gd name="connsiteX1491" fmla="*/ 105310 w 926148"/>
                <a:gd name="connsiteY1491" fmla="*/ 449036 h 610126"/>
                <a:gd name="connsiteX1492" fmla="*/ 104062 w 926148"/>
                <a:gd name="connsiteY1492" fmla="*/ 449036 h 610126"/>
                <a:gd name="connsiteX1493" fmla="*/ 101252 w 926148"/>
                <a:gd name="connsiteY1493" fmla="*/ 448619 h 610126"/>
                <a:gd name="connsiteX1494" fmla="*/ 98963 w 926148"/>
                <a:gd name="connsiteY1494" fmla="*/ 447058 h 610126"/>
                <a:gd name="connsiteX1495" fmla="*/ 97194 w 926148"/>
                <a:gd name="connsiteY1495" fmla="*/ 444873 h 610126"/>
                <a:gd name="connsiteX1496" fmla="*/ 96049 w 926148"/>
                <a:gd name="connsiteY1496" fmla="*/ 442271 h 610126"/>
                <a:gd name="connsiteX1497" fmla="*/ 96049 w 926148"/>
                <a:gd name="connsiteY1497" fmla="*/ 439670 h 610126"/>
                <a:gd name="connsiteX1498" fmla="*/ 96049 w 926148"/>
                <a:gd name="connsiteY1498" fmla="*/ 438213 h 610126"/>
                <a:gd name="connsiteX1499" fmla="*/ 96985 w 926148"/>
                <a:gd name="connsiteY1499" fmla="*/ 435299 h 610126"/>
                <a:gd name="connsiteX1500" fmla="*/ 98546 w 926148"/>
                <a:gd name="connsiteY1500" fmla="*/ 433010 h 610126"/>
                <a:gd name="connsiteX1501" fmla="*/ 100732 w 926148"/>
                <a:gd name="connsiteY1501" fmla="*/ 431241 h 610126"/>
                <a:gd name="connsiteX1502" fmla="*/ 103333 w 926148"/>
                <a:gd name="connsiteY1502" fmla="*/ 430096 h 610126"/>
                <a:gd name="connsiteX1503" fmla="*/ 105623 w 926148"/>
                <a:gd name="connsiteY1503" fmla="*/ 430096 h 610126"/>
                <a:gd name="connsiteX1504" fmla="*/ 107079 w 926148"/>
                <a:gd name="connsiteY1504" fmla="*/ 430096 h 610126"/>
                <a:gd name="connsiteX1505" fmla="*/ 109993 w 926148"/>
                <a:gd name="connsiteY1505" fmla="*/ 431033 h 610126"/>
                <a:gd name="connsiteX1506" fmla="*/ 112283 w 926148"/>
                <a:gd name="connsiteY1506" fmla="*/ 432594 h 610126"/>
                <a:gd name="connsiteX1507" fmla="*/ 114052 w 926148"/>
                <a:gd name="connsiteY1507" fmla="*/ 434779 h 610126"/>
                <a:gd name="connsiteX1508" fmla="*/ 115196 w 926148"/>
                <a:gd name="connsiteY1508" fmla="*/ 437380 h 610126"/>
                <a:gd name="connsiteX1509" fmla="*/ 115196 w 926148"/>
                <a:gd name="connsiteY1509" fmla="*/ 439982 h 610126"/>
                <a:gd name="connsiteX1510" fmla="*/ 191994 w 926148"/>
                <a:gd name="connsiteY1510" fmla="*/ 517822 h 610126"/>
                <a:gd name="connsiteX1511" fmla="*/ 191161 w 926148"/>
                <a:gd name="connsiteY1511" fmla="*/ 520632 h 610126"/>
                <a:gd name="connsiteX1512" fmla="*/ 189496 w 926148"/>
                <a:gd name="connsiteY1512" fmla="*/ 523025 h 610126"/>
                <a:gd name="connsiteX1513" fmla="*/ 187415 w 926148"/>
                <a:gd name="connsiteY1513" fmla="*/ 524794 h 610126"/>
                <a:gd name="connsiteX1514" fmla="*/ 184709 w 926148"/>
                <a:gd name="connsiteY1514" fmla="*/ 525835 h 610126"/>
                <a:gd name="connsiteX1515" fmla="*/ 182212 w 926148"/>
                <a:gd name="connsiteY1515" fmla="*/ 525835 h 610126"/>
                <a:gd name="connsiteX1516" fmla="*/ 180859 w 926148"/>
                <a:gd name="connsiteY1516" fmla="*/ 525835 h 610126"/>
                <a:gd name="connsiteX1517" fmla="*/ 178154 w 926148"/>
                <a:gd name="connsiteY1517" fmla="*/ 525002 h 610126"/>
                <a:gd name="connsiteX1518" fmla="*/ 175760 w 926148"/>
                <a:gd name="connsiteY1518" fmla="*/ 523337 h 610126"/>
                <a:gd name="connsiteX1519" fmla="*/ 173991 w 926148"/>
                <a:gd name="connsiteY1519" fmla="*/ 521256 h 610126"/>
                <a:gd name="connsiteX1520" fmla="*/ 172950 w 926148"/>
                <a:gd name="connsiteY1520" fmla="*/ 518550 h 610126"/>
                <a:gd name="connsiteX1521" fmla="*/ 172950 w 926148"/>
                <a:gd name="connsiteY1521" fmla="*/ 516365 h 610126"/>
                <a:gd name="connsiteX1522" fmla="*/ 172950 w 926148"/>
                <a:gd name="connsiteY1522" fmla="*/ 514804 h 610126"/>
                <a:gd name="connsiteX1523" fmla="*/ 173783 w 926148"/>
                <a:gd name="connsiteY1523" fmla="*/ 511994 h 610126"/>
                <a:gd name="connsiteX1524" fmla="*/ 175448 w 926148"/>
                <a:gd name="connsiteY1524" fmla="*/ 509601 h 610126"/>
                <a:gd name="connsiteX1525" fmla="*/ 177529 w 926148"/>
                <a:gd name="connsiteY1525" fmla="*/ 507832 h 610126"/>
                <a:gd name="connsiteX1526" fmla="*/ 180235 w 926148"/>
                <a:gd name="connsiteY1526" fmla="*/ 506791 h 610126"/>
                <a:gd name="connsiteX1527" fmla="*/ 182732 w 926148"/>
                <a:gd name="connsiteY1527" fmla="*/ 506791 h 610126"/>
                <a:gd name="connsiteX1528" fmla="*/ 183981 w 926148"/>
                <a:gd name="connsiteY1528" fmla="*/ 506791 h 610126"/>
                <a:gd name="connsiteX1529" fmla="*/ 186791 w 926148"/>
                <a:gd name="connsiteY1529" fmla="*/ 507624 h 610126"/>
                <a:gd name="connsiteX1530" fmla="*/ 189184 w 926148"/>
                <a:gd name="connsiteY1530" fmla="*/ 509289 h 610126"/>
                <a:gd name="connsiteX1531" fmla="*/ 190953 w 926148"/>
                <a:gd name="connsiteY1531" fmla="*/ 511370 h 610126"/>
                <a:gd name="connsiteX1532" fmla="*/ 191994 w 926148"/>
                <a:gd name="connsiteY1532" fmla="*/ 514075 h 610126"/>
                <a:gd name="connsiteX1533" fmla="*/ 191994 w 926148"/>
                <a:gd name="connsiteY1533" fmla="*/ 516261 h 610126"/>
                <a:gd name="connsiteX1534" fmla="*/ 301779 w 926148"/>
                <a:gd name="connsiteY1534" fmla="*/ 50367 h 610126"/>
                <a:gd name="connsiteX1535" fmla="*/ 301779 w 926148"/>
                <a:gd name="connsiteY1535" fmla="*/ 46100 h 610126"/>
                <a:gd name="connsiteX1536" fmla="*/ 303028 w 926148"/>
                <a:gd name="connsiteY1536" fmla="*/ 41001 h 610126"/>
                <a:gd name="connsiteX1537" fmla="*/ 305317 w 926148"/>
                <a:gd name="connsiteY1537" fmla="*/ 36318 h 610126"/>
                <a:gd name="connsiteX1538" fmla="*/ 308335 w 926148"/>
                <a:gd name="connsiteY1538" fmla="*/ 32156 h 610126"/>
                <a:gd name="connsiteX1539" fmla="*/ 312081 w 926148"/>
                <a:gd name="connsiteY1539" fmla="*/ 28618 h 610126"/>
                <a:gd name="connsiteX1540" fmla="*/ 316556 w 926148"/>
                <a:gd name="connsiteY1540" fmla="*/ 26016 h 610126"/>
                <a:gd name="connsiteX1541" fmla="*/ 321342 w 926148"/>
                <a:gd name="connsiteY1541" fmla="*/ 24143 h 610126"/>
                <a:gd name="connsiteX1542" fmla="*/ 328419 w 926148"/>
                <a:gd name="connsiteY1542" fmla="*/ 23310 h 610126"/>
                <a:gd name="connsiteX1543" fmla="*/ 596898 w 926148"/>
                <a:gd name="connsiteY1543" fmla="*/ 23310 h 610126"/>
                <a:gd name="connsiteX1544" fmla="*/ 601164 w 926148"/>
                <a:gd name="connsiteY1544" fmla="*/ 23310 h 610126"/>
                <a:gd name="connsiteX1545" fmla="*/ 606263 w 926148"/>
                <a:gd name="connsiteY1545" fmla="*/ 24559 h 610126"/>
                <a:gd name="connsiteX1546" fmla="*/ 610946 w 926148"/>
                <a:gd name="connsiteY1546" fmla="*/ 26744 h 610126"/>
                <a:gd name="connsiteX1547" fmla="*/ 615108 w 926148"/>
                <a:gd name="connsiteY1547" fmla="*/ 29866 h 610126"/>
                <a:gd name="connsiteX1548" fmla="*/ 618542 w 926148"/>
                <a:gd name="connsiteY1548" fmla="*/ 33613 h 610126"/>
                <a:gd name="connsiteX1549" fmla="*/ 621248 w 926148"/>
                <a:gd name="connsiteY1549" fmla="*/ 38087 h 610126"/>
                <a:gd name="connsiteX1550" fmla="*/ 623017 w 926148"/>
                <a:gd name="connsiteY1550" fmla="*/ 42978 h 610126"/>
                <a:gd name="connsiteX1551" fmla="*/ 623954 w 926148"/>
                <a:gd name="connsiteY1551" fmla="*/ 49951 h 610126"/>
                <a:gd name="connsiteX1552" fmla="*/ 623954 w 926148"/>
                <a:gd name="connsiteY1552" fmla="*/ 76487 h 610126"/>
                <a:gd name="connsiteX1553" fmla="*/ 301779 w 926148"/>
                <a:gd name="connsiteY1553" fmla="*/ 76487 h 610126"/>
                <a:gd name="connsiteX1554" fmla="*/ 301779 w 926148"/>
                <a:gd name="connsiteY1554" fmla="*/ 100109 h 610126"/>
                <a:gd name="connsiteX1555" fmla="*/ 624370 w 926148"/>
                <a:gd name="connsiteY1555" fmla="*/ 100109 h 610126"/>
                <a:gd name="connsiteX1556" fmla="*/ 624370 w 926148"/>
                <a:gd name="connsiteY1556" fmla="*/ 510017 h 610126"/>
                <a:gd name="connsiteX1557" fmla="*/ 301779 w 926148"/>
                <a:gd name="connsiteY1557" fmla="*/ 510017 h 610126"/>
                <a:gd name="connsiteX1558" fmla="*/ 302611 w 926148"/>
                <a:gd name="connsiteY1558" fmla="*/ 566940 h 610126"/>
                <a:gd name="connsiteX1559" fmla="*/ 301779 w 926148"/>
                <a:gd name="connsiteY1559" fmla="*/ 559864 h 610126"/>
                <a:gd name="connsiteX1560" fmla="*/ 301779 w 926148"/>
                <a:gd name="connsiteY1560" fmla="*/ 533327 h 610126"/>
                <a:gd name="connsiteX1561" fmla="*/ 624370 w 926148"/>
                <a:gd name="connsiteY1561" fmla="*/ 533327 h 610126"/>
                <a:gd name="connsiteX1562" fmla="*/ 624370 w 926148"/>
                <a:gd name="connsiteY1562" fmla="*/ 559864 h 610126"/>
                <a:gd name="connsiteX1563" fmla="*/ 624370 w 926148"/>
                <a:gd name="connsiteY1563" fmla="*/ 564130 h 610126"/>
                <a:gd name="connsiteX1564" fmla="*/ 623121 w 926148"/>
                <a:gd name="connsiteY1564" fmla="*/ 569229 h 610126"/>
                <a:gd name="connsiteX1565" fmla="*/ 620832 w 926148"/>
                <a:gd name="connsiteY1565" fmla="*/ 573912 h 610126"/>
                <a:gd name="connsiteX1566" fmla="*/ 617814 w 926148"/>
                <a:gd name="connsiteY1566" fmla="*/ 577971 h 610126"/>
                <a:gd name="connsiteX1567" fmla="*/ 613964 w 926148"/>
                <a:gd name="connsiteY1567" fmla="*/ 581509 h 610126"/>
                <a:gd name="connsiteX1568" fmla="*/ 609593 w 926148"/>
                <a:gd name="connsiteY1568" fmla="*/ 584215 h 610126"/>
                <a:gd name="connsiteX1569" fmla="*/ 604702 w 926148"/>
                <a:gd name="connsiteY1569" fmla="*/ 585984 h 610126"/>
                <a:gd name="connsiteX1570" fmla="*/ 597626 w 926148"/>
                <a:gd name="connsiteY1570" fmla="*/ 586920 h 610126"/>
                <a:gd name="connsiteX1571" fmla="*/ 329251 w 926148"/>
                <a:gd name="connsiteY1571" fmla="*/ 586920 h 610126"/>
                <a:gd name="connsiteX1572" fmla="*/ 324985 w 926148"/>
                <a:gd name="connsiteY1572" fmla="*/ 586920 h 610126"/>
                <a:gd name="connsiteX1573" fmla="*/ 319886 w 926148"/>
                <a:gd name="connsiteY1573" fmla="*/ 585567 h 610126"/>
                <a:gd name="connsiteX1574" fmla="*/ 315203 w 926148"/>
                <a:gd name="connsiteY1574" fmla="*/ 583382 h 610126"/>
                <a:gd name="connsiteX1575" fmla="*/ 311040 w 926148"/>
                <a:gd name="connsiteY1575" fmla="*/ 580260 h 610126"/>
                <a:gd name="connsiteX1576" fmla="*/ 307606 w 926148"/>
                <a:gd name="connsiteY1576" fmla="*/ 576514 h 610126"/>
                <a:gd name="connsiteX1577" fmla="*/ 304901 w 926148"/>
                <a:gd name="connsiteY1577" fmla="*/ 572143 h 610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</a:cxnLst>
              <a:rect l="l" t="t" r="r" b="b"/>
              <a:pathLst>
                <a:path w="926148" h="610126">
                  <a:moveTo>
                    <a:pt x="311352" y="607005"/>
                  </a:moveTo>
                  <a:lnTo>
                    <a:pt x="316035" y="608565"/>
                  </a:lnTo>
                  <a:lnTo>
                    <a:pt x="320926" y="609502"/>
                  </a:lnTo>
                  <a:lnTo>
                    <a:pt x="326650" y="610127"/>
                  </a:lnTo>
                  <a:lnTo>
                    <a:pt x="598250" y="610127"/>
                  </a:lnTo>
                  <a:lnTo>
                    <a:pt x="605119" y="609606"/>
                  </a:lnTo>
                  <a:lnTo>
                    <a:pt x="610009" y="608565"/>
                  </a:lnTo>
                  <a:lnTo>
                    <a:pt x="614692" y="607213"/>
                  </a:lnTo>
                  <a:lnTo>
                    <a:pt x="619375" y="605340"/>
                  </a:lnTo>
                  <a:lnTo>
                    <a:pt x="623537" y="603050"/>
                  </a:lnTo>
                  <a:lnTo>
                    <a:pt x="627596" y="600344"/>
                  </a:lnTo>
                  <a:lnTo>
                    <a:pt x="631342" y="597327"/>
                  </a:lnTo>
                  <a:lnTo>
                    <a:pt x="634776" y="594309"/>
                  </a:lnTo>
                  <a:lnTo>
                    <a:pt x="637794" y="590666"/>
                  </a:lnTo>
                  <a:lnTo>
                    <a:pt x="640604" y="586712"/>
                  </a:lnTo>
                  <a:lnTo>
                    <a:pt x="642893" y="582445"/>
                  </a:lnTo>
                  <a:lnTo>
                    <a:pt x="644766" y="578075"/>
                  </a:lnTo>
                  <a:lnTo>
                    <a:pt x="646327" y="573288"/>
                  </a:lnTo>
                  <a:lnTo>
                    <a:pt x="647368" y="568397"/>
                  </a:lnTo>
                  <a:lnTo>
                    <a:pt x="647992" y="560696"/>
                  </a:lnTo>
                  <a:lnTo>
                    <a:pt x="647992" y="560696"/>
                  </a:lnTo>
                  <a:lnTo>
                    <a:pt x="647992" y="468704"/>
                  </a:lnTo>
                  <a:lnTo>
                    <a:pt x="682957" y="468704"/>
                  </a:lnTo>
                  <a:lnTo>
                    <a:pt x="718546" y="504294"/>
                  </a:lnTo>
                  <a:lnTo>
                    <a:pt x="718546" y="504294"/>
                  </a:lnTo>
                  <a:lnTo>
                    <a:pt x="718546" y="504294"/>
                  </a:lnTo>
                  <a:lnTo>
                    <a:pt x="717713" y="506063"/>
                  </a:lnTo>
                  <a:lnTo>
                    <a:pt x="717713" y="506791"/>
                  </a:lnTo>
                  <a:lnTo>
                    <a:pt x="717713" y="508768"/>
                  </a:lnTo>
                  <a:cubicBezTo>
                    <a:pt x="717679" y="509008"/>
                    <a:pt x="717679" y="509257"/>
                    <a:pt x="717713" y="509497"/>
                  </a:cubicBezTo>
                  <a:lnTo>
                    <a:pt x="717713" y="511578"/>
                  </a:lnTo>
                  <a:cubicBezTo>
                    <a:pt x="717713" y="511578"/>
                    <a:pt x="717713" y="511578"/>
                    <a:pt x="717713" y="512411"/>
                  </a:cubicBezTo>
                  <a:lnTo>
                    <a:pt x="717713" y="515636"/>
                  </a:lnTo>
                  <a:lnTo>
                    <a:pt x="717713" y="516677"/>
                  </a:lnTo>
                  <a:lnTo>
                    <a:pt x="717713" y="520319"/>
                  </a:lnTo>
                  <a:cubicBezTo>
                    <a:pt x="717713" y="520319"/>
                    <a:pt x="717713" y="520840"/>
                    <a:pt x="717713" y="521048"/>
                  </a:cubicBezTo>
                  <a:lnTo>
                    <a:pt x="717713" y="523025"/>
                  </a:lnTo>
                  <a:cubicBezTo>
                    <a:pt x="717713" y="523025"/>
                    <a:pt x="717713" y="523025"/>
                    <a:pt x="717713" y="523857"/>
                  </a:cubicBezTo>
                  <a:lnTo>
                    <a:pt x="718338" y="525835"/>
                  </a:lnTo>
                  <a:cubicBezTo>
                    <a:pt x="718303" y="526074"/>
                    <a:pt x="718303" y="526324"/>
                    <a:pt x="718338" y="526563"/>
                  </a:cubicBezTo>
                  <a:lnTo>
                    <a:pt x="719170" y="528436"/>
                  </a:lnTo>
                  <a:lnTo>
                    <a:pt x="719170" y="529061"/>
                  </a:lnTo>
                  <a:lnTo>
                    <a:pt x="720107" y="530830"/>
                  </a:lnTo>
                  <a:cubicBezTo>
                    <a:pt x="720087" y="531069"/>
                    <a:pt x="720087" y="531319"/>
                    <a:pt x="720107" y="531558"/>
                  </a:cubicBezTo>
                  <a:lnTo>
                    <a:pt x="721251" y="533223"/>
                  </a:lnTo>
                  <a:lnTo>
                    <a:pt x="721251" y="533848"/>
                  </a:lnTo>
                  <a:lnTo>
                    <a:pt x="722500" y="535409"/>
                  </a:lnTo>
                  <a:lnTo>
                    <a:pt x="722500" y="535409"/>
                  </a:lnTo>
                  <a:lnTo>
                    <a:pt x="723853" y="536761"/>
                  </a:lnTo>
                  <a:lnTo>
                    <a:pt x="724477" y="536761"/>
                  </a:lnTo>
                  <a:lnTo>
                    <a:pt x="726038" y="538114"/>
                  </a:lnTo>
                  <a:lnTo>
                    <a:pt x="726038" y="538114"/>
                  </a:lnTo>
                  <a:lnTo>
                    <a:pt x="727703" y="539259"/>
                  </a:lnTo>
                  <a:lnTo>
                    <a:pt x="728432" y="539259"/>
                  </a:lnTo>
                  <a:lnTo>
                    <a:pt x="730201" y="540300"/>
                  </a:lnTo>
                  <a:lnTo>
                    <a:pt x="730825" y="540300"/>
                  </a:lnTo>
                  <a:lnTo>
                    <a:pt x="732698" y="541028"/>
                  </a:lnTo>
                  <a:cubicBezTo>
                    <a:pt x="732698" y="541028"/>
                    <a:pt x="732698" y="541028"/>
                    <a:pt x="733427" y="541028"/>
                  </a:cubicBezTo>
                  <a:lnTo>
                    <a:pt x="735404" y="541652"/>
                  </a:lnTo>
                  <a:lnTo>
                    <a:pt x="736132" y="541652"/>
                  </a:lnTo>
                  <a:lnTo>
                    <a:pt x="738213" y="541652"/>
                  </a:lnTo>
                  <a:lnTo>
                    <a:pt x="738942" y="541652"/>
                  </a:lnTo>
                  <a:lnTo>
                    <a:pt x="742688" y="541652"/>
                  </a:lnTo>
                  <a:lnTo>
                    <a:pt x="743521" y="541652"/>
                  </a:lnTo>
                  <a:lnTo>
                    <a:pt x="746850" y="541652"/>
                  </a:lnTo>
                  <a:lnTo>
                    <a:pt x="747683" y="541652"/>
                  </a:lnTo>
                  <a:lnTo>
                    <a:pt x="749660" y="541652"/>
                  </a:lnTo>
                  <a:lnTo>
                    <a:pt x="750389" y="541652"/>
                  </a:lnTo>
                  <a:lnTo>
                    <a:pt x="752366" y="541028"/>
                  </a:lnTo>
                  <a:lnTo>
                    <a:pt x="753094" y="541028"/>
                  </a:lnTo>
                  <a:lnTo>
                    <a:pt x="754967" y="540300"/>
                  </a:lnTo>
                  <a:lnTo>
                    <a:pt x="755696" y="540300"/>
                  </a:lnTo>
                  <a:lnTo>
                    <a:pt x="757465" y="539363"/>
                  </a:lnTo>
                  <a:lnTo>
                    <a:pt x="758089" y="539363"/>
                  </a:lnTo>
                  <a:lnTo>
                    <a:pt x="759754" y="538218"/>
                  </a:lnTo>
                  <a:lnTo>
                    <a:pt x="760379" y="538218"/>
                  </a:lnTo>
                  <a:lnTo>
                    <a:pt x="761939" y="536970"/>
                  </a:lnTo>
                  <a:lnTo>
                    <a:pt x="761939" y="536449"/>
                  </a:lnTo>
                  <a:lnTo>
                    <a:pt x="763396" y="534992"/>
                  </a:lnTo>
                  <a:lnTo>
                    <a:pt x="763396" y="534472"/>
                  </a:lnTo>
                  <a:lnTo>
                    <a:pt x="764645" y="532911"/>
                  </a:lnTo>
                  <a:cubicBezTo>
                    <a:pt x="764675" y="532703"/>
                    <a:pt x="764675" y="532495"/>
                    <a:pt x="764645" y="532287"/>
                  </a:cubicBezTo>
                  <a:lnTo>
                    <a:pt x="765790" y="530622"/>
                  </a:lnTo>
                  <a:cubicBezTo>
                    <a:pt x="765820" y="530414"/>
                    <a:pt x="765820" y="530205"/>
                    <a:pt x="765790" y="529997"/>
                  </a:cubicBezTo>
                  <a:lnTo>
                    <a:pt x="766726" y="528228"/>
                  </a:lnTo>
                  <a:lnTo>
                    <a:pt x="766726" y="527604"/>
                  </a:lnTo>
                  <a:lnTo>
                    <a:pt x="767455" y="525731"/>
                  </a:lnTo>
                  <a:lnTo>
                    <a:pt x="767455" y="525002"/>
                  </a:lnTo>
                  <a:lnTo>
                    <a:pt x="768079" y="523025"/>
                  </a:lnTo>
                  <a:cubicBezTo>
                    <a:pt x="768066" y="522786"/>
                    <a:pt x="768066" y="522536"/>
                    <a:pt x="768079" y="522297"/>
                  </a:cubicBezTo>
                  <a:lnTo>
                    <a:pt x="768079" y="520215"/>
                  </a:lnTo>
                  <a:cubicBezTo>
                    <a:pt x="768079" y="520215"/>
                    <a:pt x="768079" y="520215"/>
                    <a:pt x="768079" y="519383"/>
                  </a:cubicBezTo>
                  <a:lnTo>
                    <a:pt x="768079" y="516261"/>
                  </a:lnTo>
                  <a:cubicBezTo>
                    <a:pt x="768126" y="515876"/>
                    <a:pt x="768126" y="515501"/>
                    <a:pt x="768079" y="515116"/>
                  </a:cubicBezTo>
                  <a:lnTo>
                    <a:pt x="768079" y="511474"/>
                  </a:lnTo>
                  <a:cubicBezTo>
                    <a:pt x="768136" y="511235"/>
                    <a:pt x="768136" y="510985"/>
                    <a:pt x="768079" y="510745"/>
                  </a:cubicBezTo>
                  <a:lnTo>
                    <a:pt x="768079" y="508664"/>
                  </a:lnTo>
                  <a:cubicBezTo>
                    <a:pt x="768113" y="508425"/>
                    <a:pt x="768113" y="508175"/>
                    <a:pt x="768079" y="507936"/>
                  </a:cubicBezTo>
                  <a:lnTo>
                    <a:pt x="768079" y="505958"/>
                  </a:lnTo>
                  <a:lnTo>
                    <a:pt x="768079" y="505230"/>
                  </a:lnTo>
                  <a:lnTo>
                    <a:pt x="767247" y="503357"/>
                  </a:lnTo>
                  <a:lnTo>
                    <a:pt x="767247" y="502733"/>
                  </a:lnTo>
                  <a:lnTo>
                    <a:pt x="766310" y="500963"/>
                  </a:lnTo>
                  <a:cubicBezTo>
                    <a:pt x="766344" y="500724"/>
                    <a:pt x="766344" y="500474"/>
                    <a:pt x="766310" y="500235"/>
                  </a:cubicBezTo>
                  <a:lnTo>
                    <a:pt x="765269" y="498570"/>
                  </a:lnTo>
                  <a:lnTo>
                    <a:pt x="765269" y="497946"/>
                  </a:lnTo>
                  <a:lnTo>
                    <a:pt x="764021" y="496489"/>
                  </a:lnTo>
                  <a:lnTo>
                    <a:pt x="764021" y="495864"/>
                  </a:lnTo>
                  <a:lnTo>
                    <a:pt x="762668" y="494512"/>
                  </a:lnTo>
                  <a:lnTo>
                    <a:pt x="762044" y="494512"/>
                  </a:lnTo>
                  <a:lnTo>
                    <a:pt x="760587" y="493263"/>
                  </a:lnTo>
                  <a:lnTo>
                    <a:pt x="759962" y="492742"/>
                  </a:lnTo>
                  <a:lnTo>
                    <a:pt x="758297" y="491598"/>
                  </a:lnTo>
                  <a:lnTo>
                    <a:pt x="757673" y="491598"/>
                  </a:lnTo>
                  <a:lnTo>
                    <a:pt x="755904" y="490557"/>
                  </a:lnTo>
                  <a:lnTo>
                    <a:pt x="755175" y="490557"/>
                  </a:lnTo>
                  <a:lnTo>
                    <a:pt x="753302" y="489725"/>
                  </a:lnTo>
                  <a:lnTo>
                    <a:pt x="752574" y="489725"/>
                  </a:lnTo>
                  <a:lnTo>
                    <a:pt x="750597" y="489100"/>
                  </a:lnTo>
                  <a:lnTo>
                    <a:pt x="749868" y="489100"/>
                  </a:lnTo>
                  <a:lnTo>
                    <a:pt x="747891" y="489100"/>
                  </a:lnTo>
                  <a:lnTo>
                    <a:pt x="747059" y="489100"/>
                  </a:lnTo>
                  <a:lnTo>
                    <a:pt x="742688" y="489100"/>
                  </a:lnTo>
                  <a:lnTo>
                    <a:pt x="739150" y="489100"/>
                  </a:lnTo>
                  <a:lnTo>
                    <a:pt x="738422" y="489100"/>
                  </a:lnTo>
                  <a:lnTo>
                    <a:pt x="736340" y="489100"/>
                  </a:lnTo>
                  <a:lnTo>
                    <a:pt x="735612" y="489100"/>
                  </a:lnTo>
                  <a:lnTo>
                    <a:pt x="733635" y="489725"/>
                  </a:lnTo>
                  <a:lnTo>
                    <a:pt x="732906" y="489725"/>
                  </a:lnTo>
                  <a:lnTo>
                    <a:pt x="731033" y="490453"/>
                  </a:lnTo>
                  <a:lnTo>
                    <a:pt x="731033" y="490453"/>
                  </a:lnTo>
                  <a:lnTo>
                    <a:pt x="731033" y="490453"/>
                  </a:lnTo>
                  <a:lnTo>
                    <a:pt x="692634" y="451949"/>
                  </a:lnTo>
                  <a:lnTo>
                    <a:pt x="692634" y="451949"/>
                  </a:lnTo>
                  <a:cubicBezTo>
                    <a:pt x="690860" y="450284"/>
                    <a:pt x="688516" y="449348"/>
                    <a:pt x="686079" y="449348"/>
                  </a:cubicBezTo>
                  <a:lnTo>
                    <a:pt x="647992" y="449348"/>
                  </a:lnTo>
                  <a:lnTo>
                    <a:pt x="647992" y="391384"/>
                  </a:lnTo>
                  <a:lnTo>
                    <a:pt x="759650" y="391384"/>
                  </a:lnTo>
                  <a:lnTo>
                    <a:pt x="795343" y="427078"/>
                  </a:lnTo>
                  <a:lnTo>
                    <a:pt x="795343" y="427078"/>
                  </a:lnTo>
                  <a:lnTo>
                    <a:pt x="795343" y="427078"/>
                  </a:lnTo>
                  <a:lnTo>
                    <a:pt x="794615" y="428847"/>
                  </a:lnTo>
                  <a:lnTo>
                    <a:pt x="794615" y="429680"/>
                  </a:lnTo>
                  <a:lnTo>
                    <a:pt x="793990" y="431657"/>
                  </a:lnTo>
                  <a:cubicBezTo>
                    <a:pt x="793977" y="431896"/>
                    <a:pt x="793977" y="432146"/>
                    <a:pt x="793990" y="432385"/>
                  </a:cubicBezTo>
                  <a:lnTo>
                    <a:pt x="793990" y="434467"/>
                  </a:lnTo>
                  <a:cubicBezTo>
                    <a:pt x="793990" y="434467"/>
                    <a:pt x="793990" y="434987"/>
                    <a:pt x="793990" y="435195"/>
                  </a:cubicBezTo>
                  <a:lnTo>
                    <a:pt x="793990" y="439566"/>
                  </a:lnTo>
                  <a:lnTo>
                    <a:pt x="793990" y="443104"/>
                  </a:lnTo>
                  <a:cubicBezTo>
                    <a:pt x="793933" y="443343"/>
                    <a:pt x="793933" y="443593"/>
                    <a:pt x="793990" y="443832"/>
                  </a:cubicBezTo>
                  <a:lnTo>
                    <a:pt x="793990" y="445914"/>
                  </a:lnTo>
                  <a:cubicBezTo>
                    <a:pt x="793946" y="446153"/>
                    <a:pt x="793946" y="446403"/>
                    <a:pt x="793990" y="446642"/>
                  </a:cubicBezTo>
                  <a:lnTo>
                    <a:pt x="793990" y="448619"/>
                  </a:lnTo>
                  <a:lnTo>
                    <a:pt x="793990" y="449348"/>
                  </a:lnTo>
                  <a:lnTo>
                    <a:pt x="794719" y="451221"/>
                  </a:lnTo>
                  <a:cubicBezTo>
                    <a:pt x="794665" y="451460"/>
                    <a:pt x="794665" y="451710"/>
                    <a:pt x="794719" y="451949"/>
                  </a:cubicBezTo>
                  <a:lnTo>
                    <a:pt x="795655" y="453719"/>
                  </a:lnTo>
                  <a:lnTo>
                    <a:pt x="795655" y="454343"/>
                  </a:lnTo>
                  <a:lnTo>
                    <a:pt x="796800" y="456008"/>
                  </a:lnTo>
                  <a:lnTo>
                    <a:pt x="796800" y="456632"/>
                  </a:lnTo>
                  <a:lnTo>
                    <a:pt x="798153" y="458193"/>
                  </a:lnTo>
                  <a:cubicBezTo>
                    <a:pt x="798117" y="458360"/>
                    <a:pt x="798117" y="458547"/>
                    <a:pt x="798153" y="458714"/>
                  </a:cubicBezTo>
                  <a:lnTo>
                    <a:pt x="799506" y="460170"/>
                  </a:lnTo>
                  <a:lnTo>
                    <a:pt x="799506" y="460691"/>
                  </a:lnTo>
                  <a:lnTo>
                    <a:pt x="801067" y="461940"/>
                  </a:lnTo>
                  <a:lnTo>
                    <a:pt x="801691" y="461940"/>
                  </a:lnTo>
                  <a:lnTo>
                    <a:pt x="803356" y="463084"/>
                  </a:lnTo>
                  <a:lnTo>
                    <a:pt x="803980" y="463084"/>
                  </a:lnTo>
                  <a:lnTo>
                    <a:pt x="805749" y="464021"/>
                  </a:lnTo>
                  <a:lnTo>
                    <a:pt x="806478" y="464021"/>
                  </a:lnTo>
                  <a:lnTo>
                    <a:pt x="808351" y="464749"/>
                  </a:lnTo>
                  <a:lnTo>
                    <a:pt x="808975" y="464749"/>
                  </a:lnTo>
                  <a:lnTo>
                    <a:pt x="810952" y="465374"/>
                  </a:lnTo>
                  <a:lnTo>
                    <a:pt x="811681" y="465374"/>
                  </a:lnTo>
                  <a:lnTo>
                    <a:pt x="813762" y="465374"/>
                  </a:lnTo>
                  <a:lnTo>
                    <a:pt x="814595" y="465374"/>
                  </a:lnTo>
                  <a:lnTo>
                    <a:pt x="818237" y="465374"/>
                  </a:lnTo>
                  <a:lnTo>
                    <a:pt x="818237" y="465374"/>
                  </a:lnTo>
                  <a:lnTo>
                    <a:pt x="822087" y="465374"/>
                  </a:lnTo>
                  <a:lnTo>
                    <a:pt x="822816" y="465374"/>
                  </a:lnTo>
                  <a:lnTo>
                    <a:pt x="824897" y="465374"/>
                  </a:lnTo>
                  <a:lnTo>
                    <a:pt x="825625" y="465374"/>
                  </a:lnTo>
                  <a:lnTo>
                    <a:pt x="827602" y="464749"/>
                  </a:lnTo>
                  <a:lnTo>
                    <a:pt x="828331" y="464749"/>
                  </a:lnTo>
                  <a:lnTo>
                    <a:pt x="830204" y="463917"/>
                  </a:lnTo>
                  <a:lnTo>
                    <a:pt x="830932" y="463917"/>
                  </a:lnTo>
                  <a:lnTo>
                    <a:pt x="832701" y="462980"/>
                  </a:lnTo>
                  <a:lnTo>
                    <a:pt x="833326" y="462980"/>
                  </a:lnTo>
                  <a:lnTo>
                    <a:pt x="834991" y="461940"/>
                  </a:lnTo>
                  <a:lnTo>
                    <a:pt x="835615" y="461419"/>
                  </a:lnTo>
                  <a:lnTo>
                    <a:pt x="837176" y="460170"/>
                  </a:lnTo>
                  <a:lnTo>
                    <a:pt x="837176" y="460170"/>
                  </a:lnTo>
                  <a:lnTo>
                    <a:pt x="838529" y="458818"/>
                  </a:lnTo>
                  <a:lnTo>
                    <a:pt x="838529" y="458193"/>
                  </a:lnTo>
                  <a:lnTo>
                    <a:pt x="839882" y="456736"/>
                  </a:lnTo>
                  <a:lnTo>
                    <a:pt x="839882" y="456112"/>
                  </a:lnTo>
                  <a:lnTo>
                    <a:pt x="841026" y="454447"/>
                  </a:lnTo>
                  <a:lnTo>
                    <a:pt x="841026" y="453823"/>
                  </a:lnTo>
                  <a:lnTo>
                    <a:pt x="841963" y="452053"/>
                  </a:lnTo>
                  <a:lnTo>
                    <a:pt x="841963" y="451325"/>
                  </a:lnTo>
                  <a:lnTo>
                    <a:pt x="842795" y="449452"/>
                  </a:lnTo>
                  <a:cubicBezTo>
                    <a:pt x="842857" y="449213"/>
                    <a:pt x="842857" y="448963"/>
                    <a:pt x="842795" y="448723"/>
                  </a:cubicBezTo>
                  <a:lnTo>
                    <a:pt x="843420" y="446746"/>
                  </a:lnTo>
                  <a:cubicBezTo>
                    <a:pt x="843464" y="446507"/>
                    <a:pt x="843464" y="446257"/>
                    <a:pt x="843420" y="446018"/>
                  </a:cubicBezTo>
                  <a:lnTo>
                    <a:pt x="843420" y="443936"/>
                  </a:lnTo>
                  <a:cubicBezTo>
                    <a:pt x="843477" y="443697"/>
                    <a:pt x="843477" y="443447"/>
                    <a:pt x="843420" y="443208"/>
                  </a:cubicBezTo>
                  <a:lnTo>
                    <a:pt x="843420" y="438837"/>
                  </a:lnTo>
                  <a:lnTo>
                    <a:pt x="843420" y="435299"/>
                  </a:lnTo>
                  <a:cubicBezTo>
                    <a:pt x="843369" y="435029"/>
                    <a:pt x="843369" y="434737"/>
                    <a:pt x="843420" y="434467"/>
                  </a:cubicBezTo>
                  <a:lnTo>
                    <a:pt x="843420" y="432385"/>
                  </a:lnTo>
                  <a:cubicBezTo>
                    <a:pt x="843375" y="432177"/>
                    <a:pt x="843375" y="431969"/>
                    <a:pt x="843420" y="431761"/>
                  </a:cubicBezTo>
                  <a:lnTo>
                    <a:pt x="842795" y="429784"/>
                  </a:lnTo>
                  <a:lnTo>
                    <a:pt x="842795" y="429055"/>
                  </a:lnTo>
                  <a:lnTo>
                    <a:pt x="842067" y="427182"/>
                  </a:lnTo>
                  <a:lnTo>
                    <a:pt x="842067" y="426454"/>
                  </a:lnTo>
                  <a:lnTo>
                    <a:pt x="841130" y="424685"/>
                  </a:lnTo>
                  <a:lnTo>
                    <a:pt x="841130" y="424060"/>
                  </a:lnTo>
                  <a:lnTo>
                    <a:pt x="839986" y="422395"/>
                  </a:lnTo>
                  <a:lnTo>
                    <a:pt x="839986" y="421771"/>
                  </a:lnTo>
                  <a:lnTo>
                    <a:pt x="838737" y="420210"/>
                  </a:lnTo>
                  <a:lnTo>
                    <a:pt x="838737" y="419690"/>
                  </a:lnTo>
                  <a:lnTo>
                    <a:pt x="837280" y="418233"/>
                  </a:lnTo>
                  <a:lnTo>
                    <a:pt x="837280" y="417712"/>
                  </a:lnTo>
                  <a:lnTo>
                    <a:pt x="835719" y="416464"/>
                  </a:lnTo>
                  <a:lnTo>
                    <a:pt x="835095" y="416464"/>
                  </a:lnTo>
                  <a:lnTo>
                    <a:pt x="833430" y="415319"/>
                  </a:lnTo>
                  <a:lnTo>
                    <a:pt x="832805" y="415319"/>
                  </a:lnTo>
                  <a:lnTo>
                    <a:pt x="831036" y="414382"/>
                  </a:lnTo>
                  <a:lnTo>
                    <a:pt x="830412" y="414382"/>
                  </a:lnTo>
                  <a:lnTo>
                    <a:pt x="828539" y="413550"/>
                  </a:lnTo>
                  <a:lnTo>
                    <a:pt x="827811" y="413550"/>
                  </a:lnTo>
                  <a:lnTo>
                    <a:pt x="825833" y="412926"/>
                  </a:lnTo>
                  <a:lnTo>
                    <a:pt x="825105" y="412926"/>
                  </a:lnTo>
                  <a:lnTo>
                    <a:pt x="823024" y="412926"/>
                  </a:lnTo>
                  <a:lnTo>
                    <a:pt x="822191" y="412926"/>
                  </a:lnTo>
                  <a:lnTo>
                    <a:pt x="817925" y="412926"/>
                  </a:lnTo>
                  <a:lnTo>
                    <a:pt x="814282" y="412926"/>
                  </a:lnTo>
                  <a:lnTo>
                    <a:pt x="813554" y="412926"/>
                  </a:lnTo>
                  <a:lnTo>
                    <a:pt x="811473" y="412926"/>
                  </a:lnTo>
                  <a:lnTo>
                    <a:pt x="810744" y="412926"/>
                  </a:lnTo>
                  <a:lnTo>
                    <a:pt x="808767" y="413550"/>
                  </a:lnTo>
                  <a:lnTo>
                    <a:pt x="808039" y="413550"/>
                  </a:lnTo>
                  <a:lnTo>
                    <a:pt x="806166" y="414382"/>
                  </a:lnTo>
                  <a:lnTo>
                    <a:pt x="806166" y="414382"/>
                  </a:lnTo>
                  <a:lnTo>
                    <a:pt x="806166" y="414382"/>
                  </a:lnTo>
                  <a:lnTo>
                    <a:pt x="770056" y="375775"/>
                  </a:lnTo>
                  <a:lnTo>
                    <a:pt x="769432" y="375775"/>
                  </a:lnTo>
                  <a:cubicBezTo>
                    <a:pt x="768674" y="375192"/>
                    <a:pt x="767874" y="374672"/>
                    <a:pt x="767038" y="374214"/>
                  </a:cubicBezTo>
                  <a:cubicBezTo>
                    <a:pt x="766124" y="373943"/>
                    <a:pt x="765181" y="373766"/>
                    <a:pt x="764229" y="373693"/>
                  </a:cubicBezTo>
                  <a:lnTo>
                    <a:pt x="763396" y="373693"/>
                  </a:lnTo>
                  <a:lnTo>
                    <a:pt x="647992" y="373693"/>
                  </a:lnTo>
                  <a:lnTo>
                    <a:pt x="647992" y="315834"/>
                  </a:lnTo>
                  <a:lnTo>
                    <a:pt x="832493" y="315834"/>
                  </a:lnTo>
                  <a:lnTo>
                    <a:pt x="832493" y="317811"/>
                  </a:lnTo>
                  <a:cubicBezTo>
                    <a:pt x="832448" y="318050"/>
                    <a:pt x="832448" y="318300"/>
                    <a:pt x="832493" y="318540"/>
                  </a:cubicBezTo>
                  <a:lnTo>
                    <a:pt x="833638" y="322390"/>
                  </a:lnTo>
                  <a:lnTo>
                    <a:pt x="833638" y="323014"/>
                  </a:lnTo>
                  <a:lnTo>
                    <a:pt x="835199" y="326656"/>
                  </a:lnTo>
                  <a:lnTo>
                    <a:pt x="835199" y="327385"/>
                  </a:lnTo>
                  <a:lnTo>
                    <a:pt x="837072" y="330715"/>
                  </a:lnTo>
                  <a:lnTo>
                    <a:pt x="837072" y="331443"/>
                  </a:lnTo>
                  <a:lnTo>
                    <a:pt x="839257" y="334669"/>
                  </a:lnTo>
                  <a:lnTo>
                    <a:pt x="839257" y="334669"/>
                  </a:lnTo>
                  <a:lnTo>
                    <a:pt x="841651" y="337687"/>
                  </a:lnTo>
                  <a:lnTo>
                    <a:pt x="841651" y="337687"/>
                  </a:lnTo>
                  <a:lnTo>
                    <a:pt x="844356" y="340393"/>
                  </a:lnTo>
                  <a:lnTo>
                    <a:pt x="844356" y="340393"/>
                  </a:lnTo>
                  <a:lnTo>
                    <a:pt x="847374" y="342890"/>
                  </a:lnTo>
                  <a:lnTo>
                    <a:pt x="847374" y="342890"/>
                  </a:lnTo>
                  <a:lnTo>
                    <a:pt x="850600" y="345076"/>
                  </a:lnTo>
                  <a:lnTo>
                    <a:pt x="851224" y="345076"/>
                  </a:lnTo>
                  <a:lnTo>
                    <a:pt x="854658" y="346845"/>
                  </a:lnTo>
                  <a:lnTo>
                    <a:pt x="855387" y="346845"/>
                  </a:lnTo>
                  <a:lnTo>
                    <a:pt x="858925" y="348302"/>
                  </a:lnTo>
                  <a:lnTo>
                    <a:pt x="859653" y="348302"/>
                  </a:lnTo>
                  <a:lnTo>
                    <a:pt x="863400" y="349446"/>
                  </a:lnTo>
                  <a:lnTo>
                    <a:pt x="864128" y="349446"/>
                  </a:lnTo>
                  <a:lnTo>
                    <a:pt x="868082" y="350279"/>
                  </a:lnTo>
                  <a:lnTo>
                    <a:pt x="868811" y="350279"/>
                  </a:lnTo>
                  <a:lnTo>
                    <a:pt x="873494" y="350279"/>
                  </a:lnTo>
                  <a:lnTo>
                    <a:pt x="875887" y="350279"/>
                  </a:lnTo>
                  <a:lnTo>
                    <a:pt x="882651" y="349759"/>
                  </a:lnTo>
                  <a:lnTo>
                    <a:pt x="883379" y="349759"/>
                  </a:lnTo>
                  <a:lnTo>
                    <a:pt x="887334" y="348926"/>
                  </a:lnTo>
                  <a:lnTo>
                    <a:pt x="888062" y="348926"/>
                  </a:lnTo>
                  <a:lnTo>
                    <a:pt x="891808" y="347677"/>
                  </a:lnTo>
                  <a:lnTo>
                    <a:pt x="892537" y="347677"/>
                  </a:lnTo>
                  <a:lnTo>
                    <a:pt x="896179" y="346116"/>
                  </a:lnTo>
                  <a:lnTo>
                    <a:pt x="896907" y="346116"/>
                  </a:lnTo>
                  <a:lnTo>
                    <a:pt x="900237" y="344347"/>
                  </a:lnTo>
                  <a:lnTo>
                    <a:pt x="900966" y="344347"/>
                  </a:lnTo>
                  <a:lnTo>
                    <a:pt x="904088" y="342162"/>
                  </a:lnTo>
                  <a:lnTo>
                    <a:pt x="904712" y="342162"/>
                  </a:lnTo>
                  <a:lnTo>
                    <a:pt x="907730" y="339664"/>
                  </a:lnTo>
                  <a:lnTo>
                    <a:pt x="907730" y="339664"/>
                  </a:lnTo>
                  <a:lnTo>
                    <a:pt x="910435" y="336959"/>
                  </a:lnTo>
                  <a:lnTo>
                    <a:pt x="910435" y="336439"/>
                  </a:lnTo>
                  <a:lnTo>
                    <a:pt x="912829" y="333525"/>
                  </a:lnTo>
                  <a:lnTo>
                    <a:pt x="912829" y="332900"/>
                  </a:lnTo>
                  <a:lnTo>
                    <a:pt x="915014" y="329674"/>
                  </a:lnTo>
                  <a:lnTo>
                    <a:pt x="915014" y="329050"/>
                  </a:lnTo>
                  <a:lnTo>
                    <a:pt x="916887" y="325616"/>
                  </a:lnTo>
                  <a:lnTo>
                    <a:pt x="916887" y="324991"/>
                  </a:lnTo>
                  <a:lnTo>
                    <a:pt x="918448" y="321349"/>
                  </a:lnTo>
                  <a:lnTo>
                    <a:pt x="918448" y="320621"/>
                  </a:lnTo>
                  <a:lnTo>
                    <a:pt x="919593" y="316874"/>
                  </a:lnTo>
                  <a:cubicBezTo>
                    <a:pt x="919593" y="316874"/>
                    <a:pt x="919593" y="316354"/>
                    <a:pt x="919593" y="316146"/>
                  </a:cubicBezTo>
                  <a:lnTo>
                    <a:pt x="926149" y="313336"/>
                  </a:lnTo>
                  <a:cubicBezTo>
                    <a:pt x="926149" y="313336"/>
                    <a:pt x="926149" y="313336"/>
                    <a:pt x="926149" y="312608"/>
                  </a:cubicBezTo>
                  <a:lnTo>
                    <a:pt x="926149" y="307925"/>
                  </a:lnTo>
                  <a:lnTo>
                    <a:pt x="926149" y="305323"/>
                  </a:lnTo>
                  <a:lnTo>
                    <a:pt x="926149" y="298767"/>
                  </a:lnTo>
                  <a:cubicBezTo>
                    <a:pt x="926149" y="298767"/>
                    <a:pt x="926149" y="298247"/>
                    <a:pt x="926149" y="298039"/>
                  </a:cubicBezTo>
                  <a:lnTo>
                    <a:pt x="925316" y="294084"/>
                  </a:lnTo>
                  <a:cubicBezTo>
                    <a:pt x="925361" y="293845"/>
                    <a:pt x="925361" y="293595"/>
                    <a:pt x="925316" y="293356"/>
                  </a:cubicBezTo>
                  <a:lnTo>
                    <a:pt x="924172" y="289610"/>
                  </a:lnTo>
                  <a:cubicBezTo>
                    <a:pt x="924185" y="289370"/>
                    <a:pt x="924185" y="289121"/>
                    <a:pt x="924172" y="288881"/>
                  </a:cubicBezTo>
                  <a:lnTo>
                    <a:pt x="922611" y="285343"/>
                  </a:lnTo>
                  <a:lnTo>
                    <a:pt x="922611" y="284615"/>
                  </a:lnTo>
                  <a:lnTo>
                    <a:pt x="920738" y="281181"/>
                  </a:lnTo>
                  <a:lnTo>
                    <a:pt x="920738" y="280556"/>
                  </a:lnTo>
                  <a:lnTo>
                    <a:pt x="918552" y="277330"/>
                  </a:lnTo>
                  <a:lnTo>
                    <a:pt x="918552" y="276706"/>
                  </a:lnTo>
                  <a:lnTo>
                    <a:pt x="916055" y="273792"/>
                  </a:lnTo>
                  <a:lnTo>
                    <a:pt x="915534" y="273168"/>
                  </a:lnTo>
                  <a:lnTo>
                    <a:pt x="912829" y="270462"/>
                  </a:lnTo>
                  <a:lnTo>
                    <a:pt x="912829" y="269942"/>
                  </a:lnTo>
                  <a:lnTo>
                    <a:pt x="909915" y="267548"/>
                  </a:lnTo>
                  <a:lnTo>
                    <a:pt x="909291" y="267028"/>
                  </a:lnTo>
                  <a:lnTo>
                    <a:pt x="906065" y="264947"/>
                  </a:lnTo>
                  <a:lnTo>
                    <a:pt x="905440" y="264947"/>
                  </a:lnTo>
                  <a:lnTo>
                    <a:pt x="902006" y="263073"/>
                  </a:lnTo>
                  <a:lnTo>
                    <a:pt x="901382" y="263073"/>
                  </a:lnTo>
                  <a:lnTo>
                    <a:pt x="897740" y="261513"/>
                  </a:lnTo>
                  <a:lnTo>
                    <a:pt x="897011" y="261513"/>
                  </a:lnTo>
                  <a:lnTo>
                    <a:pt x="893265" y="260368"/>
                  </a:lnTo>
                  <a:lnTo>
                    <a:pt x="892537" y="260368"/>
                  </a:lnTo>
                  <a:lnTo>
                    <a:pt x="888582" y="259639"/>
                  </a:lnTo>
                  <a:lnTo>
                    <a:pt x="887854" y="259639"/>
                  </a:lnTo>
                  <a:lnTo>
                    <a:pt x="883171" y="259639"/>
                  </a:lnTo>
                  <a:lnTo>
                    <a:pt x="880570" y="259639"/>
                  </a:lnTo>
                  <a:lnTo>
                    <a:pt x="874014" y="260160"/>
                  </a:lnTo>
                  <a:lnTo>
                    <a:pt x="873285" y="260160"/>
                  </a:lnTo>
                  <a:lnTo>
                    <a:pt x="869331" y="260992"/>
                  </a:lnTo>
                  <a:lnTo>
                    <a:pt x="868603" y="260992"/>
                  </a:lnTo>
                  <a:lnTo>
                    <a:pt x="864856" y="262137"/>
                  </a:lnTo>
                  <a:lnTo>
                    <a:pt x="864128" y="262137"/>
                  </a:lnTo>
                  <a:lnTo>
                    <a:pt x="860486" y="263698"/>
                  </a:lnTo>
                  <a:lnTo>
                    <a:pt x="859757" y="263698"/>
                  </a:lnTo>
                  <a:lnTo>
                    <a:pt x="856427" y="265571"/>
                  </a:lnTo>
                  <a:lnTo>
                    <a:pt x="855803" y="265571"/>
                  </a:lnTo>
                  <a:lnTo>
                    <a:pt x="852577" y="267652"/>
                  </a:lnTo>
                  <a:lnTo>
                    <a:pt x="851953" y="267652"/>
                  </a:lnTo>
                  <a:lnTo>
                    <a:pt x="849039" y="270046"/>
                  </a:lnTo>
                  <a:lnTo>
                    <a:pt x="848415" y="270046"/>
                  </a:lnTo>
                  <a:lnTo>
                    <a:pt x="845709" y="272751"/>
                  </a:lnTo>
                  <a:lnTo>
                    <a:pt x="845709" y="272751"/>
                  </a:lnTo>
                  <a:lnTo>
                    <a:pt x="843316" y="275769"/>
                  </a:lnTo>
                  <a:lnTo>
                    <a:pt x="843316" y="276290"/>
                  </a:lnTo>
                  <a:lnTo>
                    <a:pt x="841234" y="279516"/>
                  </a:lnTo>
                  <a:lnTo>
                    <a:pt x="841234" y="280140"/>
                  </a:lnTo>
                  <a:lnTo>
                    <a:pt x="839361" y="283574"/>
                  </a:lnTo>
                  <a:lnTo>
                    <a:pt x="839361" y="284303"/>
                  </a:lnTo>
                  <a:lnTo>
                    <a:pt x="837800" y="287841"/>
                  </a:lnTo>
                  <a:lnTo>
                    <a:pt x="837800" y="288569"/>
                  </a:lnTo>
                  <a:lnTo>
                    <a:pt x="832493" y="292524"/>
                  </a:lnTo>
                  <a:cubicBezTo>
                    <a:pt x="832507" y="292763"/>
                    <a:pt x="832507" y="293013"/>
                    <a:pt x="832493" y="293252"/>
                  </a:cubicBezTo>
                  <a:lnTo>
                    <a:pt x="832493" y="295541"/>
                  </a:lnTo>
                  <a:lnTo>
                    <a:pt x="647992" y="295541"/>
                  </a:lnTo>
                  <a:lnTo>
                    <a:pt x="647992" y="237578"/>
                  </a:lnTo>
                  <a:lnTo>
                    <a:pt x="764021" y="237578"/>
                  </a:lnTo>
                  <a:cubicBezTo>
                    <a:pt x="765127" y="237588"/>
                    <a:pt x="766225" y="237380"/>
                    <a:pt x="767247" y="236953"/>
                  </a:cubicBezTo>
                  <a:lnTo>
                    <a:pt x="768391" y="236225"/>
                  </a:lnTo>
                  <a:cubicBezTo>
                    <a:pt x="769059" y="235923"/>
                    <a:pt x="769689" y="235538"/>
                    <a:pt x="770264" y="235080"/>
                  </a:cubicBezTo>
                  <a:lnTo>
                    <a:pt x="808767" y="196473"/>
                  </a:lnTo>
                  <a:lnTo>
                    <a:pt x="808767" y="196473"/>
                  </a:lnTo>
                  <a:lnTo>
                    <a:pt x="808767" y="196473"/>
                  </a:lnTo>
                  <a:lnTo>
                    <a:pt x="810640" y="197201"/>
                  </a:lnTo>
                  <a:lnTo>
                    <a:pt x="811265" y="197201"/>
                  </a:lnTo>
                  <a:lnTo>
                    <a:pt x="813242" y="197825"/>
                  </a:lnTo>
                  <a:lnTo>
                    <a:pt x="814074" y="197825"/>
                  </a:lnTo>
                  <a:lnTo>
                    <a:pt x="816051" y="197825"/>
                  </a:lnTo>
                  <a:lnTo>
                    <a:pt x="816884" y="197825"/>
                  </a:lnTo>
                  <a:lnTo>
                    <a:pt x="819798" y="197825"/>
                  </a:lnTo>
                  <a:lnTo>
                    <a:pt x="820942" y="197825"/>
                  </a:lnTo>
                  <a:lnTo>
                    <a:pt x="820942" y="197825"/>
                  </a:lnTo>
                  <a:lnTo>
                    <a:pt x="824793" y="197825"/>
                  </a:lnTo>
                  <a:lnTo>
                    <a:pt x="825521" y="197825"/>
                  </a:lnTo>
                  <a:lnTo>
                    <a:pt x="827602" y="197825"/>
                  </a:lnTo>
                  <a:lnTo>
                    <a:pt x="828331" y="197825"/>
                  </a:lnTo>
                  <a:lnTo>
                    <a:pt x="830308" y="197305"/>
                  </a:lnTo>
                  <a:lnTo>
                    <a:pt x="831036" y="197305"/>
                  </a:lnTo>
                  <a:lnTo>
                    <a:pt x="832910" y="196577"/>
                  </a:lnTo>
                  <a:lnTo>
                    <a:pt x="833638" y="196577"/>
                  </a:lnTo>
                  <a:lnTo>
                    <a:pt x="835407" y="195640"/>
                  </a:lnTo>
                  <a:lnTo>
                    <a:pt x="836031" y="195640"/>
                  </a:lnTo>
                  <a:lnTo>
                    <a:pt x="837696" y="194495"/>
                  </a:lnTo>
                  <a:lnTo>
                    <a:pt x="838321" y="193975"/>
                  </a:lnTo>
                  <a:lnTo>
                    <a:pt x="839882" y="192726"/>
                  </a:lnTo>
                  <a:lnTo>
                    <a:pt x="839882" y="192726"/>
                  </a:lnTo>
                  <a:lnTo>
                    <a:pt x="841338" y="191373"/>
                  </a:lnTo>
                  <a:lnTo>
                    <a:pt x="841338" y="191373"/>
                  </a:lnTo>
                  <a:lnTo>
                    <a:pt x="842691" y="189813"/>
                  </a:lnTo>
                  <a:lnTo>
                    <a:pt x="842691" y="189188"/>
                  </a:lnTo>
                  <a:lnTo>
                    <a:pt x="843836" y="187523"/>
                  </a:lnTo>
                  <a:lnTo>
                    <a:pt x="843836" y="186899"/>
                  </a:lnTo>
                  <a:lnTo>
                    <a:pt x="844773" y="185130"/>
                  </a:lnTo>
                  <a:lnTo>
                    <a:pt x="844773" y="184401"/>
                  </a:lnTo>
                  <a:lnTo>
                    <a:pt x="845605" y="182632"/>
                  </a:lnTo>
                  <a:cubicBezTo>
                    <a:pt x="845652" y="182362"/>
                    <a:pt x="845652" y="182070"/>
                    <a:pt x="845605" y="181800"/>
                  </a:cubicBezTo>
                  <a:lnTo>
                    <a:pt x="846229" y="179926"/>
                  </a:lnTo>
                  <a:cubicBezTo>
                    <a:pt x="846276" y="179656"/>
                    <a:pt x="846276" y="179365"/>
                    <a:pt x="846229" y="179094"/>
                  </a:cubicBezTo>
                  <a:lnTo>
                    <a:pt x="846229" y="177117"/>
                  </a:lnTo>
                  <a:cubicBezTo>
                    <a:pt x="846280" y="176846"/>
                    <a:pt x="846280" y="176555"/>
                    <a:pt x="846229" y="176284"/>
                  </a:cubicBezTo>
                  <a:lnTo>
                    <a:pt x="846229" y="171914"/>
                  </a:lnTo>
                  <a:lnTo>
                    <a:pt x="846229" y="168375"/>
                  </a:lnTo>
                  <a:cubicBezTo>
                    <a:pt x="846187" y="168136"/>
                    <a:pt x="846187" y="167886"/>
                    <a:pt x="846229" y="167647"/>
                  </a:cubicBezTo>
                  <a:lnTo>
                    <a:pt x="846229" y="165566"/>
                  </a:lnTo>
                  <a:cubicBezTo>
                    <a:pt x="846195" y="165326"/>
                    <a:pt x="846195" y="165077"/>
                    <a:pt x="846229" y="164837"/>
                  </a:cubicBezTo>
                  <a:lnTo>
                    <a:pt x="845605" y="162860"/>
                  </a:lnTo>
                  <a:lnTo>
                    <a:pt x="845605" y="162132"/>
                  </a:lnTo>
                  <a:lnTo>
                    <a:pt x="844877" y="160258"/>
                  </a:lnTo>
                  <a:lnTo>
                    <a:pt x="844877" y="159634"/>
                  </a:lnTo>
                  <a:lnTo>
                    <a:pt x="843940" y="157865"/>
                  </a:lnTo>
                  <a:cubicBezTo>
                    <a:pt x="843960" y="157626"/>
                    <a:pt x="843960" y="157376"/>
                    <a:pt x="843940" y="157137"/>
                  </a:cubicBezTo>
                  <a:lnTo>
                    <a:pt x="842795" y="155471"/>
                  </a:lnTo>
                  <a:lnTo>
                    <a:pt x="842795" y="154847"/>
                  </a:lnTo>
                  <a:lnTo>
                    <a:pt x="841547" y="153286"/>
                  </a:lnTo>
                  <a:cubicBezTo>
                    <a:pt x="841547" y="153286"/>
                    <a:pt x="841547" y="153286"/>
                    <a:pt x="841547" y="152766"/>
                  </a:cubicBezTo>
                  <a:lnTo>
                    <a:pt x="840090" y="151413"/>
                  </a:lnTo>
                  <a:lnTo>
                    <a:pt x="840090" y="150893"/>
                  </a:lnTo>
                  <a:lnTo>
                    <a:pt x="838529" y="149540"/>
                  </a:lnTo>
                  <a:lnTo>
                    <a:pt x="837904" y="149540"/>
                  </a:lnTo>
                  <a:lnTo>
                    <a:pt x="836239" y="148395"/>
                  </a:lnTo>
                  <a:lnTo>
                    <a:pt x="835615" y="148395"/>
                  </a:lnTo>
                  <a:lnTo>
                    <a:pt x="833846" y="147458"/>
                  </a:lnTo>
                  <a:lnTo>
                    <a:pt x="833222" y="147458"/>
                  </a:lnTo>
                  <a:lnTo>
                    <a:pt x="831349" y="146626"/>
                  </a:lnTo>
                  <a:lnTo>
                    <a:pt x="830620" y="146626"/>
                  </a:lnTo>
                  <a:lnTo>
                    <a:pt x="828643" y="146002"/>
                  </a:lnTo>
                  <a:lnTo>
                    <a:pt x="827915" y="146002"/>
                  </a:lnTo>
                  <a:lnTo>
                    <a:pt x="825833" y="146002"/>
                  </a:lnTo>
                  <a:lnTo>
                    <a:pt x="825001" y="146002"/>
                  </a:lnTo>
                  <a:lnTo>
                    <a:pt x="821775" y="146002"/>
                  </a:lnTo>
                  <a:lnTo>
                    <a:pt x="820734" y="146002"/>
                  </a:lnTo>
                  <a:lnTo>
                    <a:pt x="817092" y="146002"/>
                  </a:lnTo>
                  <a:lnTo>
                    <a:pt x="816364" y="146002"/>
                  </a:lnTo>
                  <a:lnTo>
                    <a:pt x="814387" y="146002"/>
                  </a:lnTo>
                  <a:lnTo>
                    <a:pt x="813554" y="146002"/>
                  </a:lnTo>
                  <a:lnTo>
                    <a:pt x="811681" y="146626"/>
                  </a:lnTo>
                  <a:lnTo>
                    <a:pt x="810848" y="146626"/>
                  </a:lnTo>
                  <a:lnTo>
                    <a:pt x="809079" y="147458"/>
                  </a:lnTo>
                  <a:lnTo>
                    <a:pt x="808351" y="147458"/>
                  </a:lnTo>
                  <a:lnTo>
                    <a:pt x="806582" y="148395"/>
                  </a:lnTo>
                  <a:lnTo>
                    <a:pt x="805853" y="148395"/>
                  </a:lnTo>
                  <a:lnTo>
                    <a:pt x="804188" y="149540"/>
                  </a:lnTo>
                  <a:lnTo>
                    <a:pt x="804188" y="149540"/>
                  </a:lnTo>
                  <a:lnTo>
                    <a:pt x="802628" y="150789"/>
                  </a:lnTo>
                  <a:lnTo>
                    <a:pt x="802628" y="150789"/>
                  </a:lnTo>
                  <a:lnTo>
                    <a:pt x="801171" y="152245"/>
                  </a:lnTo>
                  <a:lnTo>
                    <a:pt x="801171" y="152245"/>
                  </a:lnTo>
                  <a:lnTo>
                    <a:pt x="799922" y="153806"/>
                  </a:lnTo>
                  <a:lnTo>
                    <a:pt x="799922" y="154431"/>
                  </a:lnTo>
                  <a:lnTo>
                    <a:pt x="798881" y="155992"/>
                  </a:lnTo>
                  <a:cubicBezTo>
                    <a:pt x="798847" y="156231"/>
                    <a:pt x="798847" y="156481"/>
                    <a:pt x="798881" y="156720"/>
                  </a:cubicBezTo>
                  <a:lnTo>
                    <a:pt x="797841" y="158489"/>
                  </a:lnTo>
                  <a:lnTo>
                    <a:pt x="797841" y="159114"/>
                  </a:lnTo>
                  <a:lnTo>
                    <a:pt x="797112" y="160987"/>
                  </a:lnTo>
                  <a:lnTo>
                    <a:pt x="797112" y="161715"/>
                  </a:lnTo>
                  <a:lnTo>
                    <a:pt x="796488" y="163692"/>
                  </a:lnTo>
                  <a:cubicBezTo>
                    <a:pt x="796488" y="163692"/>
                    <a:pt x="796488" y="163692"/>
                    <a:pt x="796488" y="164421"/>
                  </a:cubicBezTo>
                  <a:lnTo>
                    <a:pt x="796488" y="166502"/>
                  </a:lnTo>
                  <a:cubicBezTo>
                    <a:pt x="796488" y="166502"/>
                    <a:pt x="796488" y="167023"/>
                    <a:pt x="796488" y="167335"/>
                  </a:cubicBezTo>
                  <a:lnTo>
                    <a:pt x="796488" y="171601"/>
                  </a:lnTo>
                  <a:lnTo>
                    <a:pt x="796488" y="175140"/>
                  </a:lnTo>
                  <a:cubicBezTo>
                    <a:pt x="796437" y="175410"/>
                    <a:pt x="796437" y="175701"/>
                    <a:pt x="796488" y="175972"/>
                  </a:cubicBezTo>
                  <a:lnTo>
                    <a:pt x="796488" y="177949"/>
                  </a:lnTo>
                  <a:cubicBezTo>
                    <a:pt x="796441" y="178220"/>
                    <a:pt x="796441" y="178511"/>
                    <a:pt x="796488" y="178782"/>
                  </a:cubicBezTo>
                  <a:lnTo>
                    <a:pt x="796488" y="180759"/>
                  </a:lnTo>
                  <a:lnTo>
                    <a:pt x="796488" y="181383"/>
                  </a:lnTo>
                  <a:lnTo>
                    <a:pt x="797216" y="183360"/>
                  </a:lnTo>
                  <a:lnTo>
                    <a:pt x="797216" y="183360"/>
                  </a:lnTo>
                  <a:lnTo>
                    <a:pt x="759650" y="218742"/>
                  </a:lnTo>
                  <a:lnTo>
                    <a:pt x="647992" y="218742"/>
                  </a:lnTo>
                  <a:lnTo>
                    <a:pt x="647992" y="160883"/>
                  </a:lnTo>
                  <a:lnTo>
                    <a:pt x="686807" y="160883"/>
                  </a:lnTo>
                  <a:lnTo>
                    <a:pt x="687535" y="160883"/>
                  </a:lnTo>
                  <a:cubicBezTo>
                    <a:pt x="688529" y="160883"/>
                    <a:pt x="689516" y="160706"/>
                    <a:pt x="690449" y="160362"/>
                  </a:cubicBezTo>
                  <a:cubicBezTo>
                    <a:pt x="691299" y="159925"/>
                    <a:pt x="692102" y="159405"/>
                    <a:pt x="692843" y="158801"/>
                  </a:cubicBezTo>
                  <a:lnTo>
                    <a:pt x="693571" y="158801"/>
                  </a:lnTo>
                  <a:lnTo>
                    <a:pt x="731970" y="120402"/>
                  </a:lnTo>
                  <a:lnTo>
                    <a:pt x="731970" y="120402"/>
                  </a:lnTo>
                  <a:lnTo>
                    <a:pt x="733843" y="121234"/>
                  </a:lnTo>
                  <a:lnTo>
                    <a:pt x="734571" y="121234"/>
                  </a:lnTo>
                  <a:lnTo>
                    <a:pt x="736548" y="121859"/>
                  </a:lnTo>
                  <a:lnTo>
                    <a:pt x="737277" y="121859"/>
                  </a:lnTo>
                  <a:lnTo>
                    <a:pt x="739254" y="121859"/>
                  </a:lnTo>
                  <a:lnTo>
                    <a:pt x="740087" y="121859"/>
                  </a:lnTo>
                  <a:lnTo>
                    <a:pt x="743729" y="121859"/>
                  </a:lnTo>
                  <a:lnTo>
                    <a:pt x="743729" y="121859"/>
                  </a:lnTo>
                  <a:lnTo>
                    <a:pt x="747683" y="121859"/>
                  </a:lnTo>
                  <a:lnTo>
                    <a:pt x="749244" y="121859"/>
                  </a:lnTo>
                  <a:lnTo>
                    <a:pt x="751221" y="121859"/>
                  </a:lnTo>
                  <a:lnTo>
                    <a:pt x="752054" y="121859"/>
                  </a:lnTo>
                  <a:lnTo>
                    <a:pt x="753927" y="121234"/>
                  </a:lnTo>
                  <a:lnTo>
                    <a:pt x="754655" y="121234"/>
                  </a:lnTo>
                  <a:lnTo>
                    <a:pt x="756528" y="120402"/>
                  </a:lnTo>
                  <a:lnTo>
                    <a:pt x="757257" y="120402"/>
                  </a:lnTo>
                  <a:lnTo>
                    <a:pt x="759026" y="119465"/>
                  </a:lnTo>
                  <a:lnTo>
                    <a:pt x="759650" y="119465"/>
                  </a:lnTo>
                  <a:lnTo>
                    <a:pt x="761315" y="118321"/>
                  </a:lnTo>
                  <a:lnTo>
                    <a:pt x="761939" y="118321"/>
                  </a:lnTo>
                  <a:lnTo>
                    <a:pt x="763500" y="117072"/>
                  </a:lnTo>
                  <a:cubicBezTo>
                    <a:pt x="763500" y="117072"/>
                    <a:pt x="763500" y="117072"/>
                    <a:pt x="763500" y="116552"/>
                  </a:cubicBezTo>
                  <a:lnTo>
                    <a:pt x="764957" y="115199"/>
                  </a:lnTo>
                  <a:lnTo>
                    <a:pt x="764957" y="114574"/>
                  </a:lnTo>
                  <a:lnTo>
                    <a:pt x="766206" y="113013"/>
                  </a:lnTo>
                  <a:lnTo>
                    <a:pt x="766206" y="112493"/>
                  </a:lnTo>
                  <a:lnTo>
                    <a:pt x="767351" y="110828"/>
                  </a:lnTo>
                  <a:cubicBezTo>
                    <a:pt x="767405" y="110589"/>
                    <a:pt x="767405" y="110339"/>
                    <a:pt x="767351" y="110100"/>
                  </a:cubicBezTo>
                  <a:lnTo>
                    <a:pt x="768287" y="108435"/>
                  </a:lnTo>
                  <a:lnTo>
                    <a:pt x="768287" y="107706"/>
                  </a:lnTo>
                  <a:lnTo>
                    <a:pt x="769016" y="105833"/>
                  </a:lnTo>
                  <a:lnTo>
                    <a:pt x="769016" y="105105"/>
                  </a:lnTo>
                  <a:lnTo>
                    <a:pt x="769640" y="103127"/>
                  </a:lnTo>
                  <a:cubicBezTo>
                    <a:pt x="769640" y="103127"/>
                    <a:pt x="769640" y="103127"/>
                    <a:pt x="769640" y="102399"/>
                  </a:cubicBezTo>
                  <a:lnTo>
                    <a:pt x="769640" y="100318"/>
                  </a:lnTo>
                  <a:cubicBezTo>
                    <a:pt x="769640" y="100318"/>
                    <a:pt x="769640" y="99797"/>
                    <a:pt x="769640" y="99589"/>
                  </a:cubicBezTo>
                  <a:lnTo>
                    <a:pt x="769640" y="96259"/>
                  </a:lnTo>
                  <a:cubicBezTo>
                    <a:pt x="769691" y="95916"/>
                    <a:pt x="769691" y="95562"/>
                    <a:pt x="769640" y="95218"/>
                  </a:cubicBezTo>
                  <a:lnTo>
                    <a:pt x="769640" y="91576"/>
                  </a:lnTo>
                  <a:cubicBezTo>
                    <a:pt x="769683" y="91337"/>
                    <a:pt x="769683" y="91087"/>
                    <a:pt x="769640" y="90848"/>
                  </a:cubicBezTo>
                  <a:lnTo>
                    <a:pt x="769640" y="88870"/>
                  </a:lnTo>
                  <a:cubicBezTo>
                    <a:pt x="769687" y="88600"/>
                    <a:pt x="769687" y="88309"/>
                    <a:pt x="769640" y="88038"/>
                  </a:cubicBezTo>
                  <a:lnTo>
                    <a:pt x="769640" y="86165"/>
                  </a:lnTo>
                  <a:lnTo>
                    <a:pt x="769640" y="85437"/>
                  </a:lnTo>
                  <a:lnTo>
                    <a:pt x="768807" y="83459"/>
                  </a:lnTo>
                  <a:cubicBezTo>
                    <a:pt x="768807" y="83459"/>
                    <a:pt x="768807" y="83459"/>
                    <a:pt x="768807" y="82835"/>
                  </a:cubicBezTo>
                  <a:lnTo>
                    <a:pt x="767871" y="81066"/>
                  </a:lnTo>
                  <a:lnTo>
                    <a:pt x="767871" y="80441"/>
                  </a:lnTo>
                  <a:lnTo>
                    <a:pt x="766830" y="78776"/>
                  </a:lnTo>
                  <a:lnTo>
                    <a:pt x="766830" y="78152"/>
                  </a:lnTo>
                  <a:lnTo>
                    <a:pt x="765582" y="76591"/>
                  </a:lnTo>
                  <a:cubicBezTo>
                    <a:pt x="765618" y="76424"/>
                    <a:pt x="765618" y="76237"/>
                    <a:pt x="765582" y="76071"/>
                  </a:cubicBezTo>
                  <a:lnTo>
                    <a:pt x="764229" y="74614"/>
                  </a:lnTo>
                  <a:lnTo>
                    <a:pt x="763604" y="74614"/>
                  </a:lnTo>
                  <a:lnTo>
                    <a:pt x="762148" y="73365"/>
                  </a:lnTo>
                  <a:lnTo>
                    <a:pt x="761523" y="72845"/>
                  </a:lnTo>
                  <a:lnTo>
                    <a:pt x="759858" y="71804"/>
                  </a:lnTo>
                  <a:lnTo>
                    <a:pt x="759234" y="71804"/>
                  </a:lnTo>
                  <a:lnTo>
                    <a:pt x="757465" y="70867"/>
                  </a:lnTo>
                  <a:lnTo>
                    <a:pt x="756736" y="70867"/>
                  </a:lnTo>
                  <a:lnTo>
                    <a:pt x="754863" y="70139"/>
                  </a:lnTo>
                  <a:lnTo>
                    <a:pt x="754135" y="70139"/>
                  </a:lnTo>
                  <a:lnTo>
                    <a:pt x="752262" y="69515"/>
                  </a:lnTo>
                  <a:lnTo>
                    <a:pt x="751429" y="69515"/>
                  </a:lnTo>
                  <a:lnTo>
                    <a:pt x="749452" y="69515"/>
                  </a:lnTo>
                  <a:lnTo>
                    <a:pt x="748620" y="69515"/>
                  </a:lnTo>
                  <a:lnTo>
                    <a:pt x="744249" y="69515"/>
                  </a:lnTo>
                  <a:lnTo>
                    <a:pt x="740711" y="69515"/>
                  </a:lnTo>
                  <a:lnTo>
                    <a:pt x="739878" y="69515"/>
                  </a:lnTo>
                  <a:lnTo>
                    <a:pt x="737797" y="69515"/>
                  </a:lnTo>
                  <a:lnTo>
                    <a:pt x="737069" y="69515"/>
                  </a:lnTo>
                  <a:lnTo>
                    <a:pt x="735092" y="69515"/>
                  </a:lnTo>
                  <a:lnTo>
                    <a:pt x="734363" y="69515"/>
                  </a:lnTo>
                  <a:lnTo>
                    <a:pt x="732490" y="70347"/>
                  </a:lnTo>
                  <a:lnTo>
                    <a:pt x="731762" y="70347"/>
                  </a:lnTo>
                  <a:lnTo>
                    <a:pt x="729993" y="71284"/>
                  </a:lnTo>
                  <a:lnTo>
                    <a:pt x="729368" y="71284"/>
                  </a:lnTo>
                  <a:lnTo>
                    <a:pt x="727703" y="72324"/>
                  </a:lnTo>
                  <a:lnTo>
                    <a:pt x="727079" y="72845"/>
                  </a:lnTo>
                  <a:lnTo>
                    <a:pt x="725518" y="74093"/>
                  </a:lnTo>
                  <a:lnTo>
                    <a:pt x="725518" y="74093"/>
                  </a:lnTo>
                  <a:lnTo>
                    <a:pt x="724061" y="75446"/>
                  </a:lnTo>
                  <a:lnTo>
                    <a:pt x="724061" y="75967"/>
                  </a:lnTo>
                  <a:lnTo>
                    <a:pt x="722708" y="77528"/>
                  </a:lnTo>
                  <a:lnTo>
                    <a:pt x="722708" y="78152"/>
                  </a:lnTo>
                  <a:lnTo>
                    <a:pt x="721563" y="79817"/>
                  </a:lnTo>
                  <a:lnTo>
                    <a:pt x="721563" y="80441"/>
                  </a:lnTo>
                  <a:lnTo>
                    <a:pt x="720627" y="82210"/>
                  </a:lnTo>
                  <a:lnTo>
                    <a:pt x="720627" y="82939"/>
                  </a:lnTo>
                  <a:lnTo>
                    <a:pt x="719794" y="84812"/>
                  </a:lnTo>
                  <a:lnTo>
                    <a:pt x="719794" y="85541"/>
                  </a:lnTo>
                  <a:lnTo>
                    <a:pt x="719794" y="87414"/>
                  </a:lnTo>
                  <a:cubicBezTo>
                    <a:pt x="719748" y="87684"/>
                    <a:pt x="719748" y="87976"/>
                    <a:pt x="719794" y="88246"/>
                  </a:cubicBezTo>
                  <a:lnTo>
                    <a:pt x="719794" y="90223"/>
                  </a:lnTo>
                  <a:cubicBezTo>
                    <a:pt x="719794" y="90223"/>
                    <a:pt x="719794" y="90223"/>
                    <a:pt x="719794" y="91056"/>
                  </a:cubicBezTo>
                  <a:lnTo>
                    <a:pt x="719794" y="94282"/>
                  </a:lnTo>
                  <a:lnTo>
                    <a:pt x="719794" y="95427"/>
                  </a:lnTo>
                  <a:lnTo>
                    <a:pt x="719794" y="98965"/>
                  </a:lnTo>
                  <a:cubicBezTo>
                    <a:pt x="719794" y="98965"/>
                    <a:pt x="719794" y="98965"/>
                    <a:pt x="719794" y="99693"/>
                  </a:cubicBezTo>
                  <a:lnTo>
                    <a:pt x="719794" y="101670"/>
                  </a:lnTo>
                  <a:cubicBezTo>
                    <a:pt x="719794" y="101670"/>
                    <a:pt x="719794" y="102295"/>
                    <a:pt x="719794" y="102503"/>
                  </a:cubicBezTo>
                  <a:lnTo>
                    <a:pt x="720419" y="104480"/>
                  </a:lnTo>
                  <a:cubicBezTo>
                    <a:pt x="720374" y="104720"/>
                    <a:pt x="720374" y="104969"/>
                    <a:pt x="720419" y="105209"/>
                  </a:cubicBezTo>
                  <a:lnTo>
                    <a:pt x="721251" y="107082"/>
                  </a:lnTo>
                  <a:lnTo>
                    <a:pt x="721251" y="107082"/>
                  </a:lnTo>
                  <a:lnTo>
                    <a:pt x="721251" y="107082"/>
                  </a:lnTo>
                  <a:lnTo>
                    <a:pt x="685662" y="142776"/>
                  </a:lnTo>
                  <a:lnTo>
                    <a:pt x="647992" y="142776"/>
                  </a:lnTo>
                  <a:lnTo>
                    <a:pt x="647992" y="50367"/>
                  </a:lnTo>
                  <a:lnTo>
                    <a:pt x="647472" y="43707"/>
                  </a:lnTo>
                  <a:lnTo>
                    <a:pt x="646535" y="38816"/>
                  </a:lnTo>
                  <a:lnTo>
                    <a:pt x="645078" y="34029"/>
                  </a:lnTo>
                  <a:lnTo>
                    <a:pt x="643205" y="29450"/>
                  </a:lnTo>
                  <a:lnTo>
                    <a:pt x="640916" y="25288"/>
                  </a:lnTo>
                  <a:lnTo>
                    <a:pt x="638210" y="21229"/>
                  </a:lnTo>
                  <a:lnTo>
                    <a:pt x="631862" y="14049"/>
                  </a:lnTo>
                  <a:lnTo>
                    <a:pt x="624370" y="7389"/>
                  </a:lnTo>
                  <a:lnTo>
                    <a:pt x="620103" y="5099"/>
                  </a:lnTo>
                  <a:lnTo>
                    <a:pt x="615629" y="3122"/>
                  </a:lnTo>
                  <a:lnTo>
                    <a:pt x="610842" y="1665"/>
                  </a:lnTo>
                  <a:lnTo>
                    <a:pt x="606055" y="624"/>
                  </a:lnTo>
                  <a:lnTo>
                    <a:pt x="598355" y="0"/>
                  </a:lnTo>
                  <a:lnTo>
                    <a:pt x="328419" y="0"/>
                  </a:lnTo>
                  <a:lnTo>
                    <a:pt x="321863" y="520"/>
                  </a:lnTo>
                  <a:lnTo>
                    <a:pt x="316868" y="1457"/>
                  </a:lnTo>
                  <a:lnTo>
                    <a:pt x="312081" y="2914"/>
                  </a:lnTo>
                  <a:lnTo>
                    <a:pt x="307606" y="4683"/>
                  </a:lnTo>
                  <a:lnTo>
                    <a:pt x="299281" y="9678"/>
                  </a:lnTo>
                  <a:lnTo>
                    <a:pt x="295639" y="12696"/>
                  </a:lnTo>
                  <a:lnTo>
                    <a:pt x="288979" y="19772"/>
                  </a:lnTo>
                  <a:lnTo>
                    <a:pt x="286378" y="23727"/>
                  </a:lnTo>
                  <a:lnTo>
                    <a:pt x="283984" y="27889"/>
                  </a:lnTo>
                  <a:lnTo>
                    <a:pt x="282007" y="32468"/>
                  </a:lnTo>
                  <a:lnTo>
                    <a:pt x="280550" y="37151"/>
                  </a:lnTo>
                  <a:lnTo>
                    <a:pt x="279510" y="42042"/>
                  </a:lnTo>
                  <a:lnTo>
                    <a:pt x="278885" y="49743"/>
                  </a:lnTo>
                  <a:lnTo>
                    <a:pt x="278885" y="49743"/>
                  </a:lnTo>
                  <a:lnTo>
                    <a:pt x="278885" y="49743"/>
                  </a:lnTo>
                  <a:lnTo>
                    <a:pt x="278885" y="141631"/>
                  </a:lnTo>
                  <a:lnTo>
                    <a:pt x="243921" y="141631"/>
                  </a:lnTo>
                  <a:lnTo>
                    <a:pt x="208123" y="106249"/>
                  </a:lnTo>
                  <a:lnTo>
                    <a:pt x="208123" y="106249"/>
                  </a:lnTo>
                  <a:cubicBezTo>
                    <a:pt x="208123" y="106249"/>
                    <a:pt x="208123" y="106249"/>
                    <a:pt x="208123" y="106249"/>
                  </a:cubicBezTo>
                  <a:lnTo>
                    <a:pt x="208852" y="104376"/>
                  </a:lnTo>
                  <a:lnTo>
                    <a:pt x="208852" y="103648"/>
                  </a:lnTo>
                  <a:lnTo>
                    <a:pt x="209476" y="101670"/>
                  </a:lnTo>
                  <a:cubicBezTo>
                    <a:pt x="209431" y="101431"/>
                    <a:pt x="209431" y="101181"/>
                    <a:pt x="209476" y="100942"/>
                  </a:cubicBezTo>
                  <a:lnTo>
                    <a:pt x="209476" y="98861"/>
                  </a:lnTo>
                  <a:cubicBezTo>
                    <a:pt x="209425" y="98621"/>
                    <a:pt x="209425" y="98372"/>
                    <a:pt x="209476" y="98132"/>
                  </a:cubicBezTo>
                  <a:lnTo>
                    <a:pt x="209476" y="95427"/>
                  </a:lnTo>
                  <a:lnTo>
                    <a:pt x="209476" y="93970"/>
                  </a:lnTo>
                  <a:lnTo>
                    <a:pt x="209476" y="90223"/>
                  </a:lnTo>
                  <a:cubicBezTo>
                    <a:pt x="209527" y="89953"/>
                    <a:pt x="209527" y="89661"/>
                    <a:pt x="209476" y="89391"/>
                  </a:cubicBezTo>
                  <a:lnTo>
                    <a:pt x="209476" y="87310"/>
                  </a:lnTo>
                  <a:cubicBezTo>
                    <a:pt x="209463" y="87070"/>
                    <a:pt x="209463" y="86821"/>
                    <a:pt x="209476" y="86581"/>
                  </a:cubicBezTo>
                  <a:lnTo>
                    <a:pt x="208852" y="84708"/>
                  </a:lnTo>
                  <a:cubicBezTo>
                    <a:pt x="208913" y="84469"/>
                    <a:pt x="208913" y="84219"/>
                    <a:pt x="208852" y="83980"/>
                  </a:cubicBezTo>
                  <a:lnTo>
                    <a:pt x="208019" y="82106"/>
                  </a:lnTo>
                  <a:lnTo>
                    <a:pt x="208019" y="81378"/>
                  </a:lnTo>
                  <a:lnTo>
                    <a:pt x="207083" y="79609"/>
                  </a:lnTo>
                  <a:lnTo>
                    <a:pt x="207083" y="78984"/>
                  </a:lnTo>
                  <a:lnTo>
                    <a:pt x="205938" y="77320"/>
                  </a:lnTo>
                  <a:lnTo>
                    <a:pt x="205418" y="76695"/>
                  </a:lnTo>
                  <a:lnTo>
                    <a:pt x="204169" y="75134"/>
                  </a:lnTo>
                  <a:lnTo>
                    <a:pt x="204169" y="74614"/>
                  </a:lnTo>
                  <a:lnTo>
                    <a:pt x="202816" y="73261"/>
                  </a:lnTo>
                  <a:lnTo>
                    <a:pt x="202192" y="73261"/>
                  </a:lnTo>
                  <a:lnTo>
                    <a:pt x="200631" y="72012"/>
                  </a:lnTo>
                  <a:cubicBezTo>
                    <a:pt x="200631" y="72012"/>
                    <a:pt x="200631" y="72012"/>
                    <a:pt x="200111" y="71492"/>
                  </a:cubicBezTo>
                  <a:lnTo>
                    <a:pt x="198446" y="70451"/>
                  </a:lnTo>
                  <a:lnTo>
                    <a:pt x="197717" y="70451"/>
                  </a:lnTo>
                  <a:lnTo>
                    <a:pt x="195948" y="69515"/>
                  </a:lnTo>
                  <a:lnTo>
                    <a:pt x="195324" y="69515"/>
                  </a:lnTo>
                  <a:lnTo>
                    <a:pt x="193451" y="68682"/>
                  </a:lnTo>
                  <a:lnTo>
                    <a:pt x="192722" y="68682"/>
                  </a:lnTo>
                  <a:lnTo>
                    <a:pt x="190745" y="68682"/>
                  </a:lnTo>
                  <a:lnTo>
                    <a:pt x="190017" y="68682"/>
                  </a:lnTo>
                  <a:lnTo>
                    <a:pt x="187935" y="68682"/>
                  </a:lnTo>
                  <a:lnTo>
                    <a:pt x="187103" y="68682"/>
                  </a:lnTo>
                  <a:lnTo>
                    <a:pt x="182940" y="68682"/>
                  </a:lnTo>
                  <a:lnTo>
                    <a:pt x="179194" y="68682"/>
                  </a:lnTo>
                  <a:lnTo>
                    <a:pt x="178466" y="68682"/>
                  </a:lnTo>
                  <a:lnTo>
                    <a:pt x="176385" y="68682"/>
                  </a:lnTo>
                  <a:lnTo>
                    <a:pt x="175656" y="68682"/>
                  </a:lnTo>
                  <a:lnTo>
                    <a:pt x="173679" y="69307"/>
                  </a:lnTo>
                  <a:lnTo>
                    <a:pt x="172950" y="69307"/>
                  </a:lnTo>
                  <a:lnTo>
                    <a:pt x="171077" y="70035"/>
                  </a:lnTo>
                  <a:lnTo>
                    <a:pt x="170453" y="70035"/>
                  </a:lnTo>
                  <a:lnTo>
                    <a:pt x="168684" y="70972"/>
                  </a:lnTo>
                  <a:lnTo>
                    <a:pt x="168060" y="70972"/>
                  </a:lnTo>
                  <a:lnTo>
                    <a:pt x="166395" y="72116"/>
                  </a:lnTo>
                  <a:lnTo>
                    <a:pt x="165770" y="72116"/>
                  </a:lnTo>
                  <a:lnTo>
                    <a:pt x="164209" y="73365"/>
                  </a:lnTo>
                  <a:lnTo>
                    <a:pt x="164209" y="73365"/>
                  </a:lnTo>
                  <a:lnTo>
                    <a:pt x="162752" y="74822"/>
                  </a:lnTo>
                  <a:lnTo>
                    <a:pt x="162752" y="75342"/>
                  </a:lnTo>
                  <a:lnTo>
                    <a:pt x="161400" y="76903"/>
                  </a:lnTo>
                  <a:lnTo>
                    <a:pt x="161400" y="77528"/>
                  </a:lnTo>
                  <a:lnTo>
                    <a:pt x="160255" y="79193"/>
                  </a:lnTo>
                  <a:lnTo>
                    <a:pt x="160255" y="79817"/>
                  </a:lnTo>
                  <a:lnTo>
                    <a:pt x="159214" y="81586"/>
                  </a:lnTo>
                  <a:lnTo>
                    <a:pt x="159214" y="82315"/>
                  </a:lnTo>
                  <a:lnTo>
                    <a:pt x="158486" y="84084"/>
                  </a:lnTo>
                  <a:lnTo>
                    <a:pt x="158486" y="84916"/>
                  </a:lnTo>
                  <a:lnTo>
                    <a:pt x="157862" y="86789"/>
                  </a:lnTo>
                  <a:cubicBezTo>
                    <a:pt x="157908" y="87060"/>
                    <a:pt x="157908" y="87351"/>
                    <a:pt x="157862" y="87622"/>
                  </a:cubicBezTo>
                  <a:lnTo>
                    <a:pt x="157862" y="89599"/>
                  </a:lnTo>
                  <a:cubicBezTo>
                    <a:pt x="157811" y="89870"/>
                    <a:pt x="157811" y="90161"/>
                    <a:pt x="157862" y="90432"/>
                  </a:cubicBezTo>
                  <a:lnTo>
                    <a:pt x="157862" y="93137"/>
                  </a:lnTo>
                  <a:lnTo>
                    <a:pt x="157862" y="94594"/>
                  </a:lnTo>
                  <a:lnTo>
                    <a:pt x="157862" y="98340"/>
                  </a:lnTo>
                  <a:cubicBezTo>
                    <a:pt x="157811" y="98580"/>
                    <a:pt x="157811" y="98829"/>
                    <a:pt x="157862" y="99069"/>
                  </a:cubicBezTo>
                  <a:lnTo>
                    <a:pt x="157862" y="101150"/>
                  </a:lnTo>
                  <a:cubicBezTo>
                    <a:pt x="157817" y="101389"/>
                    <a:pt x="157817" y="101639"/>
                    <a:pt x="157862" y="101878"/>
                  </a:cubicBezTo>
                  <a:lnTo>
                    <a:pt x="158486" y="103856"/>
                  </a:lnTo>
                  <a:cubicBezTo>
                    <a:pt x="158499" y="104095"/>
                    <a:pt x="158499" y="104345"/>
                    <a:pt x="158486" y="104584"/>
                  </a:cubicBezTo>
                  <a:lnTo>
                    <a:pt x="159318" y="106457"/>
                  </a:lnTo>
                  <a:lnTo>
                    <a:pt x="159318" y="107186"/>
                  </a:lnTo>
                  <a:lnTo>
                    <a:pt x="160359" y="108851"/>
                  </a:lnTo>
                  <a:lnTo>
                    <a:pt x="160359" y="109579"/>
                  </a:lnTo>
                  <a:lnTo>
                    <a:pt x="161504" y="111244"/>
                  </a:lnTo>
                  <a:lnTo>
                    <a:pt x="161504" y="111765"/>
                  </a:lnTo>
                  <a:lnTo>
                    <a:pt x="162752" y="113326"/>
                  </a:lnTo>
                  <a:cubicBezTo>
                    <a:pt x="162752" y="113326"/>
                    <a:pt x="162752" y="113326"/>
                    <a:pt x="162752" y="113846"/>
                  </a:cubicBezTo>
                  <a:lnTo>
                    <a:pt x="164105" y="115303"/>
                  </a:lnTo>
                  <a:lnTo>
                    <a:pt x="164730" y="115823"/>
                  </a:lnTo>
                  <a:lnTo>
                    <a:pt x="166291" y="117072"/>
                  </a:lnTo>
                  <a:lnTo>
                    <a:pt x="166811" y="117072"/>
                  </a:lnTo>
                  <a:lnTo>
                    <a:pt x="168476" y="118217"/>
                  </a:lnTo>
                  <a:lnTo>
                    <a:pt x="169204" y="118217"/>
                  </a:lnTo>
                  <a:lnTo>
                    <a:pt x="170973" y="119153"/>
                  </a:lnTo>
                  <a:lnTo>
                    <a:pt x="171598" y="119153"/>
                  </a:lnTo>
                  <a:lnTo>
                    <a:pt x="173471" y="119986"/>
                  </a:lnTo>
                  <a:lnTo>
                    <a:pt x="174199" y="119986"/>
                  </a:lnTo>
                  <a:lnTo>
                    <a:pt x="176176" y="120610"/>
                  </a:lnTo>
                  <a:lnTo>
                    <a:pt x="177009" y="120610"/>
                  </a:lnTo>
                  <a:lnTo>
                    <a:pt x="178986" y="120610"/>
                  </a:lnTo>
                  <a:lnTo>
                    <a:pt x="179819" y="120610"/>
                  </a:lnTo>
                  <a:lnTo>
                    <a:pt x="183357" y="120610"/>
                  </a:lnTo>
                  <a:lnTo>
                    <a:pt x="183357" y="120610"/>
                  </a:lnTo>
                  <a:lnTo>
                    <a:pt x="187415" y="120610"/>
                  </a:lnTo>
                  <a:lnTo>
                    <a:pt x="188143" y="120610"/>
                  </a:lnTo>
                  <a:lnTo>
                    <a:pt x="190225" y="120610"/>
                  </a:lnTo>
                  <a:lnTo>
                    <a:pt x="190953" y="120610"/>
                  </a:lnTo>
                  <a:lnTo>
                    <a:pt x="192930" y="119986"/>
                  </a:lnTo>
                  <a:lnTo>
                    <a:pt x="193659" y="119986"/>
                  </a:lnTo>
                  <a:lnTo>
                    <a:pt x="195532" y="119153"/>
                  </a:lnTo>
                  <a:lnTo>
                    <a:pt x="195532" y="119153"/>
                  </a:lnTo>
                  <a:lnTo>
                    <a:pt x="233931" y="157553"/>
                  </a:lnTo>
                  <a:cubicBezTo>
                    <a:pt x="234218" y="157792"/>
                    <a:pt x="234532" y="158011"/>
                    <a:pt x="234867" y="158177"/>
                  </a:cubicBezTo>
                  <a:lnTo>
                    <a:pt x="236948" y="159634"/>
                  </a:lnTo>
                  <a:cubicBezTo>
                    <a:pt x="237920" y="159967"/>
                    <a:pt x="238939" y="160144"/>
                    <a:pt x="239966" y="160154"/>
                  </a:cubicBezTo>
                  <a:lnTo>
                    <a:pt x="240591" y="160154"/>
                  </a:lnTo>
                  <a:lnTo>
                    <a:pt x="278885" y="160154"/>
                  </a:lnTo>
                  <a:lnTo>
                    <a:pt x="278885" y="218014"/>
                  </a:lnTo>
                  <a:lnTo>
                    <a:pt x="167123" y="218014"/>
                  </a:lnTo>
                  <a:lnTo>
                    <a:pt x="131430" y="182424"/>
                  </a:lnTo>
                  <a:lnTo>
                    <a:pt x="131430" y="182424"/>
                  </a:lnTo>
                  <a:cubicBezTo>
                    <a:pt x="131430" y="182424"/>
                    <a:pt x="131430" y="182424"/>
                    <a:pt x="131430" y="182424"/>
                  </a:cubicBezTo>
                  <a:lnTo>
                    <a:pt x="132262" y="180655"/>
                  </a:lnTo>
                  <a:cubicBezTo>
                    <a:pt x="132297" y="180416"/>
                    <a:pt x="132297" y="180166"/>
                    <a:pt x="132262" y="179926"/>
                  </a:cubicBezTo>
                  <a:lnTo>
                    <a:pt x="132887" y="177949"/>
                  </a:lnTo>
                  <a:cubicBezTo>
                    <a:pt x="132934" y="177679"/>
                    <a:pt x="132934" y="177387"/>
                    <a:pt x="132887" y="177117"/>
                  </a:cubicBezTo>
                  <a:lnTo>
                    <a:pt x="132887" y="175140"/>
                  </a:lnTo>
                  <a:cubicBezTo>
                    <a:pt x="132887" y="175140"/>
                    <a:pt x="132887" y="175140"/>
                    <a:pt x="132887" y="174307"/>
                  </a:cubicBezTo>
                  <a:lnTo>
                    <a:pt x="132887" y="170144"/>
                  </a:lnTo>
                  <a:lnTo>
                    <a:pt x="132887" y="166398"/>
                  </a:lnTo>
                  <a:cubicBezTo>
                    <a:pt x="132844" y="166159"/>
                    <a:pt x="132844" y="165909"/>
                    <a:pt x="132887" y="165670"/>
                  </a:cubicBezTo>
                  <a:lnTo>
                    <a:pt x="132887" y="163588"/>
                  </a:lnTo>
                  <a:cubicBezTo>
                    <a:pt x="132842" y="163349"/>
                    <a:pt x="132842" y="163099"/>
                    <a:pt x="132887" y="162860"/>
                  </a:cubicBezTo>
                  <a:lnTo>
                    <a:pt x="132262" y="160883"/>
                  </a:lnTo>
                  <a:lnTo>
                    <a:pt x="132262" y="160154"/>
                  </a:lnTo>
                  <a:lnTo>
                    <a:pt x="131534" y="158281"/>
                  </a:lnTo>
                  <a:lnTo>
                    <a:pt x="131534" y="157657"/>
                  </a:lnTo>
                  <a:lnTo>
                    <a:pt x="130597" y="155888"/>
                  </a:lnTo>
                  <a:lnTo>
                    <a:pt x="130597" y="155159"/>
                  </a:lnTo>
                  <a:lnTo>
                    <a:pt x="129453" y="153598"/>
                  </a:lnTo>
                  <a:lnTo>
                    <a:pt x="129453" y="152974"/>
                  </a:lnTo>
                  <a:lnTo>
                    <a:pt x="128204" y="151413"/>
                  </a:lnTo>
                  <a:lnTo>
                    <a:pt x="128204" y="151413"/>
                  </a:lnTo>
                  <a:lnTo>
                    <a:pt x="126747" y="149956"/>
                  </a:lnTo>
                  <a:lnTo>
                    <a:pt x="126747" y="149956"/>
                  </a:lnTo>
                  <a:lnTo>
                    <a:pt x="125186" y="148707"/>
                  </a:lnTo>
                  <a:lnTo>
                    <a:pt x="124562" y="148707"/>
                  </a:lnTo>
                  <a:lnTo>
                    <a:pt x="122897" y="147563"/>
                  </a:lnTo>
                  <a:lnTo>
                    <a:pt x="122272" y="147563"/>
                  </a:lnTo>
                  <a:lnTo>
                    <a:pt x="120503" y="146626"/>
                  </a:lnTo>
                  <a:lnTo>
                    <a:pt x="119775" y="146626"/>
                  </a:lnTo>
                  <a:lnTo>
                    <a:pt x="117902" y="145793"/>
                  </a:lnTo>
                  <a:lnTo>
                    <a:pt x="117173" y="145793"/>
                  </a:lnTo>
                  <a:lnTo>
                    <a:pt x="115196" y="145169"/>
                  </a:lnTo>
                  <a:lnTo>
                    <a:pt x="114468" y="145169"/>
                  </a:lnTo>
                  <a:lnTo>
                    <a:pt x="112491" y="145169"/>
                  </a:lnTo>
                  <a:lnTo>
                    <a:pt x="111658" y="145169"/>
                  </a:lnTo>
                  <a:lnTo>
                    <a:pt x="108953" y="145169"/>
                  </a:lnTo>
                  <a:lnTo>
                    <a:pt x="107496" y="145169"/>
                  </a:lnTo>
                  <a:lnTo>
                    <a:pt x="103749" y="145169"/>
                  </a:lnTo>
                  <a:lnTo>
                    <a:pt x="100628" y="145169"/>
                  </a:lnTo>
                  <a:lnTo>
                    <a:pt x="98650" y="145169"/>
                  </a:lnTo>
                  <a:lnTo>
                    <a:pt x="97922" y="145169"/>
                  </a:lnTo>
                  <a:lnTo>
                    <a:pt x="95945" y="145793"/>
                  </a:lnTo>
                  <a:lnTo>
                    <a:pt x="95216" y="145793"/>
                  </a:lnTo>
                  <a:lnTo>
                    <a:pt x="93343" y="146626"/>
                  </a:lnTo>
                  <a:lnTo>
                    <a:pt x="92615" y="146626"/>
                  </a:lnTo>
                  <a:lnTo>
                    <a:pt x="90846" y="147563"/>
                  </a:lnTo>
                  <a:lnTo>
                    <a:pt x="90221" y="147563"/>
                  </a:lnTo>
                  <a:lnTo>
                    <a:pt x="88556" y="148707"/>
                  </a:lnTo>
                  <a:lnTo>
                    <a:pt x="87932" y="148707"/>
                  </a:lnTo>
                  <a:lnTo>
                    <a:pt x="86475" y="150060"/>
                  </a:lnTo>
                  <a:lnTo>
                    <a:pt x="85851" y="150060"/>
                  </a:lnTo>
                  <a:lnTo>
                    <a:pt x="84498" y="151517"/>
                  </a:lnTo>
                  <a:lnTo>
                    <a:pt x="84498" y="152037"/>
                  </a:lnTo>
                  <a:lnTo>
                    <a:pt x="83249" y="153598"/>
                  </a:lnTo>
                  <a:cubicBezTo>
                    <a:pt x="83219" y="153806"/>
                    <a:pt x="83219" y="154015"/>
                    <a:pt x="83249" y="154223"/>
                  </a:cubicBezTo>
                  <a:lnTo>
                    <a:pt x="82105" y="155888"/>
                  </a:lnTo>
                  <a:lnTo>
                    <a:pt x="82105" y="156512"/>
                  </a:lnTo>
                  <a:lnTo>
                    <a:pt x="81168" y="158385"/>
                  </a:lnTo>
                  <a:lnTo>
                    <a:pt x="81168" y="159010"/>
                  </a:lnTo>
                  <a:lnTo>
                    <a:pt x="80336" y="160883"/>
                  </a:lnTo>
                  <a:cubicBezTo>
                    <a:pt x="80290" y="161122"/>
                    <a:pt x="80290" y="161372"/>
                    <a:pt x="80336" y="161611"/>
                  </a:cubicBezTo>
                  <a:lnTo>
                    <a:pt x="79711" y="163588"/>
                  </a:lnTo>
                  <a:cubicBezTo>
                    <a:pt x="79711" y="163588"/>
                    <a:pt x="79711" y="164109"/>
                    <a:pt x="79711" y="164317"/>
                  </a:cubicBezTo>
                  <a:lnTo>
                    <a:pt x="79711" y="166398"/>
                  </a:lnTo>
                  <a:cubicBezTo>
                    <a:pt x="79711" y="166398"/>
                    <a:pt x="79711" y="166398"/>
                    <a:pt x="79711" y="167231"/>
                  </a:cubicBezTo>
                  <a:lnTo>
                    <a:pt x="79711" y="171393"/>
                  </a:lnTo>
                  <a:lnTo>
                    <a:pt x="79711" y="175036"/>
                  </a:lnTo>
                  <a:cubicBezTo>
                    <a:pt x="79762" y="175306"/>
                    <a:pt x="79762" y="175597"/>
                    <a:pt x="79711" y="175868"/>
                  </a:cubicBezTo>
                  <a:lnTo>
                    <a:pt x="79711" y="177949"/>
                  </a:lnTo>
                  <a:cubicBezTo>
                    <a:pt x="79711" y="177949"/>
                    <a:pt x="79711" y="177949"/>
                    <a:pt x="79711" y="178678"/>
                  </a:cubicBezTo>
                  <a:lnTo>
                    <a:pt x="80336" y="180551"/>
                  </a:lnTo>
                  <a:lnTo>
                    <a:pt x="80336" y="181279"/>
                  </a:lnTo>
                  <a:lnTo>
                    <a:pt x="81168" y="183152"/>
                  </a:lnTo>
                  <a:lnTo>
                    <a:pt x="81168" y="183881"/>
                  </a:lnTo>
                  <a:lnTo>
                    <a:pt x="82105" y="185650"/>
                  </a:lnTo>
                  <a:lnTo>
                    <a:pt x="82105" y="186274"/>
                  </a:lnTo>
                  <a:lnTo>
                    <a:pt x="83249" y="187939"/>
                  </a:lnTo>
                  <a:lnTo>
                    <a:pt x="83249" y="188460"/>
                  </a:lnTo>
                  <a:lnTo>
                    <a:pt x="84498" y="190021"/>
                  </a:lnTo>
                  <a:lnTo>
                    <a:pt x="85018" y="190021"/>
                  </a:lnTo>
                  <a:lnTo>
                    <a:pt x="86475" y="191373"/>
                  </a:lnTo>
                  <a:lnTo>
                    <a:pt x="86996" y="191373"/>
                  </a:lnTo>
                  <a:lnTo>
                    <a:pt x="88556" y="192622"/>
                  </a:lnTo>
                  <a:lnTo>
                    <a:pt x="89181" y="193143"/>
                  </a:lnTo>
                  <a:lnTo>
                    <a:pt x="90846" y="194287"/>
                  </a:lnTo>
                  <a:lnTo>
                    <a:pt x="91470" y="194287"/>
                  </a:lnTo>
                  <a:lnTo>
                    <a:pt x="93239" y="195328"/>
                  </a:lnTo>
                  <a:lnTo>
                    <a:pt x="93968" y="195328"/>
                  </a:lnTo>
                  <a:lnTo>
                    <a:pt x="95841" y="196056"/>
                  </a:lnTo>
                  <a:lnTo>
                    <a:pt x="96569" y="196056"/>
                  </a:lnTo>
                  <a:lnTo>
                    <a:pt x="98546" y="196577"/>
                  </a:lnTo>
                  <a:lnTo>
                    <a:pt x="99275" y="196577"/>
                  </a:lnTo>
                  <a:lnTo>
                    <a:pt x="101356" y="196577"/>
                  </a:lnTo>
                  <a:lnTo>
                    <a:pt x="102084" y="196577"/>
                  </a:lnTo>
                  <a:lnTo>
                    <a:pt x="105623" y="196577"/>
                  </a:lnTo>
                  <a:lnTo>
                    <a:pt x="106247" y="196577"/>
                  </a:lnTo>
                  <a:lnTo>
                    <a:pt x="109993" y="196577"/>
                  </a:lnTo>
                  <a:lnTo>
                    <a:pt x="110826" y="196577"/>
                  </a:lnTo>
                  <a:lnTo>
                    <a:pt x="112803" y="196577"/>
                  </a:lnTo>
                  <a:lnTo>
                    <a:pt x="113635" y="196577"/>
                  </a:lnTo>
                  <a:lnTo>
                    <a:pt x="115508" y="195952"/>
                  </a:lnTo>
                  <a:lnTo>
                    <a:pt x="116237" y="195952"/>
                  </a:lnTo>
                  <a:lnTo>
                    <a:pt x="118110" y="195224"/>
                  </a:lnTo>
                  <a:lnTo>
                    <a:pt x="118110" y="195224"/>
                  </a:lnTo>
                  <a:lnTo>
                    <a:pt x="118110" y="195224"/>
                  </a:lnTo>
                  <a:lnTo>
                    <a:pt x="156613" y="233728"/>
                  </a:lnTo>
                  <a:cubicBezTo>
                    <a:pt x="156613" y="233728"/>
                    <a:pt x="157757" y="234456"/>
                    <a:pt x="158278" y="234872"/>
                  </a:cubicBezTo>
                  <a:cubicBezTo>
                    <a:pt x="158714" y="235174"/>
                    <a:pt x="159165" y="235455"/>
                    <a:pt x="159631" y="235705"/>
                  </a:cubicBezTo>
                  <a:cubicBezTo>
                    <a:pt x="160597" y="236069"/>
                    <a:pt x="161616" y="236277"/>
                    <a:pt x="162648" y="236329"/>
                  </a:cubicBezTo>
                  <a:lnTo>
                    <a:pt x="278885" y="236329"/>
                  </a:lnTo>
                  <a:lnTo>
                    <a:pt x="278885" y="294293"/>
                  </a:lnTo>
                  <a:lnTo>
                    <a:pt x="94800" y="294293"/>
                  </a:lnTo>
                  <a:lnTo>
                    <a:pt x="94800" y="292107"/>
                  </a:lnTo>
                  <a:cubicBezTo>
                    <a:pt x="94754" y="291837"/>
                    <a:pt x="94754" y="291545"/>
                    <a:pt x="94800" y="291275"/>
                  </a:cubicBezTo>
                  <a:lnTo>
                    <a:pt x="93551" y="287529"/>
                  </a:lnTo>
                  <a:cubicBezTo>
                    <a:pt x="93597" y="287289"/>
                    <a:pt x="93597" y="287039"/>
                    <a:pt x="93551" y="286800"/>
                  </a:cubicBezTo>
                  <a:lnTo>
                    <a:pt x="91991" y="283262"/>
                  </a:lnTo>
                  <a:lnTo>
                    <a:pt x="91991" y="282533"/>
                  </a:lnTo>
                  <a:lnTo>
                    <a:pt x="90117" y="279099"/>
                  </a:lnTo>
                  <a:lnTo>
                    <a:pt x="90117" y="278475"/>
                  </a:lnTo>
                  <a:lnTo>
                    <a:pt x="87932" y="275249"/>
                  </a:lnTo>
                  <a:lnTo>
                    <a:pt x="87932" y="274729"/>
                  </a:lnTo>
                  <a:lnTo>
                    <a:pt x="83249" y="273064"/>
                  </a:lnTo>
                  <a:lnTo>
                    <a:pt x="83249" y="273064"/>
                  </a:lnTo>
                  <a:lnTo>
                    <a:pt x="80544" y="270358"/>
                  </a:lnTo>
                  <a:lnTo>
                    <a:pt x="79919" y="270358"/>
                  </a:lnTo>
                  <a:lnTo>
                    <a:pt x="77006" y="267964"/>
                  </a:lnTo>
                  <a:lnTo>
                    <a:pt x="76381" y="267964"/>
                  </a:lnTo>
                  <a:lnTo>
                    <a:pt x="73155" y="265883"/>
                  </a:lnTo>
                  <a:lnTo>
                    <a:pt x="72531" y="265883"/>
                  </a:lnTo>
                  <a:lnTo>
                    <a:pt x="69097" y="264010"/>
                  </a:lnTo>
                  <a:lnTo>
                    <a:pt x="68473" y="264010"/>
                  </a:lnTo>
                  <a:lnTo>
                    <a:pt x="64830" y="262449"/>
                  </a:lnTo>
                  <a:lnTo>
                    <a:pt x="64102" y="262449"/>
                  </a:lnTo>
                  <a:lnTo>
                    <a:pt x="60356" y="261304"/>
                  </a:lnTo>
                  <a:lnTo>
                    <a:pt x="59627" y="261304"/>
                  </a:lnTo>
                  <a:lnTo>
                    <a:pt x="55673" y="260472"/>
                  </a:lnTo>
                  <a:lnTo>
                    <a:pt x="54632" y="260472"/>
                  </a:lnTo>
                  <a:lnTo>
                    <a:pt x="50054" y="260472"/>
                  </a:lnTo>
                  <a:lnTo>
                    <a:pt x="47556" y="260472"/>
                  </a:lnTo>
                  <a:lnTo>
                    <a:pt x="40896" y="260992"/>
                  </a:lnTo>
                  <a:lnTo>
                    <a:pt x="40168" y="260992"/>
                  </a:lnTo>
                  <a:lnTo>
                    <a:pt x="36213" y="261721"/>
                  </a:lnTo>
                  <a:lnTo>
                    <a:pt x="35485" y="261721"/>
                  </a:lnTo>
                  <a:lnTo>
                    <a:pt x="31635" y="262969"/>
                  </a:lnTo>
                  <a:lnTo>
                    <a:pt x="31010" y="262969"/>
                  </a:lnTo>
                  <a:lnTo>
                    <a:pt x="27368" y="264530"/>
                  </a:lnTo>
                  <a:lnTo>
                    <a:pt x="26744" y="264530"/>
                  </a:lnTo>
                  <a:lnTo>
                    <a:pt x="23310" y="266404"/>
                  </a:lnTo>
                  <a:lnTo>
                    <a:pt x="22685" y="266404"/>
                  </a:lnTo>
                  <a:lnTo>
                    <a:pt x="19460" y="268485"/>
                  </a:lnTo>
                  <a:lnTo>
                    <a:pt x="18835" y="269005"/>
                  </a:lnTo>
                  <a:lnTo>
                    <a:pt x="15921" y="271399"/>
                  </a:lnTo>
                  <a:lnTo>
                    <a:pt x="15297" y="271919"/>
                  </a:lnTo>
                  <a:lnTo>
                    <a:pt x="12591" y="274625"/>
                  </a:lnTo>
                  <a:lnTo>
                    <a:pt x="12591" y="275249"/>
                  </a:lnTo>
                  <a:lnTo>
                    <a:pt x="10094" y="278163"/>
                  </a:lnTo>
                  <a:lnTo>
                    <a:pt x="10094" y="278787"/>
                  </a:lnTo>
                  <a:lnTo>
                    <a:pt x="7909" y="282013"/>
                  </a:lnTo>
                  <a:lnTo>
                    <a:pt x="7909" y="282638"/>
                  </a:lnTo>
                  <a:lnTo>
                    <a:pt x="6140" y="286072"/>
                  </a:lnTo>
                  <a:lnTo>
                    <a:pt x="6140" y="286696"/>
                  </a:lnTo>
                  <a:lnTo>
                    <a:pt x="4683" y="290338"/>
                  </a:lnTo>
                  <a:lnTo>
                    <a:pt x="4683" y="291067"/>
                  </a:lnTo>
                  <a:lnTo>
                    <a:pt x="1561" y="292524"/>
                  </a:lnTo>
                  <a:cubicBezTo>
                    <a:pt x="1606" y="292763"/>
                    <a:pt x="1606" y="293013"/>
                    <a:pt x="1561" y="293252"/>
                  </a:cubicBezTo>
                  <a:lnTo>
                    <a:pt x="832" y="297206"/>
                  </a:lnTo>
                  <a:cubicBezTo>
                    <a:pt x="782" y="297446"/>
                    <a:pt x="782" y="297695"/>
                    <a:pt x="832" y="297935"/>
                  </a:cubicBezTo>
                  <a:lnTo>
                    <a:pt x="0" y="302930"/>
                  </a:lnTo>
                  <a:lnTo>
                    <a:pt x="0" y="305532"/>
                  </a:lnTo>
                  <a:lnTo>
                    <a:pt x="520" y="312192"/>
                  </a:lnTo>
                  <a:cubicBezTo>
                    <a:pt x="520" y="312192"/>
                    <a:pt x="520" y="312712"/>
                    <a:pt x="520" y="312920"/>
                  </a:cubicBezTo>
                  <a:lnTo>
                    <a:pt x="1353" y="316874"/>
                  </a:lnTo>
                  <a:cubicBezTo>
                    <a:pt x="1308" y="317114"/>
                    <a:pt x="1308" y="317364"/>
                    <a:pt x="1353" y="317603"/>
                  </a:cubicBezTo>
                  <a:lnTo>
                    <a:pt x="2497" y="321349"/>
                  </a:lnTo>
                  <a:lnTo>
                    <a:pt x="2497" y="322078"/>
                  </a:lnTo>
                  <a:lnTo>
                    <a:pt x="3954" y="325720"/>
                  </a:lnTo>
                  <a:lnTo>
                    <a:pt x="3954" y="326344"/>
                  </a:lnTo>
                  <a:lnTo>
                    <a:pt x="5723" y="329778"/>
                  </a:lnTo>
                  <a:lnTo>
                    <a:pt x="5723" y="330403"/>
                  </a:lnTo>
                  <a:lnTo>
                    <a:pt x="7909" y="333629"/>
                  </a:lnTo>
                  <a:lnTo>
                    <a:pt x="7909" y="334253"/>
                  </a:lnTo>
                  <a:lnTo>
                    <a:pt x="10406" y="337167"/>
                  </a:lnTo>
                  <a:cubicBezTo>
                    <a:pt x="10523" y="337386"/>
                    <a:pt x="10705" y="337573"/>
                    <a:pt x="10926" y="337687"/>
                  </a:cubicBezTo>
                  <a:lnTo>
                    <a:pt x="13632" y="340393"/>
                  </a:lnTo>
                  <a:lnTo>
                    <a:pt x="14152" y="340393"/>
                  </a:lnTo>
                  <a:lnTo>
                    <a:pt x="17170" y="342890"/>
                  </a:lnTo>
                  <a:lnTo>
                    <a:pt x="17170" y="342890"/>
                  </a:lnTo>
                  <a:lnTo>
                    <a:pt x="20396" y="345076"/>
                  </a:lnTo>
                  <a:lnTo>
                    <a:pt x="21020" y="345076"/>
                  </a:lnTo>
                  <a:lnTo>
                    <a:pt x="24454" y="346949"/>
                  </a:lnTo>
                  <a:lnTo>
                    <a:pt x="25183" y="346949"/>
                  </a:lnTo>
                  <a:lnTo>
                    <a:pt x="28721" y="348510"/>
                  </a:lnTo>
                  <a:lnTo>
                    <a:pt x="29449" y="348510"/>
                  </a:lnTo>
                  <a:lnTo>
                    <a:pt x="33196" y="349759"/>
                  </a:lnTo>
                  <a:lnTo>
                    <a:pt x="36422" y="349759"/>
                  </a:lnTo>
                  <a:lnTo>
                    <a:pt x="40272" y="350591"/>
                  </a:lnTo>
                  <a:lnTo>
                    <a:pt x="41625" y="350591"/>
                  </a:lnTo>
                  <a:lnTo>
                    <a:pt x="46203" y="350591"/>
                  </a:lnTo>
                  <a:lnTo>
                    <a:pt x="47868" y="350591"/>
                  </a:lnTo>
                  <a:lnTo>
                    <a:pt x="54840" y="350071"/>
                  </a:lnTo>
                  <a:lnTo>
                    <a:pt x="55673" y="350071"/>
                  </a:lnTo>
                  <a:lnTo>
                    <a:pt x="59523" y="349238"/>
                  </a:lnTo>
                  <a:lnTo>
                    <a:pt x="60356" y="349238"/>
                  </a:lnTo>
                  <a:lnTo>
                    <a:pt x="64102" y="348094"/>
                  </a:lnTo>
                  <a:lnTo>
                    <a:pt x="64830" y="348094"/>
                  </a:lnTo>
                  <a:lnTo>
                    <a:pt x="68369" y="346637"/>
                  </a:lnTo>
                  <a:lnTo>
                    <a:pt x="69097" y="346637"/>
                  </a:lnTo>
                  <a:lnTo>
                    <a:pt x="72427" y="344868"/>
                  </a:lnTo>
                  <a:lnTo>
                    <a:pt x="73155" y="344868"/>
                  </a:lnTo>
                  <a:lnTo>
                    <a:pt x="76277" y="342682"/>
                  </a:lnTo>
                  <a:lnTo>
                    <a:pt x="76902" y="342682"/>
                  </a:lnTo>
                  <a:lnTo>
                    <a:pt x="79919" y="340185"/>
                  </a:lnTo>
                  <a:lnTo>
                    <a:pt x="80440" y="340185"/>
                  </a:lnTo>
                  <a:lnTo>
                    <a:pt x="83145" y="337479"/>
                  </a:lnTo>
                  <a:lnTo>
                    <a:pt x="83145" y="337479"/>
                  </a:lnTo>
                  <a:lnTo>
                    <a:pt x="85539" y="334461"/>
                  </a:lnTo>
                  <a:lnTo>
                    <a:pt x="86059" y="333837"/>
                  </a:lnTo>
                  <a:lnTo>
                    <a:pt x="88140" y="330715"/>
                  </a:lnTo>
                  <a:cubicBezTo>
                    <a:pt x="88194" y="330476"/>
                    <a:pt x="88194" y="330226"/>
                    <a:pt x="88140" y="329987"/>
                  </a:cubicBezTo>
                  <a:lnTo>
                    <a:pt x="90013" y="326656"/>
                  </a:lnTo>
                  <a:lnTo>
                    <a:pt x="90013" y="325928"/>
                  </a:lnTo>
                  <a:lnTo>
                    <a:pt x="91470" y="322390"/>
                  </a:lnTo>
                  <a:lnTo>
                    <a:pt x="91470" y="321661"/>
                  </a:lnTo>
                  <a:lnTo>
                    <a:pt x="92615" y="317811"/>
                  </a:lnTo>
                  <a:cubicBezTo>
                    <a:pt x="92615" y="317811"/>
                    <a:pt x="92615" y="317811"/>
                    <a:pt x="92615" y="317083"/>
                  </a:cubicBezTo>
                  <a:lnTo>
                    <a:pt x="92615" y="315105"/>
                  </a:lnTo>
                  <a:lnTo>
                    <a:pt x="278885" y="315105"/>
                  </a:lnTo>
                  <a:lnTo>
                    <a:pt x="278885" y="372965"/>
                  </a:lnTo>
                  <a:lnTo>
                    <a:pt x="163169" y="372965"/>
                  </a:lnTo>
                  <a:lnTo>
                    <a:pt x="162128" y="372965"/>
                  </a:lnTo>
                  <a:cubicBezTo>
                    <a:pt x="161278" y="373038"/>
                    <a:pt x="160438" y="373215"/>
                    <a:pt x="159631" y="373485"/>
                  </a:cubicBezTo>
                  <a:cubicBezTo>
                    <a:pt x="159031" y="373756"/>
                    <a:pt x="158471" y="374110"/>
                    <a:pt x="157966" y="374526"/>
                  </a:cubicBezTo>
                  <a:cubicBezTo>
                    <a:pt x="157492" y="374765"/>
                    <a:pt x="157039" y="375046"/>
                    <a:pt x="156613" y="375358"/>
                  </a:cubicBezTo>
                  <a:lnTo>
                    <a:pt x="156092" y="375775"/>
                  </a:lnTo>
                  <a:lnTo>
                    <a:pt x="156092" y="375775"/>
                  </a:lnTo>
                  <a:lnTo>
                    <a:pt x="118006" y="413862"/>
                  </a:lnTo>
                  <a:lnTo>
                    <a:pt x="118006" y="413862"/>
                  </a:lnTo>
                  <a:lnTo>
                    <a:pt x="117486" y="413862"/>
                  </a:lnTo>
                  <a:lnTo>
                    <a:pt x="115612" y="413030"/>
                  </a:lnTo>
                  <a:lnTo>
                    <a:pt x="114884" y="413030"/>
                  </a:lnTo>
                  <a:lnTo>
                    <a:pt x="112907" y="412405"/>
                  </a:lnTo>
                  <a:lnTo>
                    <a:pt x="112178" y="412405"/>
                  </a:lnTo>
                  <a:lnTo>
                    <a:pt x="110201" y="412405"/>
                  </a:lnTo>
                  <a:lnTo>
                    <a:pt x="109369" y="412405"/>
                  </a:lnTo>
                  <a:lnTo>
                    <a:pt x="105206" y="412405"/>
                  </a:lnTo>
                  <a:lnTo>
                    <a:pt x="101460" y="412405"/>
                  </a:lnTo>
                  <a:lnTo>
                    <a:pt x="100628" y="412405"/>
                  </a:lnTo>
                  <a:lnTo>
                    <a:pt x="98650" y="412405"/>
                  </a:lnTo>
                  <a:lnTo>
                    <a:pt x="97922" y="412405"/>
                  </a:lnTo>
                  <a:lnTo>
                    <a:pt x="95945" y="413030"/>
                  </a:lnTo>
                  <a:lnTo>
                    <a:pt x="95216" y="413030"/>
                  </a:lnTo>
                  <a:lnTo>
                    <a:pt x="93343" y="413862"/>
                  </a:lnTo>
                  <a:lnTo>
                    <a:pt x="92615" y="413862"/>
                  </a:lnTo>
                  <a:lnTo>
                    <a:pt x="90846" y="414799"/>
                  </a:lnTo>
                  <a:lnTo>
                    <a:pt x="90221" y="414799"/>
                  </a:lnTo>
                  <a:lnTo>
                    <a:pt x="88556" y="415943"/>
                  </a:lnTo>
                  <a:lnTo>
                    <a:pt x="87932" y="415943"/>
                  </a:lnTo>
                  <a:lnTo>
                    <a:pt x="86475" y="417192"/>
                  </a:lnTo>
                  <a:lnTo>
                    <a:pt x="85851" y="417712"/>
                  </a:lnTo>
                  <a:lnTo>
                    <a:pt x="84498" y="419169"/>
                  </a:lnTo>
                  <a:lnTo>
                    <a:pt x="84498" y="419690"/>
                  </a:lnTo>
                  <a:lnTo>
                    <a:pt x="83249" y="421250"/>
                  </a:lnTo>
                  <a:cubicBezTo>
                    <a:pt x="83219" y="421459"/>
                    <a:pt x="83219" y="421667"/>
                    <a:pt x="83249" y="421875"/>
                  </a:cubicBezTo>
                  <a:lnTo>
                    <a:pt x="82105" y="423540"/>
                  </a:lnTo>
                  <a:cubicBezTo>
                    <a:pt x="82075" y="423748"/>
                    <a:pt x="82075" y="423956"/>
                    <a:pt x="82105" y="424164"/>
                  </a:cubicBezTo>
                  <a:lnTo>
                    <a:pt x="81168" y="425933"/>
                  </a:lnTo>
                  <a:lnTo>
                    <a:pt x="81168" y="426662"/>
                  </a:lnTo>
                  <a:lnTo>
                    <a:pt x="80336" y="428535"/>
                  </a:lnTo>
                  <a:cubicBezTo>
                    <a:pt x="80274" y="428774"/>
                    <a:pt x="80274" y="429024"/>
                    <a:pt x="80336" y="429263"/>
                  </a:cubicBezTo>
                  <a:lnTo>
                    <a:pt x="79711" y="431241"/>
                  </a:lnTo>
                  <a:cubicBezTo>
                    <a:pt x="79698" y="431480"/>
                    <a:pt x="79698" y="431730"/>
                    <a:pt x="79711" y="431969"/>
                  </a:cubicBezTo>
                  <a:lnTo>
                    <a:pt x="79711" y="433946"/>
                  </a:lnTo>
                  <a:cubicBezTo>
                    <a:pt x="79711" y="433946"/>
                    <a:pt x="79711" y="433946"/>
                    <a:pt x="79711" y="434779"/>
                  </a:cubicBezTo>
                  <a:lnTo>
                    <a:pt x="79711" y="438941"/>
                  </a:lnTo>
                  <a:lnTo>
                    <a:pt x="79711" y="442688"/>
                  </a:lnTo>
                  <a:cubicBezTo>
                    <a:pt x="79762" y="442958"/>
                    <a:pt x="79762" y="443250"/>
                    <a:pt x="79711" y="443520"/>
                  </a:cubicBezTo>
                  <a:lnTo>
                    <a:pt x="79711" y="445497"/>
                  </a:lnTo>
                  <a:cubicBezTo>
                    <a:pt x="79711" y="445497"/>
                    <a:pt x="79711" y="446018"/>
                    <a:pt x="79711" y="446226"/>
                  </a:cubicBezTo>
                  <a:lnTo>
                    <a:pt x="80336" y="448203"/>
                  </a:lnTo>
                  <a:lnTo>
                    <a:pt x="80336" y="448932"/>
                  </a:lnTo>
                  <a:lnTo>
                    <a:pt x="81168" y="450805"/>
                  </a:lnTo>
                  <a:lnTo>
                    <a:pt x="81168" y="451533"/>
                  </a:lnTo>
                  <a:lnTo>
                    <a:pt x="82105" y="453302"/>
                  </a:lnTo>
                  <a:lnTo>
                    <a:pt x="82105" y="453927"/>
                  </a:lnTo>
                  <a:lnTo>
                    <a:pt x="83249" y="455592"/>
                  </a:lnTo>
                  <a:lnTo>
                    <a:pt x="83249" y="456216"/>
                  </a:lnTo>
                  <a:lnTo>
                    <a:pt x="84498" y="457673"/>
                  </a:lnTo>
                  <a:lnTo>
                    <a:pt x="85018" y="458297"/>
                  </a:lnTo>
                  <a:lnTo>
                    <a:pt x="86475" y="459650"/>
                  </a:lnTo>
                  <a:lnTo>
                    <a:pt x="86996" y="459650"/>
                  </a:lnTo>
                  <a:lnTo>
                    <a:pt x="88556" y="460899"/>
                  </a:lnTo>
                  <a:lnTo>
                    <a:pt x="89181" y="460899"/>
                  </a:lnTo>
                  <a:lnTo>
                    <a:pt x="90846" y="462044"/>
                  </a:lnTo>
                  <a:lnTo>
                    <a:pt x="91470" y="462044"/>
                  </a:lnTo>
                  <a:lnTo>
                    <a:pt x="93239" y="462980"/>
                  </a:lnTo>
                  <a:lnTo>
                    <a:pt x="93968" y="462980"/>
                  </a:lnTo>
                  <a:lnTo>
                    <a:pt x="95841" y="463813"/>
                  </a:lnTo>
                  <a:lnTo>
                    <a:pt x="96569" y="463813"/>
                  </a:lnTo>
                  <a:lnTo>
                    <a:pt x="98546" y="464437"/>
                  </a:lnTo>
                  <a:lnTo>
                    <a:pt x="99275" y="464437"/>
                  </a:lnTo>
                  <a:lnTo>
                    <a:pt x="101356" y="464437"/>
                  </a:lnTo>
                  <a:lnTo>
                    <a:pt x="102084" y="464437"/>
                  </a:lnTo>
                  <a:lnTo>
                    <a:pt x="105623" y="464437"/>
                  </a:lnTo>
                  <a:lnTo>
                    <a:pt x="106455" y="464437"/>
                  </a:lnTo>
                  <a:lnTo>
                    <a:pt x="109993" y="464437"/>
                  </a:lnTo>
                  <a:lnTo>
                    <a:pt x="110826" y="464437"/>
                  </a:lnTo>
                  <a:lnTo>
                    <a:pt x="112803" y="464437"/>
                  </a:lnTo>
                  <a:lnTo>
                    <a:pt x="113531" y="464437"/>
                  </a:lnTo>
                  <a:lnTo>
                    <a:pt x="115508" y="463813"/>
                  </a:lnTo>
                  <a:lnTo>
                    <a:pt x="116237" y="463813"/>
                  </a:lnTo>
                  <a:lnTo>
                    <a:pt x="118110" y="462980"/>
                  </a:lnTo>
                  <a:lnTo>
                    <a:pt x="118838" y="462980"/>
                  </a:lnTo>
                  <a:lnTo>
                    <a:pt x="120607" y="462044"/>
                  </a:lnTo>
                  <a:lnTo>
                    <a:pt x="121232" y="462044"/>
                  </a:lnTo>
                  <a:lnTo>
                    <a:pt x="122897" y="460899"/>
                  </a:lnTo>
                  <a:lnTo>
                    <a:pt x="123521" y="460899"/>
                  </a:lnTo>
                  <a:lnTo>
                    <a:pt x="124978" y="459650"/>
                  </a:lnTo>
                  <a:lnTo>
                    <a:pt x="125602" y="459130"/>
                  </a:lnTo>
                  <a:lnTo>
                    <a:pt x="126955" y="457673"/>
                  </a:lnTo>
                  <a:cubicBezTo>
                    <a:pt x="126955" y="457673"/>
                    <a:pt x="126955" y="457673"/>
                    <a:pt x="127476" y="457153"/>
                  </a:cubicBezTo>
                  <a:lnTo>
                    <a:pt x="128724" y="455592"/>
                  </a:lnTo>
                  <a:lnTo>
                    <a:pt x="129245" y="454967"/>
                  </a:lnTo>
                  <a:lnTo>
                    <a:pt x="130285" y="453302"/>
                  </a:lnTo>
                  <a:lnTo>
                    <a:pt x="130285" y="452678"/>
                  </a:lnTo>
                  <a:lnTo>
                    <a:pt x="131222" y="450909"/>
                  </a:lnTo>
                  <a:lnTo>
                    <a:pt x="131222" y="450180"/>
                  </a:lnTo>
                  <a:lnTo>
                    <a:pt x="132054" y="448307"/>
                  </a:lnTo>
                  <a:cubicBezTo>
                    <a:pt x="132116" y="448068"/>
                    <a:pt x="132116" y="447818"/>
                    <a:pt x="132054" y="447579"/>
                  </a:cubicBezTo>
                  <a:lnTo>
                    <a:pt x="132679" y="445602"/>
                  </a:lnTo>
                  <a:cubicBezTo>
                    <a:pt x="132723" y="445362"/>
                    <a:pt x="132723" y="445112"/>
                    <a:pt x="132679" y="444873"/>
                  </a:cubicBezTo>
                  <a:lnTo>
                    <a:pt x="132679" y="442896"/>
                  </a:lnTo>
                  <a:cubicBezTo>
                    <a:pt x="132679" y="442896"/>
                    <a:pt x="132679" y="442375"/>
                    <a:pt x="132679" y="442063"/>
                  </a:cubicBezTo>
                  <a:lnTo>
                    <a:pt x="132679" y="437901"/>
                  </a:lnTo>
                  <a:lnTo>
                    <a:pt x="132679" y="434154"/>
                  </a:lnTo>
                  <a:cubicBezTo>
                    <a:pt x="132628" y="433884"/>
                    <a:pt x="132628" y="433593"/>
                    <a:pt x="132679" y="433322"/>
                  </a:cubicBezTo>
                  <a:lnTo>
                    <a:pt x="132679" y="431345"/>
                  </a:lnTo>
                  <a:cubicBezTo>
                    <a:pt x="132644" y="431105"/>
                    <a:pt x="132644" y="430856"/>
                    <a:pt x="132679" y="430616"/>
                  </a:cubicBezTo>
                  <a:lnTo>
                    <a:pt x="132054" y="428535"/>
                  </a:lnTo>
                  <a:lnTo>
                    <a:pt x="132054" y="427911"/>
                  </a:lnTo>
                  <a:lnTo>
                    <a:pt x="131326" y="426038"/>
                  </a:lnTo>
                  <a:lnTo>
                    <a:pt x="131326" y="426038"/>
                  </a:lnTo>
                  <a:lnTo>
                    <a:pt x="131326" y="426038"/>
                  </a:lnTo>
                  <a:lnTo>
                    <a:pt x="167019" y="390344"/>
                  </a:lnTo>
                  <a:lnTo>
                    <a:pt x="278885" y="390344"/>
                  </a:lnTo>
                  <a:lnTo>
                    <a:pt x="278885" y="448307"/>
                  </a:lnTo>
                  <a:lnTo>
                    <a:pt x="239966" y="448307"/>
                  </a:lnTo>
                  <a:cubicBezTo>
                    <a:pt x="238714" y="448286"/>
                    <a:pt x="237472" y="448536"/>
                    <a:pt x="236324" y="449036"/>
                  </a:cubicBezTo>
                  <a:cubicBezTo>
                    <a:pt x="235661" y="449389"/>
                    <a:pt x="235034" y="449806"/>
                    <a:pt x="234451" y="450284"/>
                  </a:cubicBezTo>
                  <a:cubicBezTo>
                    <a:pt x="234054" y="450503"/>
                    <a:pt x="233673" y="450742"/>
                    <a:pt x="233306" y="451013"/>
                  </a:cubicBezTo>
                  <a:lnTo>
                    <a:pt x="194907" y="490245"/>
                  </a:lnTo>
                  <a:lnTo>
                    <a:pt x="194907" y="490245"/>
                  </a:lnTo>
                  <a:lnTo>
                    <a:pt x="194907" y="490245"/>
                  </a:lnTo>
                  <a:lnTo>
                    <a:pt x="193034" y="489516"/>
                  </a:lnTo>
                  <a:lnTo>
                    <a:pt x="192306" y="489516"/>
                  </a:lnTo>
                  <a:lnTo>
                    <a:pt x="190329" y="488892"/>
                  </a:lnTo>
                  <a:lnTo>
                    <a:pt x="189600" y="488892"/>
                  </a:lnTo>
                  <a:lnTo>
                    <a:pt x="187519" y="488892"/>
                  </a:lnTo>
                  <a:lnTo>
                    <a:pt x="186687" y="488892"/>
                  </a:lnTo>
                  <a:lnTo>
                    <a:pt x="182524" y="488892"/>
                  </a:lnTo>
                  <a:lnTo>
                    <a:pt x="178882" y="488892"/>
                  </a:lnTo>
                  <a:lnTo>
                    <a:pt x="178050" y="488892"/>
                  </a:lnTo>
                  <a:lnTo>
                    <a:pt x="175968" y="488892"/>
                  </a:lnTo>
                  <a:lnTo>
                    <a:pt x="175240" y="488892"/>
                  </a:lnTo>
                  <a:lnTo>
                    <a:pt x="173263" y="489516"/>
                  </a:lnTo>
                  <a:lnTo>
                    <a:pt x="172534" y="489516"/>
                  </a:lnTo>
                  <a:lnTo>
                    <a:pt x="170661" y="490349"/>
                  </a:lnTo>
                  <a:lnTo>
                    <a:pt x="170037" y="490349"/>
                  </a:lnTo>
                  <a:lnTo>
                    <a:pt x="168268" y="491390"/>
                  </a:lnTo>
                  <a:lnTo>
                    <a:pt x="167643" y="491390"/>
                  </a:lnTo>
                  <a:lnTo>
                    <a:pt x="165978" y="492534"/>
                  </a:lnTo>
                  <a:lnTo>
                    <a:pt x="165354" y="493055"/>
                  </a:lnTo>
                  <a:lnTo>
                    <a:pt x="163793" y="494303"/>
                  </a:lnTo>
                  <a:lnTo>
                    <a:pt x="163793" y="494303"/>
                  </a:lnTo>
                  <a:lnTo>
                    <a:pt x="162336" y="495656"/>
                  </a:lnTo>
                  <a:lnTo>
                    <a:pt x="162336" y="496281"/>
                  </a:lnTo>
                  <a:lnTo>
                    <a:pt x="160983" y="497842"/>
                  </a:lnTo>
                  <a:lnTo>
                    <a:pt x="160983" y="498362"/>
                  </a:lnTo>
                  <a:lnTo>
                    <a:pt x="159839" y="500027"/>
                  </a:lnTo>
                  <a:lnTo>
                    <a:pt x="159839" y="500755"/>
                  </a:lnTo>
                  <a:lnTo>
                    <a:pt x="158798" y="502524"/>
                  </a:lnTo>
                  <a:lnTo>
                    <a:pt x="158798" y="503149"/>
                  </a:lnTo>
                  <a:lnTo>
                    <a:pt x="158070" y="505022"/>
                  </a:lnTo>
                  <a:lnTo>
                    <a:pt x="158070" y="505750"/>
                  </a:lnTo>
                  <a:lnTo>
                    <a:pt x="157445" y="507728"/>
                  </a:lnTo>
                  <a:cubicBezTo>
                    <a:pt x="157490" y="507967"/>
                    <a:pt x="157490" y="508217"/>
                    <a:pt x="157445" y="508456"/>
                  </a:cubicBezTo>
                  <a:lnTo>
                    <a:pt x="157445" y="510537"/>
                  </a:lnTo>
                  <a:cubicBezTo>
                    <a:pt x="157394" y="510777"/>
                    <a:pt x="157394" y="511026"/>
                    <a:pt x="157445" y="511266"/>
                  </a:cubicBezTo>
                  <a:lnTo>
                    <a:pt x="157445" y="513971"/>
                  </a:lnTo>
                  <a:lnTo>
                    <a:pt x="157445" y="515532"/>
                  </a:lnTo>
                  <a:lnTo>
                    <a:pt x="157445" y="519279"/>
                  </a:lnTo>
                  <a:cubicBezTo>
                    <a:pt x="157394" y="519518"/>
                    <a:pt x="157394" y="519768"/>
                    <a:pt x="157445" y="520007"/>
                  </a:cubicBezTo>
                  <a:lnTo>
                    <a:pt x="157445" y="521984"/>
                  </a:lnTo>
                  <a:cubicBezTo>
                    <a:pt x="157386" y="522255"/>
                    <a:pt x="157386" y="522546"/>
                    <a:pt x="157445" y="522817"/>
                  </a:cubicBezTo>
                  <a:lnTo>
                    <a:pt x="158070" y="524794"/>
                  </a:lnTo>
                  <a:cubicBezTo>
                    <a:pt x="158083" y="525033"/>
                    <a:pt x="158083" y="525283"/>
                    <a:pt x="158070" y="525523"/>
                  </a:cubicBezTo>
                  <a:lnTo>
                    <a:pt x="158902" y="527396"/>
                  </a:lnTo>
                  <a:lnTo>
                    <a:pt x="158902" y="528020"/>
                  </a:lnTo>
                  <a:lnTo>
                    <a:pt x="159943" y="529789"/>
                  </a:lnTo>
                  <a:lnTo>
                    <a:pt x="159943" y="530414"/>
                  </a:lnTo>
                  <a:lnTo>
                    <a:pt x="161087" y="532079"/>
                  </a:lnTo>
                  <a:lnTo>
                    <a:pt x="161087" y="532703"/>
                  </a:lnTo>
                  <a:lnTo>
                    <a:pt x="162336" y="534264"/>
                  </a:lnTo>
                  <a:cubicBezTo>
                    <a:pt x="162336" y="534264"/>
                    <a:pt x="162336" y="534264"/>
                    <a:pt x="162336" y="534784"/>
                  </a:cubicBezTo>
                  <a:lnTo>
                    <a:pt x="163689" y="536241"/>
                  </a:lnTo>
                  <a:lnTo>
                    <a:pt x="164313" y="536761"/>
                  </a:lnTo>
                  <a:lnTo>
                    <a:pt x="165770" y="538010"/>
                  </a:lnTo>
                  <a:lnTo>
                    <a:pt x="166395" y="538010"/>
                  </a:lnTo>
                  <a:lnTo>
                    <a:pt x="168060" y="539155"/>
                  </a:lnTo>
                  <a:lnTo>
                    <a:pt x="168788" y="539155"/>
                  </a:lnTo>
                  <a:lnTo>
                    <a:pt x="170557" y="540091"/>
                  </a:lnTo>
                  <a:lnTo>
                    <a:pt x="171181" y="540091"/>
                  </a:lnTo>
                  <a:lnTo>
                    <a:pt x="173055" y="540820"/>
                  </a:lnTo>
                  <a:lnTo>
                    <a:pt x="173783" y="540820"/>
                  </a:lnTo>
                  <a:lnTo>
                    <a:pt x="175760" y="541444"/>
                  </a:lnTo>
                  <a:lnTo>
                    <a:pt x="176489" y="541444"/>
                  </a:lnTo>
                  <a:lnTo>
                    <a:pt x="178570" y="541444"/>
                  </a:lnTo>
                  <a:lnTo>
                    <a:pt x="179402" y="541444"/>
                  </a:lnTo>
                  <a:lnTo>
                    <a:pt x="182940" y="541444"/>
                  </a:lnTo>
                  <a:lnTo>
                    <a:pt x="182940" y="541444"/>
                  </a:lnTo>
                  <a:lnTo>
                    <a:pt x="186999" y="541444"/>
                  </a:lnTo>
                  <a:lnTo>
                    <a:pt x="187311" y="541444"/>
                  </a:lnTo>
                  <a:lnTo>
                    <a:pt x="189392" y="541444"/>
                  </a:lnTo>
                  <a:lnTo>
                    <a:pt x="190121" y="541444"/>
                  </a:lnTo>
                  <a:lnTo>
                    <a:pt x="192098" y="540820"/>
                  </a:lnTo>
                  <a:lnTo>
                    <a:pt x="192826" y="540820"/>
                  </a:lnTo>
                  <a:lnTo>
                    <a:pt x="194595" y="539987"/>
                  </a:lnTo>
                  <a:lnTo>
                    <a:pt x="195324" y="539987"/>
                  </a:lnTo>
                  <a:lnTo>
                    <a:pt x="197093" y="539051"/>
                  </a:lnTo>
                  <a:lnTo>
                    <a:pt x="197717" y="539051"/>
                  </a:lnTo>
                  <a:lnTo>
                    <a:pt x="199382" y="537906"/>
                  </a:lnTo>
                  <a:lnTo>
                    <a:pt x="200006" y="537386"/>
                  </a:lnTo>
                  <a:lnTo>
                    <a:pt x="201567" y="536137"/>
                  </a:lnTo>
                  <a:lnTo>
                    <a:pt x="202088" y="536137"/>
                  </a:lnTo>
                  <a:lnTo>
                    <a:pt x="203545" y="534784"/>
                  </a:lnTo>
                  <a:lnTo>
                    <a:pt x="203545" y="534160"/>
                  </a:lnTo>
                  <a:lnTo>
                    <a:pt x="204897" y="532599"/>
                  </a:lnTo>
                  <a:lnTo>
                    <a:pt x="204897" y="532079"/>
                  </a:lnTo>
                  <a:lnTo>
                    <a:pt x="206042" y="530414"/>
                  </a:lnTo>
                  <a:lnTo>
                    <a:pt x="206042" y="529685"/>
                  </a:lnTo>
                  <a:lnTo>
                    <a:pt x="207083" y="527916"/>
                  </a:lnTo>
                  <a:lnTo>
                    <a:pt x="207083" y="527292"/>
                  </a:lnTo>
                  <a:lnTo>
                    <a:pt x="207811" y="525419"/>
                  </a:lnTo>
                  <a:lnTo>
                    <a:pt x="207811" y="524690"/>
                  </a:lnTo>
                  <a:lnTo>
                    <a:pt x="208436" y="522713"/>
                  </a:lnTo>
                  <a:cubicBezTo>
                    <a:pt x="208374" y="522473"/>
                    <a:pt x="208374" y="522224"/>
                    <a:pt x="208436" y="521984"/>
                  </a:cubicBezTo>
                  <a:lnTo>
                    <a:pt x="208436" y="519903"/>
                  </a:lnTo>
                  <a:cubicBezTo>
                    <a:pt x="208436" y="519903"/>
                    <a:pt x="208436" y="519383"/>
                    <a:pt x="208436" y="519175"/>
                  </a:cubicBezTo>
                  <a:lnTo>
                    <a:pt x="208436" y="516469"/>
                  </a:lnTo>
                  <a:lnTo>
                    <a:pt x="208436" y="514908"/>
                  </a:lnTo>
                  <a:lnTo>
                    <a:pt x="208436" y="511162"/>
                  </a:lnTo>
                  <a:cubicBezTo>
                    <a:pt x="208486" y="510922"/>
                    <a:pt x="208486" y="510673"/>
                    <a:pt x="208436" y="510433"/>
                  </a:cubicBezTo>
                  <a:lnTo>
                    <a:pt x="208436" y="508352"/>
                  </a:lnTo>
                  <a:cubicBezTo>
                    <a:pt x="208436" y="508352"/>
                    <a:pt x="208436" y="508352"/>
                    <a:pt x="208436" y="507624"/>
                  </a:cubicBezTo>
                  <a:lnTo>
                    <a:pt x="207811" y="505646"/>
                  </a:lnTo>
                  <a:cubicBezTo>
                    <a:pt x="207845" y="505407"/>
                    <a:pt x="207845" y="505157"/>
                    <a:pt x="207811" y="504918"/>
                  </a:cubicBezTo>
                  <a:lnTo>
                    <a:pt x="206979" y="503045"/>
                  </a:lnTo>
                  <a:lnTo>
                    <a:pt x="206979" y="503045"/>
                  </a:lnTo>
                  <a:lnTo>
                    <a:pt x="206979" y="503045"/>
                  </a:lnTo>
                  <a:lnTo>
                    <a:pt x="242568" y="467455"/>
                  </a:lnTo>
                  <a:lnTo>
                    <a:pt x="278885" y="467455"/>
                  </a:lnTo>
                  <a:lnTo>
                    <a:pt x="278885" y="559759"/>
                  </a:lnTo>
                  <a:lnTo>
                    <a:pt x="279406" y="566420"/>
                  </a:lnTo>
                  <a:lnTo>
                    <a:pt x="280342" y="571311"/>
                  </a:lnTo>
                  <a:lnTo>
                    <a:pt x="281799" y="576098"/>
                  </a:lnTo>
                  <a:lnTo>
                    <a:pt x="283672" y="580676"/>
                  </a:lnTo>
                  <a:lnTo>
                    <a:pt x="285961" y="584943"/>
                  </a:lnTo>
                  <a:lnTo>
                    <a:pt x="291581" y="592644"/>
                  </a:lnTo>
                  <a:lnTo>
                    <a:pt x="295015" y="596078"/>
                  </a:lnTo>
                  <a:lnTo>
                    <a:pt x="298657" y="599200"/>
                  </a:lnTo>
                  <a:lnTo>
                    <a:pt x="306878" y="604299"/>
                  </a:lnTo>
                  <a:close/>
                  <a:moveTo>
                    <a:pt x="734779" y="515116"/>
                  </a:moveTo>
                  <a:lnTo>
                    <a:pt x="735716" y="512202"/>
                  </a:lnTo>
                  <a:lnTo>
                    <a:pt x="737277" y="509913"/>
                  </a:lnTo>
                  <a:lnTo>
                    <a:pt x="739358" y="508144"/>
                  </a:lnTo>
                  <a:lnTo>
                    <a:pt x="741960" y="506999"/>
                  </a:lnTo>
                  <a:lnTo>
                    <a:pt x="744769" y="506999"/>
                  </a:lnTo>
                  <a:lnTo>
                    <a:pt x="745706" y="506999"/>
                  </a:lnTo>
                  <a:lnTo>
                    <a:pt x="748620" y="507832"/>
                  </a:lnTo>
                  <a:lnTo>
                    <a:pt x="751013" y="509393"/>
                  </a:lnTo>
                  <a:lnTo>
                    <a:pt x="752782" y="511578"/>
                  </a:lnTo>
                  <a:lnTo>
                    <a:pt x="753927" y="514180"/>
                  </a:lnTo>
                  <a:lnTo>
                    <a:pt x="753927" y="516781"/>
                  </a:lnTo>
                  <a:lnTo>
                    <a:pt x="753927" y="517926"/>
                  </a:lnTo>
                  <a:lnTo>
                    <a:pt x="753094" y="520840"/>
                  </a:lnTo>
                  <a:lnTo>
                    <a:pt x="751533" y="523129"/>
                  </a:lnTo>
                  <a:lnTo>
                    <a:pt x="749348" y="524898"/>
                  </a:lnTo>
                  <a:lnTo>
                    <a:pt x="746746" y="526043"/>
                  </a:lnTo>
                  <a:lnTo>
                    <a:pt x="744145" y="526043"/>
                  </a:lnTo>
                  <a:lnTo>
                    <a:pt x="742896" y="526043"/>
                  </a:lnTo>
                  <a:lnTo>
                    <a:pt x="740087" y="525210"/>
                  </a:lnTo>
                  <a:lnTo>
                    <a:pt x="737797" y="523649"/>
                  </a:lnTo>
                  <a:lnTo>
                    <a:pt x="736028" y="521464"/>
                  </a:lnTo>
                  <a:lnTo>
                    <a:pt x="734883" y="518862"/>
                  </a:lnTo>
                  <a:lnTo>
                    <a:pt x="734883" y="516261"/>
                  </a:lnTo>
                  <a:close/>
                  <a:moveTo>
                    <a:pt x="811681" y="438213"/>
                  </a:moveTo>
                  <a:lnTo>
                    <a:pt x="812513" y="435299"/>
                  </a:lnTo>
                  <a:lnTo>
                    <a:pt x="814074" y="432906"/>
                  </a:lnTo>
                  <a:lnTo>
                    <a:pt x="816260" y="431137"/>
                  </a:lnTo>
                  <a:lnTo>
                    <a:pt x="818861" y="430096"/>
                  </a:lnTo>
                  <a:lnTo>
                    <a:pt x="821463" y="430096"/>
                  </a:lnTo>
                  <a:lnTo>
                    <a:pt x="822607" y="430096"/>
                  </a:lnTo>
                  <a:lnTo>
                    <a:pt x="825521" y="431033"/>
                  </a:lnTo>
                  <a:lnTo>
                    <a:pt x="827811" y="432594"/>
                  </a:lnTo>
                  <a:lnTo>
                    <a:pt x="829580" y="434675"/>
                  </a:lnTo>
                  <a:lnTo>
                    <a:pt x="830724" y="437276"/>
                  </a:lnTo>
                  <a:lnTo>
                    <a:pt x="830724" y="439982"/>
                  </a:lnTo>
                  <a:lnTo>
                    <a:pt x="830724" y="441023"/>
                  </a:lnTo>
                  <a:lnTo>
                    <a:pt x="829788" y="443936"/>
                  </a:lnTo>
                  <a:lnTo>
                    <a:pt x="828227" y="446330"/>
                  </a:lnTo>
                  <a:lnTo>
                    <a:pt x="826145" y="448099"/>
                  </a:lnTo>
                  <a:lnTo>
                    <a:pt x="823440" y="449140"/>
                  </a:lnTo>
                  <a:lnTo>
                    <a:pt x="820838" y="449140"/>
                  </a:lnTo>
                  <a:lnTo>
                    <a:pt x="819590" y="449140"/>
                  </a:lnTo>
                  <a:lnTo>
                    <a:pt x="816884" y="448203"/>
                  </a:lnTo>
                  <a:lnTo>
                    <a:pt x="814491" y="446642"/>
                  </a:lnTo>
                  <a:lnTo>
                    <a:pt x="812722" y="444561"/>
                  </a:lnTo>
                  <a:lnTo>
                    <a:pt x="811577" y="441959"/>
                  </a:lnTo>
                  <a:lnTo>
                    <a:pt x="811577" y="439254"/>
                  </a:lnTo>
                  <a:close/>
                  <a:moveTo>
                    <a:pt x="850288" y="300641"/>
                  </a:moveTo>
                  <a:lnTo>
                    <a:pt x="850912" y="297831"/>
                  </a:lnTo>
                  <a:lnTo>
                    <a:pt x="851745" y="295125"/>
                  </a:lnTo>
                  <a:lnTo>
                    <a:pt x="853306" y="292524"/>
                  </a:lnTo>
                  <a:lnTo>
                    <a:pt x="854658" y="290026"/>
                  </a:lnTo>
                  <a:lnTo>
                    <a:pt x="856219" y="287737"/>
                  </a:lnTo>
                  <a:lnTo>
                    <a:pt x="857988" y="285551"/>
                  </a:lnTo>
                  <a:lnTo>
                    <a:pt x="859966" y="283574"/>
                  </a:lnTo>
                  <a:lnTo>
                    <a:pt x="862047" y="281805"/>
                  </a:lnTo>
                  <a:lnTo>
                    <a:pt x="864336" y="280244"/>
                  </a:lnTo>
                  <a:lnTo>
                    <a:pt x="866834" y="278891"/>
                  </a:lnTo>
                  <a:lnTo>
                    <a:pt x="869435" y="277851"/>
                  </a:lnTo>
                  <a:lnTo>
                    <a:pt x="872141" y="276914"/>
                  </a:lnTo>
                  <a:lnTo>
                    <a:pt x="874950" y="276914"/>
                  </a:lnTo>
                  <a:lnTo>
                    <a:pt x="879529" y="276914"/>
                  </a:lnTo>
                  <a:lnTo>
                    <a:pt x="883796" y="276914"/>
                  </a:lnTo>
                  <a:lnTo>
                    <a:pt x="886605" y="277538"/>
                  </a:lnTo>
                  <a:lnTo>
                    <a:pt x="889311" y="278371"/>
                  </a:lnTo>
                  <a:lnTo>
                    <a:pt x="891912" y="279412"/>
                  </a:lnTo>
                  <a:lnTo>
                    <a:pt x="894410" y="280764"/>
                  </a:lnTo>
                  <a:lnTo>
                    <a:pt x="896699" y="282325"/>
                  </a:lnTo>
                  <a:lnTo>
                    <a:pt x="898885" y="284094"/>
                  </a:lnTo>
                  <a:lnTo>
                    <a:pt x="900862" y="286072"/>
                  </a:lnTo>
                  <a:lnTo>
                    <a:pt x="902631" y="288153"/>
                  </a:lnTo>
                  <a:lnTo>
                    <a:pt x="904192" y="290442"/>
                  </a:lnTo>
                  <a:lnTo>
                    <a:pt x="905336" y="292524"/>
                  </a:lnTo>
                  <a:lnTo>
                    <a:pt x="906481" y="295125"/>
                  </a:lnTo>
                  <a:lnTo>
                    <a:pt x="907314" y="297831"/>
                  </a:lnTo>
                  <a:lnTo>
                    <a:pt x="907314" y="300641"/>
                  </a:lnTo>
                  <a:lnTo>
                    <a:pt x="907314" y="305219"/>
                  </a:lnTo>
                  <a:lnTo>
                    <a:pt x="907314" y="309486"/>
                  </a:lnTo>
                  <a:lnTo>
                    <a:pt x="906689" y="312296"/>
                  </a:lnTo>
                  <a:lnTo>
                    <a:pt x="905857" y="315001"/>
                  </a:lnTo>
                  <a:lnTo>
                    <a:pt x="904816" y="317603"/>
                  </a:lnTo>
                  <a:lnTo>
                    <a:pt x="903463" y="320100"/>
                  </a:lnTo>
                  <a:lnTo>
                    <a:pt x="901902" y="322390"/>
                  </a:lnTo>
                  <a:lnTo>
                    <a:pt x="900133" y="324575"/>
                  </a:lnTo>
                  <a:lnTo>
                    <a:pt x="898260" y="326552"/>
                  </a:lnTo>
                  <a:lnTo>
                    <a:pt x="896075" y="328322"/>
                  </a:lnTo>
                  <a:lnTo>
                    <a:pt x="893786" y="329882"/>
                  </a:lnTo>
                  <a:lnTo>
                    <a:pt x="891288" y="331235"/>
                  </a:lnTo>
                  <a:lnTo>
                    <a:pt x="888687" y="332380"/>
                  </a:lnTo>
                  <a:lnTo>
                    <a:pt x="885981" y="333213"/>
                  </a:lnTo>
                  <a:lnTo>
                    <a:pt x="883171" y="333213"/>
                  </a:lnTo>
                  <a:lnTo>
                    <a:pt x="878697" y="333213"/>
                  </a:lnTo>
                  <a:lnTo>
                    <a:pt x="874326" y="333213"/>
                  </a:lnTo>
                  <a:lnTo>
                    <a:pt x="871516" y="332588"/>
                  </a:lnTo>
                  <a:lnTo>
                    <a:pt x="868811" y="331756"/>
                  </a:lnTo>
                  <a:lnTo>
                    <a:pt x="866209" y="330715"/>
                  </a:lnTo>
                  <a:lnTo>
                    <a:pt x="863712" y="329362"/>
                  </a:lnTo>
                  <a:lnTo>
                    <a:pt x="861422" y="327801"/>
                  </a:lnTo>
                  <a:lnTo>
                    <a:pt x="859237" y="326032"/>
                  </a:lnTo>
                  <a:lnTo>
                    <a:pt x="857260" y="324159"/>
                  </a:lnTo>
                  <a:lnTo>
                    <a:pt x="855491" y="321974"/>
                  </a:lnTo>
                  <a:lnTo>
                    <a:pt x="853930" y="319684"/>
                  </a:lnTo>
                  <a:lnTo>
                    <a:pt x="852577" y="317187"/>
                  </a:lnTo>
                  <a:lnTo>
                    <a:pt x="851537" y="314585"/>
                  </a:lnTo>
                  <a:lnTo>
                    <a:pt x="850600" y="311879"/>
                  </a:lnTo>
                  <a:lnTo>
                    <a:pt x="850600" y="309070"/>
                  </a:lnTo>
                  <a:lnTo>
                    <a:pt x="850600" y="304595"/>
                  </a:lnTo>
                  <a:close/>
                  <a:moveTo>
                    <a:pt x="811681" y="169312"/>
                  </a:moveTo>
                  <a:lnTo>
                    <a:pt x="812513" y="166398"/>
                  </a:lnTo>
                  <a:lnTo>
                    <a:pt x="814074" y="164109"/>
                  </a:lnTo>
                  <a:lnTo>
                    <a:pt x="816260" y="162340"/>
                  </a:lnTo>
                  <a:lnTo>
                    <a:pt x="818861" y="161195"/>
                  </a:lnTo>
                  <a:lnTo>
                    <a:pt x="821671" y="161195"/>
                  </a:lnTo>
                  <a:lnTo>
                    <a:pt x="822607" y="161195"/>
                  </a:lnTo>
                  <a:lnTo>
                    <a:pt x="825521" y="162132"/>
                  </a:lnTo>
                  <a:lnTo>
                    <a:pt x="827811" y="163692"/>
                  </a:lnTo>
                  <a:lnTo>
                    <a:pt x="829580" y="165878"/>
                  </a:lnTo>
                  <a:lnTo>
                    <a:pt x="830724" y="168375"/>
                  </a:lnTo>
                  <a:lnTo>
                    <a:pt x="830724" y="171081"/>
                  </a:lnTo>
                  <a:lnTo>
                    <a:pt x="830724" y="172122"/>
                  </a:lnTo>
                  <a:lnTo>
                    <a:pt x="829788" y="175036"/>
                  </a:lnTo>
                  <a:lnTo>
                    <a:pt x="828227" y="177429"/>
                  </a:lnTo>
                  <a:lnTo>
                    <a:pt x="826041" y="179198"/>
                  </a:lnTo>
                  <a:lnTo>
                    <a:pt x="823440" y="180343"/>
                  </a:lnTo>
                  <a:lnTo>
                    <a:pt x="820838" y="180343"/>
                  </a:lnTo>
                  <a:lnTo>
                    <a:pt x="819590" y="180343"/>
                  </a:lnTo>
                  <a:lnTo>
                    <a:pt x="816884" y="179510"/>
                  </a:lnTo>
                  <a:lnTo>
                    <a:pt x="814803" y="178053"/>
                  </a:lnTo>
                  <a:lnTo>
                    <a:pt x="813034" y="175868"/>
                  </a:lnTo>
                  <a:lnTo>
                    <a:pt x="811889" y="173266"/>
                  </a:lnTo>
                  <a:lnTo>
                    <a:pt x="811889" y="170665"/>
                  </a:lnTo>
                  <a:close/>
                  <a:moveTo>
                    <a:pt x="734779" y="92513"/>
                  </a:moveTo>
                  <a:lnTo>
                    <a:pt x="735716" y="89599"/>
                  </a:lnTo>
                  <a:lnTo>
                    <a:pt x="737277" y="87206"/>
                  </a:lnTo>
                  <a:lnTo>
                    <a:pt x="739358" y="85437"/>
                  </a:lnTo>
                  <a:lnTo>
                    <a:pt x="741960" y="84292"/>
                  </a:lnTo>
                  <a:lnTo>
                    <a:pt x="744769" y="84292"/>
                  </a:lnTo>
                  <a:lnTo>
                    <a:pt x="745706" y="84292"/>
                  </a:lnTo>
                  <a:lnTo>
                    <a:pt x="748620" y="85124"/>
                  </a:lnTo>
                  <a:lnTo>
                    <a:pt x="751013" y="86685"/>
                  </a:lnTo>
                  <a:lnTo>
                    <a:pt x="752782" y="88870"/>
                  </a:lnTo>
                  <a:lnTo>
                    <a:pt x="753927" y="91472"/>
                  </a:lnTo>
                  <a:lnTo>
                    <a:pt x="753927" y="94178"/>
                  </a:lnTo>
                  <a:lnTo>
                    <a:pt x="753927" y="95218"/>
                  </a:lnTo>
                  <a:lnTo>
                    <a:pt x="753094" y="98132"/>
                  </a:lnTo>
                  <a:lnTo>
                    <a:pt x="751533" y="100422"/>
                  </a:lnTo>
                  <a:lnTo>
                    <a:pt x="749348" y="102295"/>
                  </a:lnTo>
                  <a:lnTo>
                    <a:pt x="746746" y="103336"/>
                  </a:lnTo>
                  <a:lnTo>
                    <a:pt x="743937" y="103336"/>
                  </a:lnTo>
                  <a:lnTo>
                    <a:pt x="742896" y="103336"/>
                  </a:lnTo>
                  <a:lnTo>
                    <a:pt x="740087" y="102503"/>
                  </a:lnTo>
                  <a:lnTo>
                    <a:pt x="737797" y="100942"/>
                  </a:lnTo>
                  <a:lnTo>
                    <a:pt x="735924" y="98861"/>
                  </a:lnTo>
                  <a:lnTo>
                    <a:pt x="734883" y="96259"/>
                  </a:lnTo>
                  <a:lnTo>
                    <a:pt x="734883" y="93553"/>
                  </a:lnTo>
                  <a:close/>
                  <a:moveTo>
                    <a:pt x="191994" y="94802"/>
                  </a:moveTo>
                  <a:lnTo>
                    <a:pt x="191161" y="97716"/>
                  </a:lnTo>
                  <a:lnTo>
                    <a:pt x="189496" y="100005"/>
                  </a:lnTo>
                  <a:lnTo>
                    <a:pt x="187415" y="101774"/>
                  </a:lnTo>
                  <a:lnTo>
                    <a:pt x="184709" y="102815"/>
                  </a:lnTo>
                  <a:lnTo>
                    <a:pt x="182212" y="102815"/>
                  </a:lnTo>
                  <a:lnTo>
                    <a:pt x="180859" y="102815"/>
                  </a:lnTo>
                  <a:lnTo>
                    <a:pt x="178154" y="101983"/>
                  </a:lnTo>
                  <a:lnTo>
                    <a:pt x="175760" y="100422"/>
                  </a:lnTo>
                  <a:lnTo>
                    <a:pt x="173991" y="98236"/>
                  </a:lnTo>
                  <a:lnTo>
                    <a:pt x="172950" y="95635"/>
                  </a:lnTo>
                  <a:lnTo>
                    <a:pt x="172950" y="93345"/>
                  </a:lnTo>
                  <a:lnTo>
                    <a:pt x="172950" y="91888"/>
                  </a:lnTo>
                  <a:lnTo>
                    <a:pt x="173783" y="88975"/>
                  </a:lnTo>
                  <a:lnTo>
                    <a:pt x="175448" y="86685"/>
                  </a:lnTo>
                  <a:lnTo>
                    <a:pt x="177529" y="84916"/>
                  </a:lnTo>
                  <a:lnTo>
                    <a:pt x="180235" y="83771"/>
                  </a:lnTo>
                  <a:lnTo>
                    <a:pt x="182732" y="83771"/>
                  </a:lnTo>
                  <a:lnTo>
                    <a:pt x="183981" y="83771"/>
                  </a:lnTo>
                  <a:lnTo>
                    <a:pt x="186791" y="84708"/>
                  </a:lnTo>
                  <a:lnTo>
                    <a:pt x="189184" y="86269"/>
                  </a:lnTo>
                  <a:lnTo>
                    <a:pt x="190953" y="88454"/>
                  </a:lnTo>
                  <a:lnTo>
                    <a:pt x="191994" y="91056"/>
                  </a:lnTo>
                  <a:lnTo>
                    <a:pt x="191994" y="93345"/>
                  </a:lnTo>
                  <a:close/>
                  <a:moveTo>
                    <a:pt x="115196" y="171601"/>
                  </a:moveTo>
                  <a:lnTo>
                    <a:pt x="114260" y="174515"/>
                  </a:lnTo>
                  <a:lnTo>
                    <a:pt x="112699" y="176805"/>
                  </a:lnTo>
                  <a:lnTo>
                    <a:pt x="110513" y="178574"/>
                  </a:lnTo>
                  <a:lnTo>
                    <a:pt x="107912" y="179718"/>
                  </a:lnTo>
                  <a:lnTo>
                    <a:pt x="105623" y="179718"/>
                  </a:lnTo>
                  <a:lnTo>
                    <a:pt x="104062" y="179718"/>
                  </a:lnTo>
                  <a:lnTo>
                    <a:pt x="101148" y="178782"/>
                  </a:lnTo>
                  <a:lnTo>
                    <a:pt x="98963" y="178053"/>
                  </a:lnTo>
                  <a:lnTo>
                    <a:pt x="97194" y="175868"/>
                  </a:lnTo>
                  <a:lnTo>
                    <a:pt x="96049" y="173266"/>
                  </a:lnTo>
                  <a:lnTo>
                    <a:pt x="96049" y="170769"/>
                  </a:lnTo>
                  <a:lnTo>
                    <a:pt x="96049" y="169520"/>
                  </a:lnTo>
                  <a:lnTo>
                    <a:pt x="96985" y="166606"/>
                  </a:lnTo>
                  <a:lnTo>
                    <a:pt x="98546" y="164317"/>
                  </a:lnTo>
                  <a:lnTo>
                    <a:pt x="100732" y="162548"/>
                  </a:lnTo>
                  <a:lnTo>
                    <a:pt x="103333" y="161507"/>
                  </a:lnTo>
                  <a:lnTo>
                    <a:pt x="105935" y="161507"/>
                  </a:lnTo>
                  <a:lnTo>
                    <a:pt x="107079" y="161507"/>
                  </a:lnTo>
                  <a:lnTo>
                    <a:pt x="109993" y="162444"/>
                  </a:lnTo>
                  <a:lnTo>
                    <a:pt x="112283" y="164005"/>
                  </a:lnTo>
                  <a:lnTo>
                    <a:pt x="114052" y="166190"/>
                  </a:lnTo>
                  <a:lnTo>
                    <a:pt x="115196" y="168792"/>
                  </a:lnTo>
                  <a:lnTo>
                    <a:pt x="115196" y="171393"/>
                  </a:lnTo>
                  <a:close/>
                  <a:moveTo>
                    <a:pt x="76485" y="309486"/>
                  </a:moveTo>
                  <a:lnTo>
                    <a:pt x="76485" y="312296"/>
                  </a:lnTo>
                  <a:lnTo>
                    <a:pt x="75653" y="315001"/>
                  </a:lnTo>
                  <a:lnTo>
                    <a:pt x="74508" y="317603"/>
                  </a:lnTo>
                  <a:lnTo>
                    <a:pt x="73155" y="320100"/>
                  </a:lnTo>
                  <a:lnTo>
                    <a:pt x="71594" y="322390"/>
                  </a:lnTo>
                  <a:lnTo>
                    <a:pt x="69825" y="324575"/>
                  </a:lnTo>
                  <a:lnTo>
                    <a:pt x="67848" y="326552"/>
                  </a:lnTo>
                  <a:lnTo>
                    <a:pt x="65767" y="328322"/>
                  </a:lnTo>
                  <a:lnTo>
                    <a:pt x="63374" y="329882"/>
                  </a:lnTo>
                  <a:lnTo>
                    <a:pt x="60980" y="331131"/>
                  </a:lnTo>
                  <a:lnTo>
                    <a:pt x="58379" y="332276"/>
                  </a:lnTo>
                  <a:lnTo>
                    <a:pt x="55673" y="333108"/>
                  </a:lnTo>
                  <a:lnTo>
                    <a:pt x="52031" y="334149"/>
                  </a:lnTo>
                  <a:lnTo>
                    <a:pt x="47556" y="334149"/>
                  </a:lnTo>
                  <a:lnTo>
                    <a:pt x="43082" y="334149"/>
                  </a:lnTo>
                  <a:lnTo>
                    <a:pt x="40272" y="334149"/>
                  </a:lnTo>
                  <a:lnTo>
                    <a:pt x="37566" y="333317"/>
                  </a:lnTo>
                  <a:lnTo>
                    <a:pt x="35069" y="332172"/>
                  </a:lnTo>
                  <a:lnTo>
                    <a:pt x="32571" y="330923"/>
                  </a:lnTo>
                  <a:lnTo>
                    <a:pt x="30282" y="329362"/>
                  </a:lnTo>
                  <a:lnTo>
                    <a:pt x="28097" y="327593"/>
                  </a:lnTo>
                  <a:lnTo>
                    <a:pt x="26119" y="325616"/>
                  </a:lnTo>
                  <a:lnTo>
                    <a:pt x="24350" y="323431"/>
                  </a:lnTo>
                  <a:lnTo>
                    <a:pt x="22790" y="321141"/>
                  </a:lnTo>
                  <a:lnTo>
                    <a:pt x="21437" y="318644"/>
                  </a:lnTo>
                  <a:lnTo>
                    <a:pt x="20396" y="316042"/>
                  </a:lnTo>
                  <a:lnTo>
                    <a:pt x="19564" y="313336"/>
                  </a:lnTo>
                  <a:lnTo>
                    <a:pt x="18939" y="310527"/>
                  </a:lnTo>
                  <a:lnTo>
                    <a:pt x="18939" y="306156"/>
                  </a:lnTo>
                  <a:lnTo>
                    <a:pt x="18939" y="301681"/>
                  </a:lnTo>
                  <a:lnTo>
                    <a:pt x="19564" y="298871"/>
                  </a:lnTo>
                  <a:lnTo>
                    <a:pt x="20396" y="296166"/>
                  </a:lnTo>
                  <a:lnTo>
                    <a:pt x="21437" y="293564"/>
                  </a:lnTo>
                  <a:lnTo>
                    <a:pt x="22790" y="291067"/>
                  </a:lnTo>
                  <a:lnTo>
                    <a:pt x="24350" y="288777"/>
                  </a:lnTo>
                  <a:lnTo>
                    <a:pt x="26119" y="286696"/>
                  </a:lnTo>
                  <a:lnTo>
                    <a:pt x="28097" y="284719"/>
                  </a:lnTo>
                  <a:lnTo>
                    <a:pt x="30282" y="282950"/>
                  </a:lnTo>
                  <a:lnTo>
                    <a:pt x="32571" y="281389"/>
                  </a:lnTo>
                  <a:lnTo>
                    <a:pt x="35069" y="280036"/>
                  </a:lnTo>
                  <a:lnTo>
                    <a:pt x="37670" y="278891"/>
                  </a:lnTo>
                  <a:lnTo>
                    <a:pt x="40272" y="278059"/>
                  </a:lnTo>
                  <a:lnTo>
                    <a:pt x="43186" y="278059"/>
                  </a:lnTo>
                  <a:lnTo>
                    <a:pt x="47556" y="278059"/>
                  </a:lnTo>
                  <a:lnTo>
                    <a:pt x="52031" y="278059"/>
                  </a:lnTo>
                  <a:lnTo>
                    <a:pt x="54840" y="278059"/>
                  </a:lnTo>
                  <a:lnTo>
                    <a:pt x="57546" y="278891"/>
                  </a:lnTo>
                  <a:lnTo>
                    <a:pt x="60148" y="280036"/>
                  </a:lnTo>
                  <a:lnTo>
                    <a:pt x="62541" y="281389"/>
                  </a:lnTo>
                  <a:lnTo>
                    <a:pt x="64934" y="282950"/>
                  </a:lnTo>
                  <a:lnTo>
                    <a:pt x="67016" y="284719"/>
                  </a:lnTo>
                  <a:lnTo>
                    <a:pt x="68993" y="286696"/>
                  </a:lnTo>
                  <a:lnTo>
                    <a:pt x="70762" y="288777"/>
                  </a:lnTo>
                  <a:lnTo>
                    <a:pt x="72323" y="291067"/>
                  </a:lnTo>
                  <a:lnTo>
                    <a:pt x="73676" y="293564"/>
                  </a:lnTo>
                  <a:lnTo>
                    <a:pt x="74820" y="296166"/>
                  </a:lnTo>
                  <a:lnTo>
                    <a:pt x="75653" y="298871"/>
                  </a:lnTo>
                  <a:lnTo>
                    <a:pt x="75653" y="301681"/>
                  </a:lnTo>
                  <a:lnTo>
                    <a:pt x="75653" y="306052"/>
                  </a:lnTo>
                  <a:close/>
                  <a:moveTo>
                    <a:pt x="115196" y="440919"/>
                  </a:moveTo>
                  <a:lnTo>
                    <a:pt x="114260" y="443832"/>
                  </a:lnTo>
                  <a:lnTo>
                    <a:pt x="112699" y="446122"/>
                  </a:lnTo>
                  <a:lnTo>
                    <a:pt x="110513" y="447891"/>
                  </a:lnTo>
                  <a:lnTo>
                    <a:pt x="107912" y="449036"/>
                  </a:lnTo>
                  <a:lnTo>
                    <a:pt x="105310" y="449036"/>
                  </a:lnTo>
                  <a:lnTo>
                    <a:pt x="104062" y="449036"/>
                  </a:lnTo>
                  <a:lnTo>
                    <a:pt x="101252" y="448619"/>
                  </a:lnTo>
                  <a:lnTo>
                    <a:pt x="98963" y="447058"/>
                  </a:lnTo>
                  <a:lnTo>
                    <a:pt x="97194" y="444873"/>
                  </a:lnTo>
                  <a:lnTo>
                    <a:pt x="96049" y="442271"/>
                  </a:lnTo>
                  <a:lnTo>
                    <a:pt x="96049" y="439670"/>
                  </a:lnTo>
                  <a:lnTo>
                    <a:pt x="96049" y="438213"/>
                  </a:lnTo>
                  <a:lnTo>
                    <a:pt x="96985" y="435299"/>
                  </a:lnTo>
                  <a:lnTo>
                    <a:pt x="98546" y="433010"/>
                  </a:lnTo>
                  <a:lnTo>
                    <a:pt x="100732" y="431241"/>
                  </a:lnTo>
                  <a:lnTo>
                    <a:pt x="103333" y="430096"/>
                  </a:lnTo>
                  <a:lnTo>
                    <a:pt x="105623" y="430096"/>
                  </a:lnTo>
                  <a:lnTo>
                    <a:pt x="107079" y="430096"/>
                  </a:lnTo>
                  <a:lnTo>
                    <a:pt x="109993" y="431033"/>
                  </a:lnTo>
                  <a:lnTo>
                    <a:pt x="112283" y="432594"/>
                  </a:lnTo>
                  <a:lnTo>
                    <a:pt x="114052" y="434779"/>
                  </a:lnTo>
                  <a:lnTo>
                    <a:pt x="115196" y="437380"/>
                  </a:lnTo>
                  <a:lnTo>
                    <a:pt x="115196" y="439982"/>
                  </a:lnTo>
                  <a:close/>
                  <a:moveTo>
                    <a:pt x="191994" y="517822"/>
                  </a:moveTo>
                  <a:lnTo>
                    <a:pt x="191161" y="520632"/>
                  </a:lnTo>
                  <a:lnTo>
                    <a:pt x="189496" y="523025"/>
                  </a:lnTo>
                  <a:lnTo>
                    <a:pt x="187415" y="524794"/>
                  </a:lnTo>
                  <a:lnTo>
                    <a:pt x="184709" y="525835"/>
                  </a:lnTo>
                  <a:lnTo>
                    <a:pt x="182212" y="525835"/>
                  </a:lnTo>
                  <a:lnTo>
                    <a:pt x="180859" y="525835"/>
                  </a:lnTo>
                  <a:lnTo>
                    <a:pt x="178154" y="525002"/>
                  </a:lnTo>
                  <a:lnTo>
                    <a:pt x="175760" y="523337"/>
                  </a:lnTo>
                  <a:lnTo>
                    <a:pt x="173991" y="521256"/>
                  </a:lnTo>
                  <a:lnTo>
                    <a:pt x="172950" y="518550"/>
                  </a:lnTo>
                  <a:lnTo>
                    <a:pt x="172950" y="516365"/>
                  </a:lnTo>
                  <a:lnTo>
                    <a:pt x="172950" y="514804"/>
                  </a:lnTo>
                  <a:lnTo>
                    <a:pt x="173783" y="511994"/>
                  </a:lnTo>
                  <a:lnTo>
                    <a:pt x="175448" y="509601"/>
                  </a:lnTo>
                  <a:lnTo>
                    <a:pt x="177529" y="507832"/>
                  </a:lnTo>
                  <a:lnTo>
                    <a:pt x="180235" y="506791"/>
                  </a:lnTo>
                  <a:lnTo>
                    <a:pt x="182732" y="506791"/>
                  </a:lnTo>
                  <a:lnTo>
                    <a:pt x="183981" y="506791"/>
                  </a:lnTo>
                  <a:lnTo>
                    <a:pt x="186791" y="507624"/>
                  </a:lnTo>
                  <a:lnTo>
                    <a:pt x="189184" y="509289"/>
                  </a:lnTo>
                  <a:lnTo>
                    <a:pt x="190953" y="511370"/>
                  </a:lnTo>
                  <a:lnTo>
                    <a:pt x="191994" y="514075"/>
                  </a:lnTo>
                  <a:lnTo>
                    <a:pt x="191994" y="516261"/>
                  </a:lnTo>
                  <a:close/>
                  <a:moveTo>
                    <a:pt x="301779" y="50367"/>
                  </a:moveTo>
                  <a:lnTo>
                    <a:pt x="301779" y="46100"/>
                  </a:lnTo>
                  <a:lnTo>
                    <a:pt x="303028" y="41001"/>
                  </a:lnTo>
                  <a:lnTo>
                    <a:pt x="305317" y="36318"/>
                  </a:lnTo>
                  <a:lnTo>
                    <a:pt x="308335" y="32156"/>
                  </a:lnTo>
                  <a:lnTo>
                    <a:pt x="312081" y="28618"/>
                  </a:lnTo>
                  <a:lnTo>
                    <a:pt x="316556" y="26016"/>
                  </a:lnTo>
                  <a:lnTo>
                    <a:pt x="321342" y="24143"/>
                  </a:lnTo>
                  <a:lnTo>
                    <a:pt x="328419" y="23310"/>
                  </a:lnTo>
                  <a:lnTo>
                    <a:pt x="596898" y="23310"/>
                  </a:lnTo>
                  <a:lnTo>
                    <a:pt x="601164" y="23310"/>
                  </a:lnTo>
                  <a:lnTo>
                    <a:pt x="606263" y="24559"/>
                  </a:lnTo>
                  <a:lnTo>
                    <a:pt x="610946" y="26744"/>
                  </a:lnTo>
                  <a:lnTo>
                    <a:pt x="615108" y="29866"/>
                  </a:lnTo>
                  <a:lnTo>
                    <a:pt x="618542" y="33613"/>
                  </a:lnTo>
                  <a:lnTo>
                    <a:pt x="621248" y="38087"/>
                  </a:lnTo>
                  <a:lnTo>
                    <a:pt x="623017" y="42978"/>
                  </a:lnTo>
                  <a:lnTo>
                    <a:pt x="623954" y="49951"/>
                  </a:lnTo>
                  <a:lnTo>
                    <a:pt x="623954" y="76487"/>
                  </a:lnTo>
                  <a:lnTo>
                    <a:pt x="301779" y="76487"/>
                  </a:lnTo>
                  <a:close/>
                  <a:moveTo>
                    <a:pt x="301779" y="100109"/>
                  </a:moveTo>
                  <a:lnTo>
                    <a:pt x="624370" y="100109"/>
                  </a:lnTo>
                  <a:lnTo>
                    <a:pt x="624370" y="510017"/>
                  </a:lnTo>
                  <a:lnTo>
                    <a:pt x="301779" y="510017"/>
                  </a:lnTo>
                  <a:close/>
                  <a:moveTo>
                    <a:pt x="302611" y="566940"/>
                  </a:moveTo>
                  <a:lnTo>
                    <a:pt x="301779" y="559864"/>
                  </a:lnTo>
                  <a:lnTo>
                    <a:pt x="301779" y="533327"/>
                  </a:lnTo>
                  <a:lnTo>
                    <a:pt x="624370" y="533327"/>
                  </a:lnTo>
                  <a:lnTo>
                    <a:pt x="624370" y="559864"/>
                  </a:lnTo>
                  <a:lnTo>
                    <a:pt x="624370" y="564130"/>
                  </a:lnTo>
                  <a:lnTo>
                    <a:pt x="623121" y="569229"/>
                  </a:lnTo>
                  <a:lnTo>
                    <a:pt x="620832" y="573912"/>
                  </a:lnTo>
                  <a:lnTo>
                    <a:pt x="617814" y="577971"/>
                  </a:lnTo>
                  <a:lnTo>
                    <a:pt x="613964" y="581509"/>
                  </a:lnTo>
                  <a:lnTo>
                    <a:pt x="609593" y="584215"/>
                  </a:lnTo>
                  <a:lnTo>
                    <a:pt x="604702" y="585984"/>
                  </a:lnTo>
                  <a:lnTo>
                    <a:pt x="597626" y="586920"/>
                  </a:lnTo>
                  <a:lnTo>
                    <a:pt x="329251" y="586920"/>
                  </a:lnTo>
                  <a:lnTo>
                    <a:pt x="324985" y="586920"/>
                  </a:lnTo>
                  <a:lnTo>
                    <a:pt x="319886" y="585567"/>
                  </a:lnTo>
                  <a:lnTo>
                    <a:pt x="315203" y="583382"/>
                  </a:lnTo>
                  <a:lnTo>
                    <a:pt x="311040" y="580260"/>
                  </a:lnTo>
                  <a:lnTo>
                    <a:pt x="307606" y="576514"/>
                  </a:lnTo>
                  <a:lnTo>
                    <a:pt x="304901" y="572143"/>
                  </a:ln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" name="Freeform 134">
              <a:extLst>
                <a:ext uri="{FF2B5EF4-FFF2-40B4-BE49-F238E27FC236}">
                  <a16:creationId xmlns:a16="http://schemas.microsoft.com/office/drawing/2014/main" id="{BEFE2B50-4D2F-AE47-9265-8235225EB005}"/>
                </a:ext>
              </a:extLst>
            </p:cNvPr>
            <p:cNvSpPr/>
            <p:nvPr/>
          </p:nvSpPr>
          <p:spPr>
            <a:xfrm>
              <a:off x="4341894" y="5613647"/>
              <a:ext cx="275981" cy="283756"/>
            </a:xfrm>
            <a:custGeom>
              <a:avLst/>
              <a:gdLst>
                <a:gd name="connsiteX0" fmla="*/ 133692 w 275981"/>
                <a:gd name="connsiteY0" fmla="*/ 246098 h 283756"/>
                <a:gd name="connsiteX1" fmla="*/ 40036 w 275981"/>
                <a:gd name="connsiteY1" fmla="*/ 186470 h 283756"/>
                <a:gd name="connsiteX2" fmla="*/ 36914 w 275981"/>
                <a:gd name="connsiteY2" fmla="*/ 184493 h 283756"/>
                <a:gd name="connsiteX3" fmla="*/ 3198 w 275981"/>
                <a:gd name="connsiteY3" fmla="*/ 184493 h 283756"/>
                <a:gd name="connsiteX4" fmla="*/ 389 w 275981"/>
                <a:gd name="connsiteY4" fmla="*/ 186053 h 283756"/>
                <a:gd name="connsiteX5" fmla="*/ 389 w 275981"/>
                <a:gd name="connsiteY5" fmla="*/ 189175 h 283756"/>
                <a:gd name="connsiteX6" fmla="*/ 181403 w 275981"/>
                <a:gd name="connsiteY6" fmla="*/ 275601 h 283756"/>
                <a:gd name="connsiteX7" fmla="*/ 267825 w 275981"/>
                <a:gd name="connsiteY7" fmla="*/ 94581 h 283756"/>
                <a:gd name="connsiteX8" fmla="*/ 86811 w 275981"/>
                <a:gd name="connsiteY8" fmla="*/ 8156 h 283756"/>
                <a:gd name="connsiteX9" fmla="*/ 389 w 275981"/>
                <a:gd name="connsiteY9" fmla="*/ 94581 h 283756"/>
                <a:gd name="connsiteX10" fmla="*/ 2339 w 275981"/>
                <a:gd name="connsiteY10" fmla="*/ 99025 h 283756"/>
                <a:gd name="connsiteX11" fmla="*/ 3615 w 275981"/>
                <a:gd name="connsiteY11" fmla="*/ 99264 h 283756"/>
                <a:gd name="connsiteX12" fmla="*/ 36810 w 275981"/>
                <a:gd name="connsiteY12" fmla="*/ 99264 h 283756"/>
                <a:gd name="connsiteX13" fmla="*/ 39932 w 275981"/>
                <a:gd name="connsiteY13" fmla="*/ 97287 h 283756"/>
                <a:gd name="connsiteX14" fmla="*/ 178629 w 275981"/>
                <a:gd name="connsiteY14" fmla="*/ 48086 h 283756"/>
                <a:gd name="connsiteX15" fmla="*/ 227831 w 275981"/>
                <a:gd name="connsiteY15" fmla="*/ 186782 h 283756"/>
                <a:gd name="connsiteX16" fmla="*/ 133588 w 275981"/>
                <a:gd name="connsiteY16" fmla="*/ 246098 h 283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75981" h="283756">
                  <a:moveTo>
                    <a:pt x="133692" y="246098"/>
                  </a:moveTo>
                  <a:cubicBezTo>
                    <a:pt x="93644" y="245755"/>
                    <a:pt x="57295" y="222611"/>
                    <a:pt x="40036" y="186470"/>
                  </a:cubicBezTo>
                  <a:cubicBezTo>
                    <a:pt x="39449" y="185273"/>
                    <a:pt x="38244" y="184513"/>
                    <a:pt x="36914" y="184493"/>
                  </a:cubicBezTo>
                  <a:lnTo>
                    <a:pt x="3198" y="184493"/>
                  </a:lnTo>
                  <a:cubicBezTo>
                    <a:pt x="2061" y="184513"/>
                    <a:pt x="1009" y="185096"/>
                    <a:pt x="389" y="186053"/>
                  </a:cubicBezTo>
                  <a:cubicBezTo>
                    <a:pt x="-130" y="187032"/>
                    <a:pt x="-130" y="188197"/>
                    <a:pt x="389" y="189175"/>
                  </a:cubicBezTo>
                  <a:cubicBezTo>
                    <a:pt x="26509" y="263030"/>
                    <a:pt x="107552" y="301720"/>
                    <a:pt x="181403" y="275601"/>
                  </a:cubicBezTo>
                  <a:cubicBezTo>
                    <a:pt x="255253" y="249480"/>
                    <a:pt x="293946" y="168436"/>
                    <a:pt x="267825" y="94581"/>
                  </a:cubicBezTo>
                  <a:cubicBezTo>
                    <a:pt x="241705" y="20727"/>
                    <a:pt x="160661" y="-17964"/>
                    <a:pt x="86811" y="8156"/>
                  </a:cubicBezTo>
                  <a:cubicBezTo>
                    <a:pt x="46433" y="22444"/>
                    <a:pt x="14670" y="54204"/>
                    <a:pt x="389" y="94581"/>
                  </a:cubicBezTo>
                  <a:cubicBezTo>
                    <a:pt x="-301" y="96350"/>
                    <a:pt x="572" y="98338"/>
                    <a:pt x="2339" y="99025"/>
                  </a:cubicBezTo>
                  <a:cubicBezTo>
                    <a:pt x="2746" y="99192"/>
                    <a:pt x="3179" y="99264"/>
                    <a:pt x="3615" y="99264"/>
                  </a:cubicBezTo>
                  <a:lnTo>
                    <a:pt x="36810" y="99264"/>
                  </a:lnTo>
                  <a:cubicBezTo>
                    <a:pt x="38140" y="99243"/>
                    <a:pt x="39345" y="98484"/>
                    <a:pt x="39932" y="97287"/>
                  </a:cubicBezTo>
                  <a:cubicBezTo>
                    <a:pt x="64645" y="45401"/>
                    <a:pt x="126741" y="23370"/>
                    <a:pt x="178629" y="48086"/>
                  </a:cubicBezTo>
                  <a:cubicBezTo>
                    <a:pt x="230516" y="72801"/>
                    <a:pt x="252545" y="134896"/>
                    <a:pt x="227831" y="186782"/>
                  </a:cubicBezTo>
                  <a:cubicBezTo>
                    <a:pt x="210528" y="223111"/>
                    <a:pt x="173828" y="246213"/>
                    <a:pt x="133588" y="246098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6" name="Freeform 135">
              <a:extLst>
                <a:ext uri="{FF2B5EF4-FFF2-40B4-BE49-F238E27FC236}">
                  <a16:creationId xmlns:a16="http://schemas.microsoft.com/office/drawing/2014/main" id="{AA4117E4-4F24-C34A-9DFC-962FEFCC7502}"/>
                </a:ext>
              </a:extLst>
            </p:cNvPr>
            <p:cNvSpPr/>
            <p:nvPr/>
          </p:nvSpPr>
          <p:spPr>
            <a:xfrm>
              <a:off x="4260164" y="5505784"/>
              <a:ext cx="466457" cy="499586"/>
            </a:xfrm>
            <a:custGeom>
              <a:avLst/>
              <a:gdLst>
                <a:gd name="connsiteX0" fmla="*/ 28632 w 466457"/>
                <a:gd name="connsiteY0" fmla="*/ 349382 h 499586"/>
                <a:gd name="connsiteX1" fmla="*/ 26134 w 466457"/>
                <a:gd name="connsiteY1" fmla="*/ 347613 h 499586"/>
                <a:gd name="connsiteX2" fmla="*/ 25614 w 466457"/>
                <a:gd name="connsiteY2" fmla="*/ 347613 h 499586"/>
                <a:gd name="connsiteX3" fmla="*/ 23220 w 466457"/>
                <a:gd name="connsiteY3" fmla="*/ 348654 h 499586"/>
                <a:gd name="connsiteX4" fmla="*/ 743 w 466457"/>
                <a:gd name="connsiteY4" fmla="*/ 371028 h 499586"/>
                <a:gd name="connsiteX5" fmla="*/ 743 w 466457"/>
                <a:gd name="connsiteY5" fmla="*/ 375294 h 499586"/>
                <a:gd name="connsiteX6" fmla="*/ 342168 w 466457"/>
                <a:gd name="connsiteY6" fmla="*/ 465726 h 499586"/>
                <a:gd name="connsiteX7" fmla="*/ 432596 w 466457"/>
                <a:gd name="connsiteY7" fmla="*/ 124292 h 499586"/>
                <a:gd name="connsiteX8" fmla="*/ 91172 w 466457"/>
                <a:gd name="connsiteY8" fmla="*/ 33861 h 499586"/>
                <a:gd name="connsiteX9" fmla="*/ 743 w 466457"/>
                <a:gd name="connsiteY9" fmla="*/ 124292 h 499586"/>
                <a:gd name="connsiteX10" fmla="*/ 743 w 466457"/>
                <a:gd name="connsiteY10" fmla="*/ 128455 h 499586"/>
                <a:gd name="connsiteX11" fmla="*/ 23220 w 466457"/>
                <a:gd name="connsiteY11" fmla="*/ 150933 h 499586"/>
                <a:gd name="connsiteX12" fmla="*/ 25614 w 466457"/>
                <a:gd name="connsiteY12" fmla="*/ 151973 h 499586"/>
                <a:gd name="connsiteX13" fmla="*/ 26134 w 466457"/>
                <a:gd name="connsiteY13" fmla="*/ 151973 h 499586"/>
                <a:gd name="connsiteX14" fmla="*/ 28632 w 466457"/>
                <a:gd name="connsiteY14" fmla="*/ 150204 h 499586"/>
                <a:gd name="connsiteX15" fmla="*/ 315249 w 466457"/>
                <a:gd name="connsiteY15" fmla="*/ 62863 h 499586"/>
                <a:gd name="connsiteX16" fmla="*/ 402588 w 466457"/>
                <a:gd name="connsiteY16" fmla="*/ 349486 h 499586"/>
                <a:gd name="connsiteX17" fmla="*/ 115970 w 466457"/>
                <a:gd name="connsiteY17" fmla="*/ 436827 h 499586"/>
                <a:gd name="connsiteX18" fmla="*/ 28632 w 466457"/>
                <a:gd name="connsiteY18" fmla="*/ 349486 h 499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66457" h="499586">
                  <a:moveTo>
                    <a:pt x="28632" y="349382"/>
                  </a:moveTo>
                  <a:cubicBezTo>
                    <a:pt x="28099" y="348456"/>
                    <a:pt x="27186" y="347811"/>
                    <a:pt x="26134" y="347613"/>
                  </a:cubicBezTo>
                  <a:lnTo>
                    <a:pt x="25614" y="347613"/>
                  </a:lnTo>
                  <a:cubicBezTo>
                    <a:pt x="24699" y="347582"/>
                    <a:pt x="23819" y="347967"/>
                    <a:pt x="23220" y="348654"/>
                  </a:cubicBezTo>
                  <a:lnTo>
                    <a:pt x="743" y="371028"/>
                  </a:lnTo>
                  <a:cubicBezTo>
                    <a:pt x="-248" y="372276"/>
                    <a:pt x="-248" y="374046"/>
                    <a:pt x="743" y="375294"/>
                  </a:cubicBezTo>
                  <a:cubicBezTo>
                    <a:pt x="70054" y="494551"/>
                    <a:pt x="222915" y="535032"/>
                    <a:pt x="342168" y="465726"/>
                  </a:cubicBezTo>
                  <a:cubicBezTo>
                    <a:pt x="461421" y="396409"/>
                    <a:pt x="501904" y="243549"/>
                    <a:pt x="432596" y="124292"/>
                  </a:cubicBezTo>
                  <a:cubicBezTo>
                    <a:pt x="363285" y="5035"/>
                    <a:pt x="210424" y="-35446"/>
                    <a:pt x="91172" y="33861"/>
                  </a:cubicBezTo>
                  <a:cubicBezTo>
                    <a:pt x="53691" y="55652"/>
                    <a:pt x="22526" y="86808"/>
                    <a:pt x="743" y="124292"/>
                  </a:cubicBezTo>
                  <a:cubicBezTo>
                    <a:pt x="-231" y="125510"/>
                    <a:pt x="-231" y="127237"/>
                    <a:pt x="743" y="128455"/>
                  </a:cubicBezTo>
                  <a:lnTo>
                    <a:pt x="23220" y="150933"/>
                  </a:lnTo>
                  <a:cubicBezTo>
                    <a:pt x="23850" y="151578"/>
                    <a:pt x="24710" y="151952"/>
                    <a:pt x="25614" y="151973"/>
                  </a:cubicBezTo>
                  <a:lnTo>
                    <a:pt x="26134" y="151973"/>
                  </a:lnTo>
                  <a:cubicBezTo>
                    <a:pt x="27204" y="151828"/>
                    <a:pt x="28135" y="151162"/>
                    <a:pt x="28632" y="150204"/>
                  </a:cubicBezTo>
                  <a:cubicBezTo>
                    <a:pt x="83660" y="46942"/>
                    <a:pt x="211983" y="7834"/>
                    <a:pt x="315249" y="62863"/>
                  </a:cubicBezTo>
                  <a:cubicBezTo>
                    <a:pt x="418513" y="117892"/>
                    <a:pt x="457616" y="246224"/>
                    <a:pt x="402588" y="349486"/>
                  </a:cubicBezTo>
                  <a:cubicBezTo>
                    <a:pt x="347559" y="452749"/>
                    <a:pt x="219235" y="491856"/>
                    <a:pt x="115970" y="436827"/>
                  </a:cubicBezTo>
                  <a:cubicBezTo>
                    <a:pt x="78829" y="417034"/>
                    <a:pt x="48424" y="386627"/>
                    <a:pt x="28632" y="349486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7" name="Freeform 136">
              <a:extLst>
                <a:ext uri="{FF2B5EF4-FFF2-40B4-BE49-F238E27FC236}">
                  <a16:creationId xmlns:a16="http://schemas.microsoft.com/office/drawing/2014/main" id="{F19448F1-6892-B446-92A3-C798A195EEC5}"/>
                </a:ext>
              </a:extLst>
            </p:cNvPr>
            <p:cNvSpPr/>
            <p:nvPr/>
          </p:nvSpPr>
          <p:spPr>
            <a:xfrm>
              <a:off x="4146908" y="5398392"/>
              <a:ext cx="686163" cy="714267"/>
            </a:xfrm>
            <a:custGeom>
              <a:avLst/>
              <a:gdLst>
                <a:gd name="connsiteX0" fmla="*/ 40531 w 686163"/>
                <a:gd name="connsiteY0" fmla="*/ 494030 h 714267"/>
                <a:gd name="connsiteX1" fmla="*/ 37409 w 686163"/>
                <a:gd name="connsiteY1" fmla="*/ 492053 h 714267"/>
                <a:gd name="connsiteX2" fmla="*/ 3277 w 686163"/>
                <a:gd name="connsiteY2" fmla="*/ 492053 h 714267"/>
                <a:gd name="connsiteX3" fmla="*/ 467 w 686163"/>
                <a:gd name="connsiteY3" fmla="*/ 493613 h 714267"/>
                <a:gd name="connsiteX4" fmla="*/ 467 w 686163"/>
                <a:gd name="connsiteY4" fmla="*/ 496839 h 714267"/>
                <a:gd name="connsiteX5" fmla="*/ 468739 w 686163"/>
                <a:gd name="connsiteY5" fmla="*/ 685705 h 714267"/>
                <a:gd name="connsiteX6" fmla="*/ 657606 w 686163"/>
                <a:gd name="connsiteY6" fmla="*/ 217428 h 714267"/>
                <a:gd name="connsiteX7" fmla="*/ 189333 w 686163"/>
                <a:gd name="connsiteY7" fmla="*/ 28562 h 714267"/>
                <a:gd name="connsiteX8" fmla="*/ 467 w 686163"/>
                <a:gd name="connsiteY8" fmla="*/ 217428 h 714267"/>
                <a:gd name="connsiteX9" fmla="*/ 467 w 686163"/>
                <a:gd name="connsiteY9" fmla="*/ 220654 h 714267"/>
                <a:gd name="connsiteX10" fmla="*/ 3277 w 686163"/>
                <a:gd name="connsiteY10" fmla="*/ 222215 h 714267"/>
                <a:gd name="connsiteX11" fmla="*/ 37409 w 686163"/>
                <a:gd name="connsiteY11" fmla="*/ 222215 h 714267"/>
                <a:gd name="connsiteX12" fmla="*/ 40531 w 686163"/>
                <a:gd name="connsiteY12" fmla="*/ 220238 h 714267"/>
                <a:gd name="connsiteX13" fmla="*/ 466078 w 686163"/>
                <a:gd name="connsiteY13" fmla="*/ 68471 h 714267"/>
                <a:gd name="connsiteX14" fmla="*/ 617834 w 686163"/>
                <a:gd name="connsiteY14" fmla="*/ 494030 h 714267"/>
                <a:gd name="connsiteX15" fmla="*/ 192292 w 686163"/>
                <a:gd name="connsiteY15" fmla="*/ 645796 h 714267"/>
                <a:gd name="connsiteX16" fmla="*/ 40531 w 686163"/>
                <a:gd name="connsiteY16" fmla="*/ 494030 h 714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86163" h="714267">
                  <a:moveTo>
                    <a:pt x="40531" y="494030"/>
                  </a:moveTo>
                  <a:cubicBezTo>
                    <a:pt x="39985" y="492802"/>
                    <a:pt x="38754" y="492021"/>
                    <a:pt x="37409" y="492053"/>
                  </a:cubicBezTo>
                  <a:lnTo>
                    <a:pt x="3277" y="492053"/>
                  </a:lnTo>
                  <a:cubicBezTo>
                    <a:pt x="2140" y="492074"/>
                    <a:pt x="1088" y="492656"/>
                    <a:pt x="467" y="493613"/>
                  </a:cubicBezTo>
                  <a:cubicBezTo>
                    <a:pt x="-156" y="494602"/>
                    <a:pt x="-156" y="495851"/>
                    <a:pt x="467" y="496839"/>
                  </a:cubicBezTo>
                  <a:cubicBezTo>
                    <a:pt x="77623" y="678306"/>
                    <a:pt x="287276" y="762868"/>
                    <a:pt x="468739" y="685705"/>
                  </a:cubicBezTo>
                  <a:cubicBezTo>
                    <a:pt x="650208" y="608552"/>
                    <a:pt x="734758" y="398895"/>
                    <a:pt x="657606" y="217428"/>
                  </a:cubicBezTo>
                  <a:cubicBezTo>
                    <a:pt x="580450" y="35961"/>
                    <a:pt x="370797" y="-48601"/>
                    <a:pt x="189333" y="28562"/>
                  </a:cubicBezTo>
                  <a:cubicBezTo>
                    <a:pt x="104314" y="64704"/>
                    <a:pt x="36616" y="132408"/>
                    <a:pt x="467" y="217428"/>
                  </a:cubicBezTo>
                  <a:cubicBezTo>
                    <a:pt x="-156" y="218416"/>
                    <a:pt x="-156" y="219666"/>
                    <a:pt x="467" y="220654"/>
                  </a:cubicBezTo>
                  <a:cubicBezTo>
                    <a:pt x="1060" y="221632"/>
                    <a:pt x="2129" y="222236"/>
                    <a:pt x="3277" y="222215"/>
                  </a:cubicBezTo>
                  <a:lnTo>
                    <a:pt x="37409" y="222215"/>
                  </a:lnTo>
                  <a:cubicBezTo>
                    <a:pt x="38754" y="222246"/>
                    <a:pt x="39985" y="221466"/>
                    <a:pt x="40531" y="220238"/>
                  </a:cubicBezTo>
                  <a:cubicBezTo>
                    <a:pt x="116135" y="60812"/>
                    <a:pt x="306659" y="-7131"/>
                    <a:pt x="466078" y="68471"/>
                  </a:cubicBezTo>
                  <a:cubicBezTo>
                    <a:pt x="625493" y="144084"/>
                    <a:pt x="693445" y="334604"/>
                    <a:pt x="617834" y="494030"/>
                  </a:cubicBezTo>
                  <a:cubicBezTo>
                    <a:pt x="542234" y="653456"/>
                    <a:pt x="351711" y="721399"/>
                    <a:pt x="192292" y="645796"/>
                  </a:cubicBezTo>
                  <a:cubicBezTo>
                    <a:pt x="125718" y="614223"/>
                    <a:pt x="72104" y="560610"/>
                    <a:pt x="40531" y="494030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8" name="Freeform 137">
              <a:extLst>
                <a:ext uri="{FF2B5EF4-FFF2-40B4-BE49-F238E27FC236}">
                  <a16:creationId xmlns:a16="http://schemas.microsoft.com/office/drawing/2014/main" id="{E6125185-11AF-3543-B3B0-E3035C0C7BBB}"/>
                </a:ext>
              </a:extLst>
            </p:cNvPr>
            <p:cNvSpPr/>
            <p:nvPr/>
          </p:nvSpPr>
          <p:spPr>
            <a:xfrm>
              <a:off x="4026169" y="5644437"/>
              <a:ext cx="483837" cy="222176"/>
            </a:xfrm>
            <a:custGeom>
              <a:avLst/>
              <a:gdLst>
                <a:gd name="connsiteX0" fmla="*/ 145453 w 483837"/>
                <a:gd name="connsiteY0" fmla="*/ 222177 h 222176"/>
                <a:gd name="connsiteX1" fmla="*/ 203415 w 483837"/>
                <a:gd name="connsiteY1" fmla="*/ 222177 h 222176"/>
                <a:gd name="connsiteX2" fmla="*/ 216735 w 483837"/>
                <a:gd name="connsiteY2" fmla="*/ 216661 h 222176"/>
                <a:gd name="connsiteX3" fmla="*/ 224956 w 483837"/>
                <a:gd name="connsiteY3" fmla="*/ 208440 h 222176"/>
                <a:gd name="connsiteX4" fmla="*/ 248890 w 483837"/>
                <a:gd name="connsiteY4" fmla="*/ 184506 h 222176"/>
                <a:gd name="connsiteX5" fmla="*/ 303523 w 483837"/>
                <a:gd name="connsiteY5" fmla="*/ 129976 h 222176"/>
                <a:gd name="connsiteX6" fmla="*/ 421008 w 483837"/>
                <a:gd name="connsiteY6" fmla="*/ 129976 h 222176"/>
                <a:gd name="connsiteX7" fmla="*/ 468433 w 483837"/>
                <a:gd name="connsiteY7" fmla="*/ 139727 h 222176"/>
                <a:gd name="connsiteX8" fmla="*/ 478187 w 483837"/>
                <a:gd name="connsiteY8" fmla="*/ 92305 h 222176"/>
                <a:gd name="connsiteX9" fmla="*/ 430763 w 483837"/>
                <a:gd name="connsiteY9" fmla="*/ 82554 h 222176"/>
                <a:gd name="connsiteX10" fmla="*/ 421008 w 483837"/>
                <a:gd name="connsiteY10" fmla="*/ 92305 h 222176"/>
                <a:gd name="connsiteX11" fmla="*/ 303523 w 483837"/>
                <a:gd name="connsiteY11" fmla="*/ 92305 h 222176"/>
                <a:gd name="connsiteX12" fmla="*/ 248890 w 483837"/>
                <a:gd name="connsiteY12" fmla="*/ 37672 h 222176"/>
                <a:gd name="connsiteX13" fmla="*/ 224956 w 483837"/>
                <a:gd name="connsiteY13" fmla="*/ 13737 h 222176"/>
                <a:gd name="connsiteX14" fmla="*/ 216735 w 483837"/>
                <a:gd name="connsiteY14" fmla="*/ 5516 h 222176"/>
                <a:gd name="connsiteX15" fmla="*/ 203415 w 483837"/>
                <a:gd name="connsiteY15" fmla="*/ 0 h 222176"/>
                <a:gd name="connsiteX16" fmla="*/ 19018 w 483837"/>
                <a:gd name="connsiteY16" fmla="*/ 0 h 222176"/>
                <a:gd name="connsiteX17" fmla="*/ 1536 w 483837"/>
                <a:gd name="connsiteY17" fmla="*/ 11656 h 222176"/>
                <a:gd name="connsiteX18" fmla="*/ 5698 w 483837"/>
                <a:gd name="connsiteY18" fmla="*/ 32468 h 222176"/>
                <a:gd name="connsiteX19" fmla="*/ 16104 w 483837"/>
                <a:gd name="connsiteY19" fmla="*/ 43395 h 222176"/>
                <a:gd name="connsiteX20" fmla="*/ 84161 w 483837"/>
                <a:gd name="connsiteY20" fmla="*/ 111453 h 222176"/>
                <a:gd name="connsiteX21" fmla="*/ 16104 w 483837"/>
                <a:gd name="connsiteY21" fmla="*/ 179510 h 222176"/>
                <a:gd name="connsiteX22" fmla="*/ 5698 w 483837"/>
                <a:gd name="connsiteY22" fmla="*/ 189917 h 222176"/>
                <a:gd name="connsiteX23" fmla="*/ 5695 w 483837"/>
                <a:gd name="connsiteY23" fmla="*/ 216557 h 222176"/>
                <a:gd name="connsiteX24" fmla="*/ 18914 w 483837"/>
                <a:gd name="connsiteY24" fmla="*/ 222073 h 222176"/>
                <a:gd name="connsiteX25" fmla="*/ 145453 w 483837"/>
                <a:gd name="connsiteY25" fmla="*/ 222073 h 222176"/>
                <a:gd name="connsiteX26" fmla="*/ 235050 w 483837"/>
                <a:gd name="connsiteY26" fmla="*/ 145065 h 222176"/>
                <a:gd name="connsiteX27" fmla="*/ 209243 w 483837"/>
                <a:gd name="connsiteY27" fmla="*/ 170873 h 222176"/>
                <a:gd name="connsiteX28" fmla="*/ 195611 w 483837"/>
                <a:gd name="connsiteY28" fmla="*/ 184506 h 222176"/>
                <a:gd name="connsiteX29" fmla="*/ 156692 w 483837"/>
                <a:gd name="connsiteY29" fmla="*/ 184506 h 222176"/>
                <a:gd name="connsiteX30" fmla="*/ 206953 w 483837"/>
                <a:gd name="connsiteY30" fmla="*/ 134139 h 222176"/>
                <a:gd name="connsiteX31" fmla="*/ 211220 w 483837"/>
                <a:gd name="connsiteY31" fmla="*/ 129872 h 222176"/>
                <a:gd name="connsiteX32" fmla="*/ 250243 w 483837"/>
                <a:gd name="connsiteY32" fmla="*/ 129872 h 222176"/>
                <a:gd name="connsiteX33" fmla="*/ 195611 w 483837"/>
                <a:gd name="connsiteY33" fmla="*/ 37672 h 222176"/>
                <a:gd name="connsiteX34" fmla="*/ 209243 w 483837"/>
                <a:gd name="connsiteY34" fmla="*/ 50888 h 222176"/>
                <a:gd name="connsiteX35" fmla="*/ 235050 w 483837"/>
                <a:gd name="connsiteY35" fmla="*/ 76695 h 222176"/>
                <a:gd name="connsiteX36" fmla="*/ 250243 w 483837"/>
                <a:gd name="connsiteY36" fmla="*/ 92513 h 222176"/>
                <a:gd name="connsiteX37" fmla="*/ 211220 w 483837"/>
                <a:gd name="connsiteY37" fmla="*/ 92513 h 222176"/>
                <a:gd name="connsiteX38" fmla="*/ 206953 w 483837"/>
                <a:gd name="connsiteY38" fmla="*/ 88142 h 222176"/>
                <a:gd name="connsiteX39" fmla="*/ 156692 w 483837"/>
                <a:gd name="connsiteY39" fmla="*/ 37880 h 222176"/>
                <a:gd name="connsiteX40" fmla="*/ 64389 w 483837"/>
                <a:gd name="connsiteY40" fmla="*/ 37672 h 222176"/>
                <a:gd name="connsiteX41" fmla="*/ 103412 w 483837"/>
                <a:gd name="connsiteY41" fmla="*/ 37672 h 222176"/>
                <a:gd name="connsiteX42" fmla="*/ 128491 w 483837"/>
                <a:gd name="connsiteY42" fmla="*/ 62855 h 222176"/>
                <a:gd name="connsiteX43" fmla="*/ 157940 w 483837"/>
                <a:gd name="connsiteY43" fmla="*/ 92513 h 222176"/>
                <a:gd name="connsiteX44" fmla="*/ 119021 w 483837"/>
                <a:gd name="connsiteY44" fmla="*/ 92513 h 222176"/>
                <a:gd name="connsiteX45" fmla="*/ 100394 w 483837"/>
                <a:gd name="connsiteY45" fmla="*/ 73365 h 222176"/>
                <a:gd name="connsiteX46" fmla="*/ 64389 w 483837"/>
                <a:gd name="connsiteY46" fmla="*/ 184506 h 222176"/>
                <a:gd name="connsiteX47" fmla="*/ 100394 w 483837"/>
                <a:gd name="connsiteY47" fmla="*/ 148916 h 222176"/>
                <a:gd name="connsiteX48" fmla="*/ 119333 w 483837"/>
                <a:gd name="connsiteY48" fmla="*/ 129976 h 222176"/>
                <a:gd name="connsiteX49" fmla="*/ 158252 w 483837"/>
                <a:gd name="connsiteY49" fmla="*/ 129976 h 222176"/>
                <a:gd name="connsiteX50" fmla="*/ 128803 w 483837"/>
                <a:gd name="connsiteY50" fmla="*/ 159426 h 222176"/>
                <a:gd name="connsiteX51" fmla="*/ 103724 w 483837"/>
                <a:gd name="connsiteY51" fmla="*/ 184506 h 222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483837" h="222176">
                  <a:moveTo>
                    <a:pt x="145453" y="222177"/>
                  </a:moveTo>
                  <a:lnTo>
                    <a:pt x="203415" y="222177"/>
                  </a:lnTo>
                  <a:cubicBezTo>
                    <a:pt x="208415" y="222198"/>
                    <a:pt x="213216" y="220210"/>
                    <a:pt x="216735" y="216661"/>
                  </a:cubicBezTo>
                  <a:lnTo>
                    <a:pt x="224956" y="208440"/>
                  </a:lnTo>
                  <a:lnTo>
                    <a:pt x="248890" y="184506"/>
                  </a:lnTo>
                  <a:lnTo>
                    <a:pt x="303523" y="129976"/>
                  </a:lnTo>
                  <a:lnTo>
                    <a:pt x="421008" y="129976"/>
                  </a:lnTo>
                  <a:cubicBezTo>
                    <a:pt x="431410" y="145763"/>
                    <a:pt x="452643" y="150133"/>
                    <a:pt x="468433" y="139727"/>
                  </a:cubicBezTo>
                  <a:cubicBezTo>
                    <a:pt x="484222" y="129331"/>
                    <a:pt x="488590" y="108092"/>
                    <a:pt x="478187" y="92305"/>
                  </a:cubicBezTo>
                  <a:cubicBezTo>
                    <a:pt x="467785" y="76519"/>
                    <a:pt x="446552" y="72148"/>
                    <a:pt x="430763" y="82554"/>
                  </a:cubicBezTo>
                  <a:cubicBezTo>
                    <a:pt x="426882" y="85104"/>
                    <a:pt x="423564" y="88423"/>
                    <a:pt x="421008" y="92305"/>
                  </a:cubicBezTo>
                  <a:lnTo>
                    <a:pt x="303523" y="92305"/>
                  </a:lnTo>
                  <a:lnTo>
                    <a:pt x="248890" y="37672"/>
                  </a:lnTo>
                  <a:lnTo>
                    <a:pt x="224956" y="13737"/>
                  </a:lnTo>
                  <a:lnTo>
                    <a:pt x="216735" y="5516"/>
                  </a:lnTo>
                  <a:cubicBezTo>
                    <a:pt x="213216" y="1967"/>
                    <a:pt x="208415" y="-20"/>
                    <a:pt x="203415" y="0"/>
                  </a:cubicBezTo>
                  <a:lnTo>
                    <a:pt x="19018" y="0"/>
                  </a:lnTo>
                  <a:cubicBezTo>
                    <a:pt x="11363" y="-31"/>
                    <a:pt x="4453" y="4579"/>
                    <a:pt x="1536" y="11656"/>
                  </a:cubicBezTo>
                  <a:cubicBezTo>
                    <a:pt x="-1552" y="18784"/>
                    <a:pt x="107" y="27078"/>
                    <a:pt x="5698" y="32468"/>
                  </a:cubicBezTo>
                  <a:lnTo>
                    <a:pt x="16104" y="43395"/>
                  </a:lnTo>
                  <a:lnTo>
                    <a:pt x="84161" y="111453"/>
                  </a:lnTo>
                  <a:lnTo>
                    <a:pt x="16104" y="179510"/>
                  </a:lnTo>
                  <a:lnTo>
                    <a:pt x="5698" y="189917"/>
                  </a:lnTo>
                  <a:cubicBezTo>
                    <a:pt x="-1658" y="197274"/>
                    <a:pt x="-1660" y="209200"/>
                    <a:pt x="5695" y="216557"/>
                  </a:cubicBezTo>
                  <a:cubicBezTo>
                    <a:pt x="9203" y="220064"/>
                    <a:pt x="13952" y="222041"/>
                    <a:pt x="18914" y="222073"/>
                  </a:cubicBezTo>
                  <a:lnTo>
                    <a:pt x="145453" y="222073"/>
                  </a:lnTo>
                  <a:close/>
                  <a:moveTo>
                    <a:pt x="235050" y="145065"/>
                  </a:moveTo>
                  <a:lnTo>
                    <a:pt x="209243" y="170873"/>
                  </a:lnTo>
                  <a:lnTo>
                    <a:pt x="195611" y="184506"/>
                  </a:lnTo>
                  <a:lnTo>
                    <a:pt x="156692" y="184506"/>
                  </a:lnTo>
                  <a:lnTo>
                    <a:pt x="206953" y="134139"/>
                  </a:lnTo>
                  <a:lnTo>
                    <a:pt x="211220" y="129872"/>
                  </a:lnTo>
                  <a:lnTo>
                    <a:pt x="250243" y="129872"/>
                  </a:lnTo>
                  <a:close/>
                  <a:moveTo>
                    <a:pt x="195611" y="37672"/>
                  </a:moveTo>
                  <a:lnTo>
                    <a:pt x="209243" y="50888"/>
                  </a:lnTo>
                  <a:lnTo>
                    <a:pt x="235050" y="76695"/>
                  </a:lnTo>
                  <a:lnTo>
                    <a:pt x="250243" y="92513"/>
                  </a:lnTo>
                  <a:lnTo>
                    <a:pt x="211220" y="92513"/>
                  </a:lnTo>
                  <a:lnTo>
                    <a:pt x="206953" y="88142"/>
                  </a:lnTo>
                  <a:lnTo>
                    <a:pt x="156692" y="37880"/>
                  </a:lnTo>
                  <a:close/>
                  <a:moveTo>
                    <a:pt x="64389" y="37672"/>
                  </a:moveTo>
                  <a:lnTo>
                    <a:pt x="103412" y="37672"/>
                  </a:lnTo>
                  <a:lnTo>
                    <a:pt x="128491" y="62855"/>
                  </a:lnTo>
                  <a:lnTo>
                    <a:pt x="157940" y="92513"/>
                  </a:lnTo>
                  <a:lnTo>
                    <a:pt x="119021" y="92513"/>
                  </a:lnTo>
                  <a:lnTo>
                    <a:pt x="100394" y="73365"/>
                  </a:lnTo>
                  <a:close/>
                  <a:moveTo>
                    <a:pt x="64389" y="184506"/>
                  </a:moveTo>
                  <a:lnTo>
                    <a:pt x="100394" y="148916"/>
                  </a:lnTo>
                  <a:lnTo>
                    <a:pt x="119333" y="129976"/>
                  </a:lnTo>
                  <a:lnTo>
                    <a:pt x="158252" y="129976"/>
                  </a:lnTo>
                  <a:lnTo>
                    <a:pt x="128803" y="159426"/>
                  </a:lnTo>
                  <a:lnTo>
                    <a:pt x="103724" y="184506"/>
                  </a:ln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9" name="Freeform 138">
              <a:extLst>
                <a:ext uri="{FF2B5EF4-FFF2-40B4-BE49-F238E27FC236}">
                  <a16:creationId xmlns:a16="http://schemas.microsoft.com/office/drawing/2014/main" id="{60CB7E39-607E-C042-B294-A998FA2A3C25}"/>
                </a:ext>
              </a:extLst>
            </p:cNvPr>
            <p:cNvSpPr/>
            <p:nvPr/>
          </p:nvSpPr>
          <p:spPr>
            <a:xfrm>
              <a:off x="4741442" y="4521224"/>
              <a:ext cx="584744" cy="739217"/>
            </a:xfrm>
            <a:custGeom>
              <a:avLst/>
              <a:gdLst>
                <a:gd name="connsiteX0" fmla="*/ 584744 w 584744"/>
                <a:gd name="connsiteY0" fmla="*/ 706854 h 739217"/>
                <a:gd name="connsiteX1" fmla="*/ 33217 w 584744"/>
                <a:gd name="connsiteY1" fmla="*/ 706854 h 739217"/>
                <a:gd name="connsiteX2" fmla="*/ 61522 w 584744"/>
                <a:gd name="connsiteY2" fmla="*/ 137521 h 739217"/>
                <a:gd name="connsiteX3" fmla="*/ 175990 w 584744"/>
                <a:gd name="connsiteY3" fmla="*/ 137521 h 739217"/>
                <a:gd name="connsiteX4" fmla="*/ 175990 w 584744"/>
                <a:gd name="connsiteY4" fmla="*/ 168740 h 739217"/>
                <a:gd name="connsiteX5" fmla="*/ 165563 w 584744"/>
                <a:gd name="connsiteY5" fmla="*/ 211645 h 739217"/>
                <a:gd name="connsiteX6" fmla="*/ 208468 w 584744"/>
                <a:gd name="connsiteY6" fmla="*/ 222073 h 739217"/>
                <a:gd name="connsiteX7" fmla="*/ 223442 w 584744"/>
                <a:gd name="connsiteY7" fmla="*/ 194964 h 739217"/>
                <a:gd name="connsiteX8" fmla="*/ 208769 w 584744"/>
                <a:gd name="connsiteY8" fmla="*/ 168740 h 739217"/>
                <a:gd name="connsiteX9" fmla="*/ 208769 w 584744"/>
                <a:gd name="connsiteY9" fmla="*/ 137521 h 739217"/>
                <a:gd name="connsiteX10" fmla="*/ 352895 w 584744"/>
                <a:gd name="connsiteY10" fmla="*/ 137521 h 739217"/>
                <a:gd name="connsiteX11" fmla="*/ 352895 w 584744"/>
                <a:gd name="connsiteY11" fmla="*/ 168740 h 739217"/>
                <a:gd name="connsiteX12" fmla="*/ 338222 w 584744"/>
                <a:gd name="connsiteY12" fmla="*/ 194964 h 739217"/>
                <a:gd name="connsiteX13" fmla="*/ 369441 w 584744"/>
                <a:gd name="connsiteY13" fmla="*/ 226183 h 739217"/>
                <a:gd name="connsiteX14" fmla="*/ 400659 w 584744"/>
                <a:gd name="connsiteY14" fmla="*/ 194964 h 739217"/>
                <a:gd name="connsiteX15" fmla="*/ 385986 w 584744"/>
                <a:gd name="connsiteY15" fmla="*/ 168740 h 739217"/>
                <a:gd name="connsiteX16" fmla="*/ 385986 w 584744"/>
                <a:gd name="connsiteY16" fmla="*/ 137521 h 739217"/>
                <a:gd name="connsiteX17" fmla="*/ 512005 w 584744"/>
                <a:gd name="connsiteY17" fmla="*/ 137521 h 739217"/>
                <a:gd name="connsiteX18" fmla="*/ 530840 w 584744"/>
                <a:gd name="connsiteY18" fmla="*/ 335242 h 739217"/>
                <a:gd name="connsiteX19" fmla="*/ 530840 w 584744"/>
                <a:gd name="connsiteY19" fmla="*/ 335866 h 739217"/>
                <a:gd name="connsiteX20" fmla="*/ 530840 w 584744"/>
                <a:gd name="connsiteY20" fmla="*/ 335866 h 739217"/>
                <a:gd name="connsiteX21" fmla="*/ 554358 w 584744"/>
                <a:gd name="connsiteY21" fmla="*/ 361778 h 739217"/>
                <a:gd name="connsiteX22" fmla="*/ 555711 w 584744"/>
                <a:gd name="connsiteY22" fmla="*/ 363547 h 739217"/>
                <a:gd name="connsiteX23" fmla="*/ 557064 w 584744"/>
                <a:gd name="connsiteY23" fmla="*/ 361778 h 739217"/>
                <a:gd name="connsiteX24" fmla="*/ 564452 w 584744"/>
                <a:gd name="connsiteY24" fmla="*/ 352725 h 739217"/>
                <a:gd name="connsiteX25" fmla="*/ 564452 w 584744"/>
                <a:gd name="connsiteY25" fmla="*/ 352204 h 739217"/>
                <a:gd name="connsiteX26" fmla="*/ 542287 w 584744"/>
                <a:gd name="connsiteY26" fmla="*/ 119205 h 739217"/>
                <a:gd name="connsiteX27" fmla="*/ 525949 w 584744"/>
                <a:gd name="connsiteY27" fmla="*/ 104428 h 739217"/>
                <a:gd name="connsiteX28" fmla="*/ 385154 w 584744"/>
                <a:gd name="connsiteY28" fmla="*/ 104428 h 739217"/>
                <a:gd name="connsiteX29" fmla="*/ 280728 w 584744"/>
                <a:gd name="connsiteY29" fmla="*/ 0 h 739217"/>
                <a:gd name="connsiteX30" fmla="*/ 176302 w 584744"/>
                <a:gd name="connsiteY30" fmla="*/ 104428 h 739217"/>
                <a:gd name="connsiteX31" fmla="*/ 45809 w 584744"/>
                <a:gd name="connsiteY31" fmla="*/ 104428 h 739217"/>
                <a:gd name="connsiteX32" fmla="*/ 29471 w 584744"/>
                <a:gd name="connsiteY32" fmla="*/ 120038 h 739217"/>
                <a:gd name="connsiteX33" fmla="*/ 22 w 584744"/>
                <a:gd name="connsiteY33" fmla="*/ 722047 h 739217"/>
                <a:gd name="connsiteX34" fmla="*/ 15506 w 584744"/>
                <a:gd name="connsiteY34" fmla="*/ 739197 h 739217"/>
                <a:gd name="connsiteX35" fmla="*/ 16359 w 584744"/>
                <a:gd name="connsiteY35" fmla="*/ 739218 h 739217"/>
                <a:gd name="connsiteX36" fmla="*/ 584744 w 584744"/>
                <a:gd name="connsiteY36" fmla="*/ 739218 h 739217"/>
                <a:gd name="connsiteX37" fmla="*/ 280676 w 584744"/>
                <a:gd name="connsiteY37" fmla="*/ 34706 h 739217"/>
                <a:gd name="connsiteX38" fmla="*/ 352479 w 584744"/>
                <a:gd name="connsiteY38" fmla="*/ 104740 h 739217"/>
                <a:gd name="connsiteX39" fmla="*/ 208977 w 584744"/>
                <a:gd name="connsiteY39" fmla="*/ 104740 h 739217"/>
                <a:gd name="connsiteX40" fmla="*/ 280676 w 584744"/>
                <a:gd name="connsiteY40" fmla="*/ 34706 h 739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84744" h="739217">
                  <a:moveTo>
                    <a:pt x="584744" y="706854"/>
                  </a:moveTo>
                  <a:lnTo>
                    <a:pt x="33217" y="706854"/>
                  </a:lnTo>
                  <a:lnTo>
                    <a:pt x="61522" y="137521"/>
                  </a:lnTo>
                  <a:lnTo>
                    <a:pt x="175990" y="137521"/>
                  </a:lnTo>
                  <a:lnTo>
                    <a:pt x="175990" y="168740"/>
                  </a:lnTo>
                  <a:cubicBezTo>
                    <a:pt x="161265" y="177710"/>
                    <a:pt x="156593" y="196920"/>
                    <a:pt x="165563" y="211645"/>
                  </a:cubicBezTo>
                  <a:cubicBezTo>
                    <a:pt x="174533" y="226370"/>
                    <a:pt x="193732" y="231032"/>
                    <a:pt x="208468" y="222073"/>
                  </a:cubicBezTo>
                  <a:cubicBezTo>
                    <a:pt x="217906" y="216318"/>
                    <a:pt x="223598" y="206015"/>
                    <a:pt x="223442" y="194964"/>
                  </a:cubicBezTo>
                  <a:cubicBezTo>
                    <a:pt x="223494" y="184256"/>
                    <a:pt x="217927" y="174297"/>
                    <a:pt x="208769" y="168740"/>
                  </a:cubicBezTo>
                  <a:lnTo>
                    <a:pt x="208769" y="137521"/>
                  </a:lnTo>
                  <a:lnTo>
                    <a:pt x="352895" y="137521"/>
                  </a:lnTo>
                  <a:lnTo>
                    <a:pt x="352895" y="168740"/>
                  </a:lnTo>
                  <a:cubicBezTo>
                    <a:pt x="343737" y="174297"/>
                    <a:pt x="338170" y="184256"/>
                    <a:pt x="338222" y="194964"/>
                  </a:cubicBezTo>
                  <a:cubicBezTo>
                    <a:pt x="338222" y="212207"/>
                    <a:pt x="352198" y="226183"/>
                    <a:pt x="369441" y="226183"/>
                  </a:cubicBezTo>
                  <a:cubicBezTo>
                    <a:pt x="386683" y="226183"/>
                    <a:pt x="400659" y="212207"/>
                    <a:pt x="400659" y="194964"/>
                  </a:cubicBezTo>
                  <a:cubicBezTo>
                    <a:pt x="400711" y="184256"/>
                    <a:pt x="395144" y="174297"/>
                    <a:pt x="385986" y="168740"/>
                  </a:cubicBezTo>
                  <a:lnTo>
                    <a:pt x="385986" y="137521"/>
                  </a:lnTo>
                  <a:lnTo>
                    <a:pt x="512005" y="137521"/>
                  </a:lnTo>
                  <a:lnTo>
                    <a:pt x="530840" y="335242"/>
                  </a:lnTo>
                  <a:lnTo>
                    <a:pt x="530840" y="335866"/>
                  </a:lnTo>
                  <a:lnTo>
                    <a:pt x="530840" y="335866"/>
                  </a:lnTo>
                  <a:cubicBezTo>
                    <a:pt x="539498" y="343723"/>
                    <a:pt x="547365" y="352402"/>
                    <a:pt x="554358" y="361778"/>
                  </a:cubicBezTo>
                  <a:lnTo>
                    <a:pt x="555711" y="363547"/>
                  </a:lnTo>
                  <a:lnTo>
                    <a:pt x="557064" y="361778"/>
                  </a:lnTo>
                  <a:cubicBezTo>
                    <a:pt x="559457" y="358656"/>
                    <a:pt x="561955" y="355742"/>
                    <a:pt x="564452" y="352725"/>
                  </a:cubicBezTo>
                  <a:lnTo>
                    <a:pt x="564452" y="352204"/>
                  </a:lnTo>
                  <a:lnTo>
                    <a:pt x="542287" y="119205"/>
                  </a:lnTo>
                  <a:cubicBezTo>
                    <a:pt x="541475" y="110797"/>
                    <a:pt x="534399" y="104387"/>
                    <a:pt x="525949" y="104428"/>
                  </a:cubicBezTo>
                  <a:lnTo>
                    <a:pt x="385154" y="104428"/>
                  </a:lnTo>
                  <a:cubicBezTo>
                    <a:pt x="385154" y="46756"/>
                    <a:pt x="338399" y="0"/>
                    <a:pt x="280728" y="0"/>
                  </a:cubicBezTo>
                  <a:cubicBezTo>
                    <a:pt x="223057" y="0"/>
                    <a:pt x="176302" y="46756"/>
                    <a:pt x="176302" y="104428"/>
                  </a:cubicBezTo>
                  <a:lnTo>
                    <a:pt x="45809" y="104428"/>
                  </a:lnTo>
                  <a:cubicBezTo>
                    <a:pt x="37068" y="104418"/>
                    <a:pt x="29856" y="111296"/>
                    <a:pt x="29471" y="120038"/>
                  </a:cubicBezTo>
                  <a:lnTo>
                    <a:pt x="22" y="722047"/>
                  </a:lnTo>
                  <a:cubicBezTo>
                    <a:pt x="-438" y="731059"/>
                    <a:pt x="6494" y="738739"/>
                    <a:pt x="15506" y="739197"/>
                  </a:cubicBezTo>
                  <a:cubicBezTo>
                    <a:pt x="15790" y="739208"/>
                    <a:pt x="16074" y="739218"/>
                    <a:pt x="16359" y="739218"/>
                  </a:cubicBezTo>
                  <a:lnTo>
                    <a:pt x="584744" y="739218"/>
                  </a:lnTo>
                  <a:close/>
                  <a:moveTo>
                    <a:pt x="280676" y="34706"/>
                  </a:moveTo>
                  <a:cubicBezTo>
                    <a:pt x="319626" y="34747"/>
                    <a:pt x="351459" y="65800"/>
                    <a:pt x="352479" y="104740"/>
                  </a:cubicBezTo>
                  <a:lnTo>
                    <a:pt x="208977" y="104740"/>
                  </a:lnTo>
                  <a:cubicBezTo>
                    <a:pt x="209935" y="65821"/>
                    <a:pt x="241746" y="34747"/>
                    <a:pt x="280676" y="34706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0" name="Freeform 139">
              <a:extLst>
                <a:ext uri="{FF2B5EF4-FFF2-40B4-BE49-F238E27FC236}">
                  <a16:creationId xmlns:a16="http://schemas.microsoft.com/office/drawing/2014/main" id="{A8258EA4-A024-3047-AB83-F0393D6AB1B4}"/>
                </a:ext>
              </a:extLst>
            </p:cNvPr>
            <p:cNvSpPr/>
            <p:nvPr/>
          </p:nvSpPr>
          <p:spPr>
            <a:xfrm>
              <a:off x="5384564" y="5803967"/>
              <a:ext cx="715216" cy="687237"/>
            </a:xfrm>
            <a:custGeom>
              <a:avLst/>
              <a:gdLst>
                <a:gd name="connsiteX0" fmla="*/ 58795 w 715216"/>
                <a:gd name="connsiteY0" fmla="*/ 687238 h 687237"/>
                <a:gd name="connsiteX1" fmla="*/ 656733 w 715216"/>
                <a:gd name="connsiteY1" fmla="*/ 687238 h 687237"/>
                <a:gd name="connsiteX2" fmla="*/ 674528 w 715216"/>
                <a:gd name="connsiteY2" fmla="*/ 669443 h 687237"/>
                <a:gd name="connsiteX3" fmla="*/ 674528 w 715216"/>
                <a:gd name="connsiteY3" fmla="*/ 239971 h 687237"/>
                <a:gd name="connsiteX4" fmla="*/ 715216 w 715216"/>
                <a:gd name="connsiteY4" fmla="*/ 167127 h 687237"/>
                <a:gd name="connsiteX5" fmla="*/ 714175 w 715216"/>
                <a:gd name="connsiteY5" fmla="*/ 161091 h 687237"/>
                <a:gd name="connsiteX6" fmla="*/ 659855 w 715216"/>
                <a:gd name="connsiteY6" fmla="*/ 11759 h 687237"/>
                <a:gd name="connsiteX7" fmla="*/ 643101 w 715216"/>
                <a:gd name="connsiteY7" fmla="*/ 0 h 687237"/>
                <a:gd name="connsiteX8" fmla="*/ 72427 w 715216"/>
                <a:gd name="connsiteY8" fmla="*/ 0 h 687237"/>
                <a:gd name="connsiteX9" fmla="*/ 55673 w 715216"/>
                <a:gd name="connsiteY9" fmla="*/ 11759 h 687237"/>
                <a:gd name="connsiteX10" fmla="*/ 1145 w 715216"/>
                <a:gd name="connsiteY10" fmla="*/ 161091 h 687237"/>
                <a:gd name="connsiteX11" fmla="*/ 0 w 715216"/>
                <a:gd name="connsiteY11" fmla="*/ 167127 h 687237"/>
                <a:gd name="connsiteX12" fmla="*/ 40792 w 715216"/>
                <a:gd name="connsiteY12" fmla="*/ 239971 h 687237"/>
                <a:gd name="connsiteX13" fmla="*/ 40792 w 715216"/>
                <a:gd name="connsiteY13" fmla="*/ 669443 h 687237"/>
                <a:gd name="connsiteX14" fmla="*/ 58379 w 715216"/>
                <a:gd name="connsiteY14" fmla="*/ 687238 h 687237"/>
                <a:gd name="connsiteX15" fmla="*/ 58795 w 715216"/>
                <a:gd name="connsiteY15" fmla="*/ 687238 h 687237"/>
                <a:gd name="connsiteX16" fmla="*/ 638418 w 715216"/>
                <a:gd name="connsiteY16" fmla="*/ 651648 h 687237"/>
                <a:gd name="connsiteX17" fmla="*/ 76485 w 715216"/>
                <a:gd name="connsiteY17" fmla="*/ 651648 h 687237"/>
                <a:gd name="connsiteX18" fmla="*/ 76485 w 715216"/>
                <a:gd name="connsiteY18" fmla="*/ 537906 h 687237"/>
                <a:gd name="connsiteX19" fmla="*/ 638418 w 715216"/>
                <a:gd name="connsiteY19" fmla="*/ 537906 h 687237"/>
                <a:gd name="connsiteX20" fmla="*/ 219050 w 715216"/>
                <a:gd name="connsiteY20" fmla="*/ 412301 h 687237"/>
                <a:gd name="connsiteX21" fmla="*/ 201880 w 715216"/>
                <a:gd name="connsiteY21" fmla="*/ 380457 h 687237"/>
                <a:gd name="connsiteX22" fmla="*/ 231121 w 715216"/>
                <a:gd name="connsiteY22" fmla="*/ 351216 h 687237"/>
                <a:gd name="connsiteX23" fmla="*/ 263172 w 715216"/>
                <a:gd name="connsiteY23" fmla="*/ 368490 h 687237"/>
                <a:gd name="connsiteX24" fmla="*/ 271601 w 715216"/>
                <a:gd name="connsiteY24" fmla="*/ 370571 h 687237"/>
                <a:gd name="connsiteX25" fmla="*/ 280134 w 715216"/>
                <a:gd name="connsiteY25" fmla="*/ 368386 h 687237"/>
                <a:gd name="connsiteX26" fmla="*/ 282840 w 715216"/>
                <a:gd name="connsiteY26" fmla="*/ 366929 h 687237"/>
                <a:gd name="connsiteX27" fmla="*/ 287626 w 715216"/>
                <a:gd name="connsiteY27" fmla="*/ 364536 h 687237"/>
                <a:gd name="connsiteX28" fmla="*/ 291997 w 715216"/>
                <a:gd name="connsiteY28" fmla="*/ 362454 h 687237"/>
                <a:gd name="connsiteX29" fmla="*/ 296784 w 715216"/>
                <a:gd name="connsiteY29" fmla="*/ 360269 h 687237"/>
                <a:gd name="connsiteX30" fmla="*/ 300946 w 715216"/>
                <a:gd name="connsiteY30" fmla="*/ 358708 h 687237"/>
                <a:gd name="connsiteX31" fmla="*/ 301571 w 715216"/>
                <a:gd name="connsiteY31" fmla="*/ 358708 h 687237"/>
                <a:gd name="connsiteX32" fmla="*/ 306149 w 715216"/>
                <a:gd name="connsiteY32" fmla="*/ 357043 h 687237"/>
                <a:gd name="connsiteX33" fmla="*/ 311561 w 715216"/>
                <a:gd name="connsiteY33" fmla="*/ 355170 h 687237"/>
                <a:gd name="connsiteX34" fmla="*/ 314058 w 715216"/>
                <a:gd name="connsiteY34" fmla="*/ 354546 h 687237"/>
                <a:gd name="connsiteX35" fmla="*/ 326337 w 715216"/>
                <a:gd name="connsiteY35" fmla="*/ 342474 h 687237"/>
                <a:gd name="connsiteX36" fmla="*/ 336744 w 715216"/>
                <a:gd name="connsiteY36" fmla="*/ 307613 h 687237"/>
                <a:gd name="connsiteX37" fmla="*/ 378368 w 715216"/>
                <a:gd name="connsiteY37" fmla="*/ 307613 h 687237"/>
                <a:gd name="connsiteX38" fmla="*/ 388774 w 715216"/>
                <a:gd name="connsiteY38" fmla="*/ 342474 h 687237"/>
                <a:gd name="connsiteX39" fmla="*/ 402198 w 715216"/>
                <a:gd name="connsiteY39" fmla="*/ 354858 h 687237"/>
                <a:gd name="connsiteX40" fmla="*/ 403759 w 715216"/>
                <a:gd name="connsiteY40" fmla="*/ 354858 h 687237"/>
                <a:gd name="connsiteX41" fmla="*/ 409066 w 715216"/>
                <a:gd name="connsiteY41" fmla="*/ 356731 h 687237"/>
                <a:gd name="connsiteX42" fmla="*/ 413437 w 715216"/>
                <a:gd name="connsiteY42" fmla="*/ 358292 h 687237"/>
                <a:gd name="connsiteX43" fmla="*/ 414165 w 715216"/>
                <a:gd name="connsiteY43" fmla="*/ 358292 h 687237"/>
                <a:gd name="connsiteX44" fmla="*/ 418328 w 715216"/>
                <a:gd name="connsiteY44" fmla="*/ 359853 h 687237"/>
                <a:gd name="connsiteX45" fmla="*/ 422803 w 715216"/>
                <a:gd name="connsiteY45" fmla="*/ 361934 h 687237"/>
                <a:gd name="connsiteX46" fmla="*/ 427277 w 715216"/>
                <a:gd name="connsiteY46" fmla="*/ 364016 h 687237"/>
                <a:gd name="connsiteX47" fmla="*/ 432376 w 715216"/>
                <a:gd name="connsiteY47" fmla="*/ 366513 h 687237"/>
                <a:gd name="connsiteX48" fmla="*/ 433625 w 715216"/>
                <a:gd name="connsiteY48" fmla="*/ 367137 h 687237"/>
                <a:gd name="connsiteX49" fmla="*/ 433625 w 715216"/>
                <a:gd name="connsiteY49" fmla="*/ 367137 h 687237"/>
                <a:gd name="connsiteX50" fmla="*/ 435082 w 715216"/>
                <a:gd name="connsiteY50" fmla="*/ 367970 h 687237"/>
                <a:gd name="connsiteX51" fmla="*/ 443511 w 715216"/>
                <a:gd name="connsiteY51" fmla="*/ 370155 h 687237"/>
                <a:gd name="connsiteX52" fmla="*/ 451940 w 715216"/>
                <a:gd name="connsiteY52" fmla="*/ 368074 h 687237"/>
                <a:gd name="connsiteX53" fmla="*/ 483991 w 715216"/>
                <a:gd name="connsiteY53" fmla="*/ 350799 h 687237"/>
                <a:gd name="connsiteX54" fmla="*/ 513336 w 715216"/>
                <a:gd name="connsiteY54" fmla="*/ 380041 h 687237"/>
                <a:gd name="connsiteX55" fmla="*/ 496062 w 715216"/>
                <a:gd name="connsiteY55" fmla="*/ 412093 h 687237"/>
                <a:gd name="connsiteX56" fmla="*/ 496062 w 715216"/>
                <a:gd name="connsiteY56" fmla="*/ 429055 h 687237"/>
                <a:gd name="connsiteX57" fmla="*/ 497519 w 715216"/>
                <a:gd name="connsiteY57" fmla="*/ 431761 h 687237"/>
                <a:gd name="connsiteX58" fmla="*/ 499808 w 715216"/>
                <a:gd name="connsiteY58" fmla="*/ 436444 h 687237"/>
                <a:gd name="connsiteX59" fmla="*/ 501993 w 715216"/>
                <a:gd name="connsiteY59" fmla="*/ 441127 h 687237"/>
                <a:gd name="connsiteX60" fmla="*/ 504179 w 715216"/>
                <a:gd name="connsiteY60" fmla="*/ 445810 h 687237"/>
                <a:gd name="connsiteX61" fmla="*/ 505636 w 715216"/>
                <a:gd name="connsiteY61" fmla="*/ 449868 h 687237"/>
                <a:gd name="connsiteX62" fmla="*/ 507613 w 715216"/>
                <a:gd name="connsiteY62" fmla="*/ 455175 h 687237"/>
                <a:gd name="connsiteX63" fmla="*/ 509382 w 715216"/>
                <a:gd name="connsiteY63" fmla="*/ 460378 h 687237"/>
                <a:gd name="connsiteX64" fmla="*/ 509382 w 715216"/>
                <a:gd name="connsiteY64" fmla="*/ 461731 h 687237"/>
                <a:gd name="connsiteX65" fmla="*/ 509382 w 715216"/>
                <a:gd name="connsiteY65" fmla="*/ 461731 h 687237"/>
                <a:gd name="connsiteX66" fmla="*/ 509382 w 715216"/>
                <a:gd name="connsiteY66" fmla="*/ 462564 h 687237"/>
                <a:gd name="connsiteX67" fmla="*/ 509382 w 715216"/>
                <a:gd name="connsiteY67" fmla="*/ 463292 h 687237"/>
                <a:gd name="connsiteX68" fmla="*/ 521453 w 715216"/>
                <a:gd name="connsiteY68" fmla="*/ 475468 h 687237"/>
                <a:gd name="connsiteX69" fmla="*/ 556210 w 715216"/>
                <a:gd name="connsiteY69" fmla="*/ 485874 h 687237"/>
                <a:gd name="connsiteX70" fmla="*/ 556210 w 715216"/>
                <a:gd name="connsiteY70" fmla="*/ 502316 h 687237"/>
                <a:gd name="connsiteX71" fmla="*/ 483366 w 715216"/>
                <a:gd name="connsiteY71" fmla="*/ 502316 h 687237"/>
                <a:gd name="connsiteX72" fmla="*/ 353570 w 715216"/>
                <a:gd name="connsiteY72" fmla="*/ 379760 h 687237"/>
                <a:gd name="connsiteX73" fmla="*/ 231017 w 715216"/>
                <a:gd name="connsiteY73" fmla="*/ 502316 h 687237"/>
                <a:gd name="connsiteX74" fmla="*/ 158174 w 715216"/>
                <a:gd name="connsiteY74" fmla="*/ 502316 h 687237"/>
                <a:gd name="connsiteX75" fmla="*/ 158174 w 715216"/>
                <a:gd name="connsiteY75" fmla="*/ 485874 h 687237"/>
                <a:gd name="connsiteX76" fmla="*/ 193034 w 715216"/>
                <a:gd name="connsiteY76" fmla="*/ 475468 h 687237"/>
                <a:gd name="connsiteX77" fmla="*/ 205314 w 715216"/>
                <a:gd name="connsiteY77" fmla="*/ 462148 h 687237"/>
                <a:gd name="connsiteX78" fmla="*/ 205314 w 715216"/>
                <a:gd name="connsiteY78" fmla="*/ 460378 h 687237"/>
                <a:gd name="connsiteX79" fmla="*/ 207187 w 715216"/>
                <a:gd name="connsiteY79" fmla="*/ 454967 h 687237"/>
                <a:gd name="connsiteX80" fmla="*/ 208644 w 715216"/>
                <a:gd name="connsiteY80" fmla="*/ 450805 h 687237"/>
                <a:gd name="connsiteX81" fmla="*/ 210517 w 715216"/>
                <a:gd name="connsiteY81" fmla="*/ 445914 h 687237"/>
                <a:gd name="connsiteX82" fmla="*/ 212598 w 715216"/>
                <a:gd name="connsiteY82" fmla="*/ 441231 h 687237"/>
                <a:gd name="connsiteX83" fmla="*/ 214575 w 715216"/>
                <a:gd name="connsiteY83" fmla="*/ 436964 h 687237"/>
                <a:gd name="connsiteX84" fmla="*/ 217177 w 715216"/>
                <a:gd name="connsiteY84" fmla="*/ 431657 h 687237"/>
                <a:gd name="connsiteX85" fmla="*/ 218529 w 715216"/>
                <a:gd name="connsiteY85" fmla="*/ 429368 h 687237"/>
                <a:gd name="connsiteX86" fmla="*/ 219050 w 715216"/>
                <a:gd name="connsiteY86" fmla="*/ 412197 h 687237"/>
                <a:gd name="connsiteX87" fmla="*/ 447985 w 715216"/>
                <a:gd name="connsiteY87" fmla="*/ 502420 h 687237"/>
                <a:gd name="connsiteX88" fmla="*/ 266918 w 715216"/>
                <a:gd name="connsiteY88" fmla="*/ 502420 h 687237"/>
                <a:gd name="connsiteX89" fmla="*/ 360574 w 715216"/>
                <a:gd name="connsiteY89" fmla="*/ 414903 h 687237"/>
                <a:gd name="connsiteX90" fmla="*/ 448089 w 715216"/>
                <a:gd name="connsiteY90" fmla="*/ 502420 h 687237"/>
                <a:gd name="connsiteX91" fmla="*/ 638314 w 715216"/>
                <a:gd name="connsiteY91" fmla="*/ 502420 h 687237"/>
                <a:gd name="connsiteX92" fmla="*/ 592423 w 715216"/>
                <a:gd name="connsiteY92" fmla="*/ 502420 h 687237"/>
                <a:gd name="connsiteX93" fmla="*/ 592423 w 715216"/>
                <a:gd name="connsiteY93" fmla="*/ 472762 h 687237"/>
                <a:gd name="connsiteX94" fmla="*/ 579728 w 715216"/>
                <a:gd name="connsiteY94" fmla="*/ 455696 h 687237"/>
                <a:gd name="connsiteX95" fmla="*/ 541225 w 715216"/>
                <a:gd name="connsiteY95" fmla="*/ 444145 h 687237"/>
                <a:gd name="connsiteX96" fmla="*/ 541225 w 715216"/>
                <a:gd name="connsiteY96" fmla="*/ 443208 h 687237"/>
                <a:gd name="connsiteX97" fmla="*/ 539664 w 715216"/>
                <a:gd name="connsiteY97" fmla="*/ 438837 h 687237"/>
                <a:gd name="connsiteX98" fmla="*/ 537166 w 715216"/>
                <a:gd name="connsiteY98" fmla="*/ 432385 h 687237"/>
                <a:gd name="connsiteX99" fmla="*/ 534357 w 715216"/>
                <a:gd name="connsiteY99" fmla="*/ 425933 h 687237"/>
                <a:gd name="connsiteX100" fmla="*/ 531859 w 715216"/>
                <a:gd name="connsiteY100" fmla="*/ 422083 h 687237"/>
                <a:gd name="connsiteX101" fmla="*/ 531859 w 715216"/>
                <a:gd name="connsiteY101" fmla="*/ 421355 h 687237"/>
                <a:gd name="connsiteX102" fmla="*/ 550902 w 715216"/>
                <a:gd name="connsiteY102" fmla="*/ 385973 h 687237"/>
                <a:gd name="connsiteX103" fmla="*/ 547781 w 715216"/>
                <a:gd name="connsiteY103" fmla="*/ 365160 h 687237"/>
                <a:gd name="connsiteX104" fmla="*/ 499808 w 715216"/>
                <a:gd name="connsiteY104" fmla="*/ 317083 h 687237"/>
                <a:gd name="connsiteX105" fmla="*/ 487217 w 715216"/>
                <a:gd name="connsiteY105" fmla="*/ 311879 h 687237"/>
                <a:gd name="connsiteX106" fmla="*/ 478788 w 715216"/>
                <a:gd name="connsiteY106" fmla="*/ 314065 h 687237"/>
                <a:gd name="connsiteX107" fmla="*/ 443407 w 715216"/>
                <a:gd name="connsiteY107" fmla="*/ 333109 h 687237"/>
                <a:gd name="connsiteX108" fmla="*/ 442262 w 715216"/>
                <a:gd name="connsiteY108" fmla="*/ 332588 h 687237"/>
                <a:gd name="connsiteX109" fmla="*/ 438516 w 715216"/>
                <a:gd name="connsiteY109" fmla="*/ 330819 h 687237"/>
                <a:gd name="connsiteX110" fmla="*/ 431960 w 715216"/>
                <a:gd name="connsiteY110" fmla="*/ 327801 h 687237"/>
                <a:gd name="connsiteX111" fmla="*/ 425196 w 715216"/>
                <a:gd name="connsiteY111" fmla="*/ 325304 h 687237"/>
                <a:gd name="connsiteX112" fmla="*/ 421242 w 715216"/>
                <a:gd name="connsiteY112" fmla="*/ 323847 h 687237"/>
                <a:gd name="connsiteX113" fmla="*/ 420201 w 715216"/>
                <a:gd name="connsiteY113" fmla="*/ 323847 h 687237"/>
                <a:gd name="connsiteX114" fmla="*/ 408650 w 715216"/>
                <a:gd name="connsiteY114" fmla="*/ 285239 h 687237"/>
                <a:gd name="connsiteX115" fmla="*/ 391584 w 715216"/>
                <a:gd name="connsiteY115" fmla="*/ 272647 h 687237"/>
                <a:gd name="connsiteX116" fmla="*/ 323736 w 715216"/>
                <a:gd name="connsiteY116" fmla="*/ 272647 h 687237"/>
                <a:gd name="connsiteX117" fmla="*/ 306774 w 715216"/>
                <a:gd name="connsiteY117" fmla="*/ 285239 h 687237"/>
                <a:gd name="connsiteX118" fmla="*/ 295223 w 715216"/>
                <a:gd name="connsiteY118" fmla="*/ 323847 h 687237"/>
                <a:gd name="connsiteX119" fmla="*/ 294182 w 715216"/>
                <a:gd name="connsiteY119" fmla="*/ 323847 h 687237"/>
                <a:gd name="connsiteX120" fmla="*/ 290020 w 715216"/>
                <a:gd name="connsiteY120" fmla="*/ 325304 h 687237"/>
                <a:gd name="connsiteX121" fmla="*/ 283360 w 715216"/>
                <a:gd name="connsiteY121" fmla="*/ 327801 h 687237"/>
                <a:gd name="connsiteX122" fmla="*/ 276804 w 715216"/>
                <a:gd name="connsiteY122" fmla="*/ 330819 h 687237"/>
                <a:gd name="connsiteX123" fmla="*/ 272954 w 715216"/>
                <a:gd name="connsiteY123" fmla="*/ 332692 h 687237"/>
                <a:gd name="connsiteX124" fmla="*/ 272017 w 715216"/>
                <a:gd name="connsiteY124" fmla="*/ 332692 h 687237"/>
                <a:gd name="connsiteX125" fmla="*/ 236532 w 715216"/>
                <a:gd name="connsiteY125" fmla="*/ 313648 h 687237"/>
                <a:gd name="connsiteX126" fmla="*/ 228103 w 715216"/>
                <a:gd name="connsiteY126" fmla="*/ 311463 h 687237"/>
                <a:gd name="connsiteX127" fmla="*/ 215512 w 715216"/>
                <a:gd name="connsiteY127" fmla="*/ 316666 h 687237"/>
                <a:gd name="connsiteX128" fmla="*/ 167643 w 715216"/>
                <a:gd name="connsiteY128" fmla="*/ 364432 h 687237"/>
                <a:gd name="connsiteX129" fmla="*/ 164626 w 715216"/>
                <a:gd name="connsiteY129" fmla="*/ 385244 h 687237"/>
                <a:gd name="connsiteX130" fmla="*/ 183669 w 715216"/>
                <a:gd name="connsiteY130" fmla="*/ 420626 h 687237"/>
                <a:gd name="connsiteX131" fmla="*/ 183044 w 715216"/>
                <a:gd name="connsiteY131" fmla="*/ 421771 h 687237"/>
                <a:gd name="connsiteX132" fmla="*/ 181380 w 715216"/>
                <a:gd name="connsiteY132" fmla="*/ 425413 h 687237"/>
                <a:gd name="connsiteX133" fmla="*/ 178362 w 715216"/>
                <a:gd name="connsiteY133" fmla="*/ 432073 h 687237"/>
                <a:gd name="connsiteX134" fmla="*/ 175864 w 715216"/>
                <a:gd name="connsiteY134" fmla="*/ 438733 h 687237"/>
                <a:gd name="connsiteX135" fmla="*/ 174511 w 715216"/>
                <a:gd name="connsiteY135" fmla="*/ 442479 h 687237"/>
                <a:gd name="connsiteX136" fmla="*/ 174511 w 715216"/>
                <a:gd name="connsiteY136" fmla="*/ 443728 h 687237"/>
                <a:gd name="connsiteX137" fmla="*/ 174511 w 715216"/>
                <a:gd name="connsiteY137" fmla="*/ 443728 h 687237"/>
                <a:gd name="connsiteX138" fmla="*/ 136009 w 715216"/>
                <a:gd name="connsiteY138" fmla="*/ 455279 h 687237"/>
                <a:gd name="connsiteX139" fmla="*/ 123313 w 715216"/>
                <a:gd name="connsiteY139" fmla="*/ 472346 h 687237"/>
                <a:gd name="connsiteX140" fmla="*/ 123313 w 715216"/>
                <a:gd name="connsiteY140" fmla="*/ 502004 h 687237"/>
                <a:gd name="connsiteX141" fmla="*/ 77422 w 715216"/>
                <a:gd name="connsiteY141" fmla="*/ 502004 h 687237"/>
                <a:gd name="connsiteX142" fmla="*/ 77422 w 715216"/>
                <a:gd name="connsiteY142" fmla="*/ 252251 h 687237"/>
                <a:gd name="connsiteX143" fmla="*/ 86787 w 715216"/>
                <a:gd name="connsiteY143" fmla="*/ 252875 h 687237"/>
                <a:gd name="connsiteX144" fmla="*/ 154740 w 715216"/>
                <a:gd name="connsiteY144" fmla="*/ 219263 h 687237"/>
                <a:gd name="connsiteX145" fmla="*/ 274400 w 715216"/>
                <a:gd name="connsiteY145" fmla="*/ 234882 h 687237"/>
                <a:gd name="connsiteX146" fmla="*/ 290020 w 715216"/>
                <a:gd name="connsiteY146" fmla="*/ 219263 h 687237"/>
                <a:gd name="connsiteX147" fmla="*/ 409774 w 715216"/>
                <a:gd name="connsiteY147" fmla="*/ 235309 h 687237"/>
                <a:gd name="connsiteX148" fmla="*/ 425820 w 715216"/>
                <a:gd name="connsiteY148" fmla="*/ 219263 h 687237"/>
                <a:gd name="connsiteX149" fmla="*/ 545647 w 715216"/>
                <a:gd name="connsiteY149" fmla="*/ 234716 h 687237"/>
                <a:gd name="connsiteX150" fmla="*/ 561100 w 715216"/>
                <a:gd name="connsiteY150" fmla="*/ 219263 h 687237"/>
                <a:gd name="connsiteX151" fmla="*/ 628949 w 715216"/>
                <a:gd name="connsiteY151" fmla="*/ 252875 h 687237"/>
                <a:gd name="connsiteX152" fmla="*/ 638314 w 715216"/>
                <a:gd name="connsiteY152" fmla="*/ 252251 h 687237"/>
                <a:gd name="connsiteX153" fmla="*/ 174928 w 715216"/>
                <a:gd name="connsiteY153" fmla="*/ 185026 h 687237"/>
                <a:gd name="connsiteX154" fmla="*/ 268583 w 715216"/>
                <a:gd name="connsiteY154" fmla="*/ 185026 h 687237"/>
                <a:gd name="connsiteX155" fmla="*/ 204377 w 715216"/>
                <a:gd name="connsiteY155" fmla="*/ 214475 h 687237"/>
                <a:gd name="connsiteX156" fmla="*/ 174928 w 715216"/>
                <a:gd name="connsiteY156" fmla="*/ 185026 h 687237"/>
                <a:gd name="connsiteX157" fmla="*/ 310208 w 715216"/>
                <a:gd name="connsiteY157" fmla="*/ 185026 h 687237"/>
                <a:gd name="connsiteX158" fmla="*/ 403863 w 715216"/>
                <a:gd name="connsiteY158" fmla="*/ 185026 h 687237"/>
                <a:gd name="connsiteX159" fmla="*/ 339959 w 715216"/>
                <a:gd name="connsiteY159" fmla="*/ 214777 h 687237"/>
                <a:gd name="connsiteX160" fmla="*/ 310208 w 715216"/>
                <a:gd name="connsiteY160" fmla="*/ 185026 h 687237"/>
                <a:gd name="connsiteX161" fmla="*/ 446008 w 715216"/>
                <a:gd name="connsiteY161" fmla="*/ 185026 h 687237"/>
                <a:gd name="connsiteX162" fmla="*/ 539664 w 715216"/>
                <a:gd name="connsiteY162" fmla="*/ 185026 h 687237"/>
                <a:gd name="connsiteX163" fmla="*/ 475759 w 715216"/>
                <a:gd name="connsiteY163" fmla="*/ 214777 h 687237"/>
                <a:gd name="connsiteX164" fmla="*/ 446008 w 715216"/>
                <a:gd name="connsiteY164" fmla="*/ 185026 h 687237"/>
                <a:gd name="connsiteX165" fmla="*/ 628428 w 715216"/>
                <a:gd name="connsiteY165" fmla="*/ 217389 h 687237"/>
                <a:gd name="connsiteX166" fmla="*/ 581705 w 715216"/>
                <a:gd name="connsiteY166" fmla="*/ 185026 h 687237"/>
                <a:gd name="connsiteX167" fmla="*/ 675360 w 715216"/>
                <a:gd name="connsiteY167" fmla="*/ 185026 h 687237"/>
                <a:gd name="connsiteX168" fmla="*/ 629053 w 715216"/>
                <a:gd name="connsiteY168" fmla="*/ 217285 h 687237"/>
                <a:gd name="connsiteX169" fmla="*/ 84290 w 715216"/>
                <a:gd name="connsiteY169" fmla="*/ 35694 h 687237"/>
                <a:gd name="connsiteX170" fmla="*/ 629573 w 715216"/>
                <a:gd name="connsiteY170" fmla="*/ 35694 h 687237"/>
                <a:gd name="connsiteX171" fmla="*/ 671198 w 715216"/>
                <a:gd name="connsiteY171" fmla="*/ 149436 h 687237"/>
                <a:gd name="connsiteX172" fmla="*/ 43498 w 715216"/>
                <a:gd name="connsiteY172" fmla="*/ 149436 h 687237"/>
                <a:gd name="connsiteX173" fmla="*/ 38711 w 715216"/>
                <a:gd name="connsiteY173" fmla="*/ 185026 h 687237"/>
                <a:gd name="connsiteX174" fmla="*/ 132366 w 715216"/>
                <a:gd name="connsiteY174" fmla="*/ 185026 h 687237"/>
                <a:gd name="connsiteX175" fmla="*/ 68462 w 715216"/>
                <a:gd name="connsiteY175" fmla="*/ 214777 h 687237"/>
                <a:gd name="connsiteX176" fmla="*/ 38711 w 715216"/>
                <a:gd name="connsiteY176" fmla="*/ 185026 h 687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</a:cxnLst>
              <a:rect l="l" t="t" r="r" b="b"/>
              <a:pathLst>
                <a:path w="715216" h="687237">
                  <a:moveTo>
                    <a:pt x="58795" y="687238"/>
                  </a:moveTo>
                  <a:lnTo>
                    <a:pt x="656733" y="687238"/>
                  </a:lnTo>
                  <a:cubicBezTo>
                    <a:pt x="666557" y="687238"/>
                    <a:pt x="674528" y="679266"/>
                    <a:pt x="674528" y="669443"/>
                  </a:cubicBezTo>
                  <a:lnTo>
                    <a:pt x="674528" y="239971"/>
                  </a:lnTo>
                  <a:cubicBezTo>
                    <a:pt x="699804" y="224383"/>
                    <a:pt x="715195" y="196816"/>
                    <a:pt x="715216" y="167127"/>
                  </a:cubicBezTo>
                  <a:cubicBezTo>
                    <a:pt x="715237" y="165066"/>
                    <a:pt x="714883" y="163026"/>
                    <a:pt x="714175" y="161091"/>
                  </a:cubicBezTo>
                  <a:lnTo>
                    <a:pt x="659855" y="11759"/>
                  </a:lnTo>
                  <a:cubicBezTo>
                    <a:pt x="657264" y="4735"/>
                    <a:pt x="650583" y="52"/>
                    <a:pt x="643101" y="0"/>
                  </a:cubicBezTo>
                  <a:lnTo>
                    <a:pt x="72427" y="0"/>
                  </a:lnTo>
                  <a:cubicBezTo>
                    <a:pt x="64945" y="52"/>
                    <a:pt x="58275" y="4735"/>
                    <a:pt x="55673" y="11759"/>
                  </a:cubicBezTo>
                  <a:lnTo>
                    <a:pt x="1145" y="161091"/>
                  </a:lnTo>
                  <a:cubicBezTo>
                    <a:pt x="406" y="163016"/>
                    <a:pt x="21" y="165066"/>
                    <a:pt x="0" y="167127"/>
                  </a:cubicBezTo>
                  <a:cubicBezTo>
                    <a:pt x="21" y="196847"/>
                    <a:pt x="15464" y="224424"/>
                    <a:pt x="40792" y="239971"/>
                  </a:cubicBezTo>
                  <a:lnTo>
                    <a:pt x="40792" y="669443"/>
                  </a:lnTo>
                  <a:cubicBezTo>
                    <a:pt x="40730" y="679214"/>
                    <a:pt x="48607" y="687185"/>
                    <a:pt x="58379" y="687238"/>
                  </a:cubicBezTo>
                  <a:cubicBezTo>
                    <a:pt x="58514" y="687238"/>
                    <a:pt x="58659" y="687238"/>
                    <a:pt x="58795" y="687238"/>
                  </a:cubicBezTo>
                  <a:close/>
                  <a:moveTo>
                    <a:pt x="638418" y="651648"/>
                  </a:moveTo>
                  <a:lnTo>
                    <a:pt x="76485" y="651648"/>
                  </a:lnTo>
                  <a:lnTo>
                    <a:pt x="76485" y="537906"/>
                  </a:lnTo>
                  <a:lnTo>
                    <a:pt x="638418" y="537906"/>
                  </a:lnTo>
                  <a:close/>
                  <a:moveTo>
                    <a:pt x="219050" y="412301"/>
                  </a:moveTo>
                  <a:lnTo>
                    <a:pt x="201880" y="380457"/>
                  </a:lnTo>
                  <a:lnTo>
                    <a:pt x="231121" y="351216"/>
                  </a:lnTo>
                  <a:lnTo>
                    <a:pt x="263172" y="368490"/>
                  </a:lnTo>
                  <a:cubicBezTo>
                    <a:pt x="265773" y="369853"/>
                    <a:pt x="268666" y="370561"/>
                    <a:pt x="271601" y="370571"/>
                  </a:cubicBezTo>
                  <a:cubicBezTo>
                    <a:pt x="274587" y="370592"/>
                    <a:pt x="277522" y="369833"/>
                    <a:pt x="280134" y="368386"/>
                  </a:cubicBezTo>
                  <a:lnTo>
                    <a:pt x="282840" y="366929"/>
                  </a:lnTo>
                  <a:lnTo>
                    <a:pt x="287626" y="364536"/>
                  </a:lnTo>
                  <a:lnTo>
                    <a:pt x="291997" y="362454"/>
                  </a:lnTo>
                  <a:lnTo>
                    <a:pt x="296784" y="360269"/>
                  </a:lnTo>
                  <a:lnTo>
                    <a:pt x="300946" y="358708"/>
                  </a:lnTo>
                  <a:lnTo>
                    <a:pt x="301571" y="358708"/>
                  </a:lnTo>
                  <a:lnTo>
                    <a:pt x="306149" y="357043"/>
                  </a:lnTo>
                  <a:lnTo>
                    <a:pt x="311561" y="355170"/>
                  </a:lnTo>
                  <a:lnTo>
                    <a:pt x="314058" y="354546"/>
                  </a:lnTo>
                  <a:cubicBezTo>
                    <a:pt x="319969" y="352922"/>
                    <a:pt x="324610" y="348354"/>
                    <a:pt x="326337" y="342474"/>
                  </a:cubicBezTo>
                  <a:lnTo>
                    <a:pt x="336744" y="307613"/>
                  </a:lnTo>
                  <a:lnTo>
                    <a:pt x="378368" y="307613"/>
                  </a:lnTo>
                  <a:lnTo>
                    <a:pt x="388774" y="342474"/>
                  </a:lnTo>
                  <a:cubicBezTo>
                    <a:pt x="390928" y="348562"/>
                    <a:pt x="395955" y="353203"/>
                    <a:pt x="402198" y="354858"/>
                  </a:cubicBezTo>
                  <a:lnTo>
                    <a:pt x="403759" y="354858"/>
                  </a:lnTo>
                  <a:lnTo>
                    <a:pt x="409066" y="356731"/>
                  </a:lnTo>
                  <a:lnTo>
                    <a:pt x="413437" y="358292"/>
                  </a:lnTo>
                  <a:lnTo>
                    <a:pt x="414165" y="358292"/>
                  </a:lnTo>
                  <a:cubicBezTo>
                    <a:pt x="415518" y="358812"/>
                    <a:pt x="416975" y="359228"/>
                    <a:pt x="418328" y="359853"/>
                  </a:cubicBezTo>
                  <a:lnTo>
                    <a:pt x="422803" y="361934"/>
                  </a:lnTo>
                  <a:lnTo>
                    <a:pt x="427277" y="364016"/>
                  </a:lnTo>
                  <a:cubicBezTo>
                    <a:pt x="429358" y="364952"/>
                    <a:pt x="430919" y="365680"/>
                    <a:pt x="432376" y="366513"/>
                  </a:cubicBezTo>
                  <a:lnTo>
                    <a:pt x="433625" y="367137"/>
                  </a:lnTo>
                  <a:lnTo>
                    <a:pt x="433625" y="367137"/>
                  </a:lnTo>
                  <a:lnTo>
                    <a:pt x="435082" y="367970"/>
                  </a:lnTo>
                  <a:cubicBezTo>
                    <a:pt x="437652" y="369437"/>
                    <a:pt x="440555" y="370186"/>
                    <a:pt x="443511" y="370155"/>
                  </a:cubicBezTo>
                  <a:cubicBezTo>
                    <a:pt x="446445" y="370176"/>
                    <a:pt x="449349" y="369458"/>
                    <a:pt x="451940" y="368074"/>
                  </a:cubicBezTo>
                  <a:lnTo>
                    <a:pt x="483991" y="350799"/>
                  </a:lnTo>
                  <a:lnTo>
                    <a:pt x="513336" y="380041"/>
                  </a:lnTo>
                  <a:lnTo>
                    <a:pt x="496062" y="412093"/>
                  </a:lnTo>
                  <a:cubicBezTo>
                    <a:pt x="493159" y="417369"/>
                    <a:pt x="493159" y="423779"/>
                    <a:pt x="496062" y="429055"/>
                  </a:cubicBezTo>
                  <a:lnTo>
                    <a:pt x="497519" y="431761"/>
                  </a:lnTo>
                  <a:cubicBezTo>
                    <a:pt x="498351" y="433218"/>
                    <a:pt x="499080" y="434883"/>
                    <a:pt x="499808" y="436444"/>
                  </a:cubicBezTo>
                  <a:lnTo>
                    <a:pt x="501993" y="441127"/>
                  </a:lnTo>
                  <a:cubicBezTo>
                    <a:pt x="502826" y="442896"/>
                    <a:pt x="503554" y="444249"/>
                    <a:pt x="504179" y="445810"/>
                  </a:cubicBezTo>
                  <a:cubicBezTo>
                    <a:pt x="504803" y="447370"/>
                    <a:pt x="505219" y="448515"/>
                    <a:pt x="505636" y="449868"/>
                  </a:cubicBezTo>
                  <a:lnTo>
                    <a:pt x="507613" y="455175"/>
                  </a:lnTo>
                  <a:cubicBezTo>
                    <a:pt x="508237" y="456944"/>
                    <a:pt x="508861" y="458610"/>
                    <a:pt x="509382" y="460378"/>
                  </a:cubicBezTo>
                  <a:lnTo>
                    <a:pt x="509382" y="461731"/>
                  </a:lnTo>
                  <a:lnTo>
                    <a:pt x="509382" y="461731"/>
                  </a:lnTo>
                  <a:lnTo>
                    <a:pt x="509382" y="462564"/>
                  </a:lnTo>
                  <a:lnTo>
                    <a:pt x="509382" y="463292"/>
                  </a:lnTo>
                  <a:cubicBezTo>
                    <a:pt x="511057" y="469151"/>
                    <a:pt x="515615" y="473740"/>
                    <a:pt x="521453" y="475468"/>
                  </a:cubicBezTo>
                  <a:lnTo>
                    <a:pt x="556210" y="485874"/>
                  </a:lnTo>
                  <a:lnTo>
                    <a:pt x="556210" y="502316"/>
                  </a:lnTo>
                  <a:lnTo>
                    <a:pt x="483366" y="502316"/>
                  </a:lnTo>
                  <a:cubicBezTo>
                    <a:pt x="481368" y="432635"/>
                    <a:pt x="423250" y="377762"/>
                    <a:pt x="353570" y="379760"/>
                  </a:cubicBezTo>
                  <a:cubicBezTo>
                    <a:pt x="286700" y="381686"/>
                    <a:pt x="232942" y="435445"/>
                    <a:pt x="231017" y="502316"/>
                  </a:cubicBezTo>
                  <a:lnTo>
                    <a:pt x="158174" y="502316"/>
                  </a:lnTo>
                  <a:lnTo>
                    <a:pt x="158174" y="485874"/>
                  </a:lnTo>
                  <a:lnTo>
                    <a:pt x="193034" y="475468"/>
                  </a:lnTo>
                  <a:cubicBezTo>
                    <a:pt x="199091" y="473355"/>
                    <a:pt x="203701" y="468360"/>
                    <a:pt x="205314" y="462148"/>
                  </a:cubicBezTo>
                  <a:lnTo>
                    <a:pt x="205314" y="460378"/>
                  </a:lnTo>
                  <a:cubicBezTo>
                    <a:pt x="205844" y="458547"/>
                    <a:pt x="206469" y="456736"/>
                    <a:pt x="207187" y="454967"/>
                  </a:cubicBezTo>
                  <a:lnTo>
                    <a:pt x="208644" y="450805"/>
                  </a:lnTo>
                  <a:cubicBezTo>
                    <a:pt x="209372" y="448828"/>
                    <a:pt x="209892" y="447267"/>
                    <a:pt x="210517" y="445914"/>
                  </a:cubicBezTo>
                  <a:cubicBezTo>
                    <a:pt x="211141" y="444561"/>
                    <a:pt x="211870" y="442792"/>
                    <a:pt x="212598" y="441231"/>
                  </a:cubicBezTo>
                  <a:lnTo>
                    <a:pt x="214575" y="436964"/>
                  </a:lnTo>
                  <a:lnTo>
                    <a:pt x="217177" y="431657"/>
                  </a:lnTo>
                  <a:lnTo>
                    <a:pt x="218529" y="429368"/>
                  </a:lnTo>
                  <a:cubicBezTo>
                    <a:pt x="221662" y="424123"/>
                    <a:pt x="221849" y="417629"/>
                    <a:pt x="219050" y="412197"/>
                  </a:cubicBezTo>
                  <a:close/>
                  <a:moveTo>
                    <a:pt x="447985" y="502420"/>
                  </a:moveTo>
                  <a:lnTo>
                    <a:pt x="266918" y="502420"/>
                  </a:lnTo>
                  <a:cubicBezTo>
                    <a:pt x="268614" y="452386"/>
                    <a:pt x="310541" y="413206"/>
                    <a:pt x="360574" y="414903"/>
                  </a:cubicBezTo>
                  <a:cubicBezTo>
                    <a:pt x="408224" y="416516"/>
                    <a:pt x="446477" y="454769"/>
                    <a:pt x="448089" y="502420"/>
                  </a:cubicBezTo>
                  <a:close/>
                  <a:moveTo>
                    <a:pt x="638314" y="502420"/>
                  </a:moveTo>
                  <a:lnTo>
                    <a:pt x="592423" y="502420"/>
                  </a:lnTo>
                  <a:lnTo>
                    <a:pt x="592423" y="472762"/>
                  </a:lnTo>
                  <a:cubicBezTo>
                    <a:pt x="592361" y="464916"/>
                    <a:pt x="587230" y="458006"/>
                    <a:pt x="579728" y="455696"/>
                  </a:cubicBezTo>
                  <a:lnTo>
                    <a:pt x="541225" y="444145"/>
                  </a:lnTo>
                  <a:lnTo>
                    <a:pt x="541225" y="443208"/>
                  </a:lnTo>
                  <a:lnTo>
                    <a:pt x="539664" y="438837"/>
                  </a:lnTo>
                  <a:cubicBezTo>
                    <a:pt x="538831" y="436652"/>
                    <a:pt x="538103" y="434467"/>
                    <a:pt x="537166" y="432385"/>
                  </a:cubicBezTo>
                  <a:cubicBezTo>
                    <a:pt x="536230" y="430304"/>
                    <a:pt x="535293" y="428119"/>
                    <a:pt x="534357" y="425933"/>
                  </a:cubicBezTo>
                  <a:lnTo>
                    <a:pt x="531859" y="422083"/>
                  </a:lnTo>
                  <a:lnTo>
                    <a:pt x="531859" y="421355"/>
                  </a:lnTo>
                  <a:lnTo>
                    <a:pt x="550902" y="385973"/>
                  </a:lnTo>
                  <a:cubicBezTo>
                    <a:pt x="554451" y="379084"/>
                    <a:pt x="553192" y="370707"/>
                    <a:pt x="547781" y="365160"/>
                  </a:cubicBezTo>
                  <a:lnTo>
                    <a:pt x="499808" y="317083"/>
                  </a:lnTo>
                  <a:cubicBezTo>
                    <a:pt x="496447" y="313773"/>
                    <a:pt x="491931" y="311911"/>
                    <a:pt x="487217" y="311879"/>
                  </a:cubicBezTo>
                  <a:cubicBezTo>
                    <a:pt x="484261" y="311879"/>
                    <a:pt x="481368" y="312629"/>
                    <a:pt x="478788" y="314065"/>
                  </a:cubicBezTo>
                  <a:lnTo>
                    <a:pt x="443407" y="333109"/>
                  </a:lnTo>
                  <a:lnTo>
                    <a:pt x="442262" y="332588"/>
                  </a:lnTo>
                  <a:lnTo>
                    <a:pt x="438516" y="330819"/>
                  </a:lnTo>
                  <a:cubicBezTo>
                    <a:pt x="436331" y="329778"/>
                    <a:pt x="434249" y="328738"/>
                    <a:pt x="431960" y="327801"/>
                  </a:cubicBezTo>
                  <a:cubicBezTo>
                    <a:pt x="429671" y="326865"/>
                    <a:pt x="427485" y="326136"/>
                    <a:pt x="425196" y="325304"/>
                  </a:cubicBezTo>
                  <a:lnTo>
                    <a:pt x="421242" y="323847"/>
                  </a:lnTo>
                  <a:lnTo>
                    <a:pt x="420201" y="323847"/>
                  </a:lnTo>
                  <a:lnTo>
                    <a:pt x="408650" y="285239"/>
                  </a:lnTo>
                  <a:cubicBezTo>
                    <a:pt x="406298" y="277778"/>
                    <a:pt x="399399" y="272689"/>
                    <a:pt x="391584" y="272647"/>
                  </a:cubicBezTo>
                  <a:lnTo>
                    <a:pt x="323736" y="272647"/>
                  </a:lnTo>
                  <a:cubicBezTo>
                    <a:pt x="315921" y="272637"/>
                    <a:pt x="309021" y="277757"/>
                    <a:pt x="306774" y="285239"/>
                  </a:cubicBezTo>
                  <a:lnTo>
                    <a:pt x="295223" y="323847"/>
                  </a:lnTo>
                  <a:lnTo>
                    <a:pt x="294182" y="323847"/>
                  </a:lnTo>
                  <a:lnTo>
                    <a:pt x="290020" y="325304"/>
                  </a:lnTo>
                  <a:cubicBezTo>
                    <a:pt x="287730" y="326136"/>
                    <a:pt x="285545" y="326865"/>
                    <a:pt x="283360" y="327801"/>
                  </a:cubicBezTo>
                  <a:cubicBezTo>
                    <a:pt x="281175" y="328738"/>
                    <a:pt x="278885" y="329778"/>
                    <a:pt x="276804" y="330819"/>
                  </a:cubicBezTo>
                  <a:lnTo>
                    <a:pt x="272954" y="332692"/>
                  </a:lnTo>
                  <a:lnTo>
                    <a:pt x="272017" y="332692"/>
                  </a:lnTo>
                  <a:lnTo>
                    <a:pt x="236532" y="313648"/>
                  </a:lnTo>
                  <a:cubicBezTo>
                    <a:pt x="233962" y="312181"/>
                    <a:pt x="231058" y="311432"/>
                    <a:pt x="228103" y="311463"/>
                  </a:cubicBezTo>
                  <a:cubicBezTo>
                    <a:pt x="223389" y="311494"/>
                    <a:pt x="218873" y="313357"/>
                    <a:pt x="215512" y="316666"/>
                  </a:cubicBezTo>
                  <a:lnTo>
                    <a:pt x="167643" y="364432"/>
                  </a:lnTo>
                  <a:cubicBezTo>
                    <a:pt x="162211" y="369968"/>
                    <a:pt x="160983" y="378387"/>
                    <a:pt x="164626" y="385244"/>
                  </a:cubicBezTo>
                  <a:lnTo>
                    <a:pt x="183669" y="420626"/>
                  </a:lnTo>
                  <a:lnTo>
                    <a:pt x="183044" y="421771"/>
                  </a:lnTo>
                  <a:lnTo>
                    <a:pt x="181380" y="425413"/>
                  </a:lnTo>
                  <a:cubicBezTo>
                    <a:pt x="180339" y="427598"/>
                    <a:pt x="179298" y="429784"/>
                    <a:pt x="178362" y="432073"/>
                  </a:cubicBezTo>
                  <a:cubicBezTo>
                    <a:pt x="177425" y="434362"/>
                    <a:pt x="176697" y="436444"/>
                    <a:pt x="175864" y="438733"/>
                  </a:cubicBezTo>
                  <a:lnTo>
                    <a:pt x="174511" y="442479"/>
                  </a:lnTo>
                  <a:lnTo>
                    <a:pt x="174511" y="443728"/>
                  </a:lnTo>
                  <a:lnTo>
                    <a:pt x="174511" y="443728"/>
                  </a:lnTo>
                  <a:lnTo>
                    <a:pt x="136009" y="455279"/>
                  </a:lnTo>
                  <a:cubicBezTo>
                    <a:pt x="128506" y="457589"/>
                    <a:pt x="123376" y="464499"/>
                    <a:pt x="123313" y="472346"/>
                  </a:cubicBezTo>
                  <a:lnTo>
                    <a:pt x="123313" y="502004"/>
                  </a:lnTo>
                  <a:lnTo>
                    <a:pt x="77422" y="502004"/>
                  </a:lnTo>
                  <a:lnTo>
                    <a:pt x="77422" y="252251"/>
                  </a:lnTo>
                  <a:cubicBezTo>
                    <a:pt x="80523" y="252667"/>
                    <a:pt x="83655" y="252875"/>
                    <a:pt x="86787" y="252875"/>
                  </a:cubicBezTo>
                  <a:cubicBezTo>
                    <a:pt x="113438" y="252854"/>
                    <a:pt x="138548" y="240429"/>
                    <a:pt x="154740" y="219263"/>
                  </a:cubicBezTo>
                  <a:cubicBezTo>
                    <a:pt x="183471" y="256622"/>
                    <a:pt x="237042" y="263615"/>
                    <a:pt x="274400" y="234882"/>
                  </a:cubicBezTo>
                  <a:cubicBezTo>
                    <a:pt x="280259" y="230377"/>
                    <a:pt x="285514" y="225121"/>
                    <a:pt x="290020" y="219263"/>
                  </a:cubicBezTo>
                  <a:cubicBezTo>
                    <a:pt x="318658" y="256767"/>
                    <a:pt x="372270" y="263947"/>
                    <a:pt x="409774" y="235309"/>
                  </a:cubicBezTo>
                  <a:cubicBezTo>
                    <a:pt x="415810" y="230699"/>
                    <a:pt x="421210" y="225298"/>
                    <a:pt x="425820" y="219263"/>
                  </a:cubicBezTo>
                  <a:cubicBezTo>
                    <a:pt x="454645" y="256622"/>
                    <a:pt x="508299" y="263542"/>
                    <a:pt x="545647" y="234716"/>
                  </a:cubicBezTo>
                  <a:cubicBezTo>
                    <a:pt x="551444" y="230241"/>
                    <a:pt x="556636" y="225049"/>
                    <a:pt x="561100" y="219263"/>
                  </a:cubicBezTo>
                  <a:cubicBezTo>
                    <a:pt x="577220" y="240450"/>
                    <a:pt x="602319" y="252886"/>
                    <a:pt x="628949" y="252875"/>
                  </a:cubicBezTo>
                  <a:cubicBezTo>
                    <a:pt x="632081" y="252875"/>
                    <a:pt x="635213" y="252667"/>
                    <a:pt x="638314" y="252251"/>
                  </a:cubicBezTo>
                  <a:close/>
                  <a:moveTo>
                    <a:pt x="174928" y="185026"/>
                  </a:moveTo>
                  <a:lnTo>
                    <a:pt x="268583" y="185026"/>
                  </a:lnTo>
                  <a:cubicBezTo>
                    <a:pt x="258978" y="210885"/>
                    <a:pt x="230236" y="224070"/>
                    <a:pt x="204377" y="214475"/>
                  </a:cubicBezTo>
                  <a:cubicBezTo>
                    <a:pt x="190735" y="209408"/>
                    <a:pt x="179985" y="198658"/>
                    <a:pt x="174928" y="185026"/>
                  </a:cubicBezTo>
                  <a:close/>
                  <a:moveTo>
                    <a:pt x="310208" y="185026"/>
                  </a:moveTo>
                  <a:lnTo>
                    <a:pt x="403863" y="185026"/>
                  </a:lnTo>
                  <a:cubicBezTo>
                    <a:pt x="394425" y="210885"/>
                    <a:pt x="365818" y="224205"/>
                    <a:pt x="339959" y="214777"/>
                  </a:cubicBezTo>
                  <a:cubicBezTo>
                    <a:pt x="326140" y="209730"/>
                    <a:pt x="315244" y="198845"/>
                    <a:pt x="310208" y="185026"/>
                  </a:cubicBezTo>
                  <a:close/>
                  <a:moveTo>
                    <a:pt x="446008" y="185026"/>
                  </a:moveTo>
                  <a:lnTo>
                    <a:pt x="539664" y="185026"/>
                  </a:lnTo>
                  <a:cubicBezTo>
                    <a:pt x="530225" y="210885"/>
                    <a:pt x="501619" y="224205"/>
                    <a:pt x="475759" y="214777"/>
                  </a:cubicBezTo>
                  <a:cubicBezTo>
                    <a:pt x="461940" y="209730"/>
                    <a:pt x="451045" y="198845"/>
                    <a:pt x="446008" y="185026"/>
                  </a:cubicBezTo>
                  <a:close/>
                  <a:moveTo>
                    <a:pt x="628428" y="217389"/>
                  </a:moveTo>
                  <a:cubicBezTo>
                    <a:pt x="607668" y="217285"/>
                    <a:pt x="589104" y="204433"/>
                    <a:pt x="581705" y="185026"/>
                  </a:cubicBezTo>
                  <a:lnTo>
                    <a:pt x="675360" y="185026"/>
                  </a:lnTo>
                  <a:cubicBezTo>
                    <a:pt x="668086" y="204319"/>
                    <a:pt x="649678" y="217150"/>
                    <a:pt x="629053" y="217285"/>
                  </a:cubicBezTo>
                  <a:close/>
                  <a:moveTo>
                    <a:pt x="84290" y="35694"/>
                  </a:moveTo>
                  <a:lnTo>
                    <a:pt x="629573" y="35694"/>
                  </a:lnTo>
                  <a:lnTo>
                    <a:pt x="671198" y="149436"/>
                  </a:lnTo>
                  <a:lnTo>
                    <a:pt x="43498" y="149436"/>
                  </a:lnTo>
                  <a:close/>
                  <a:moveTo>
                    <a:pt x="38711" y="185026"/>
                  </a:moveTo>
                  <a:lnTo>
                    <a:pt x="132366" y="185026"/>
                  </a:lnTo>
                  <a:cubicBezTo>
                    <a:pt x="122928" y="210885"/>
                    <a:pt x="94321" y="224205"/>
                    <a:pt x="68462" y="214777"/>
                  </a:cubicBezTo>
                  <a:cubicBezTo>
                    <a:pt x="54643" y="209730"/>
                    <a:pt x="43747" y="198845"/>
                    <a:pt x="38711" y="185026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1" name="Freeform 140">
              <a:extLst>
                <a:ext uri="{FF2B5EF4-FFF2-40B4-BE49-F238E27FC236}">
                  <a16:creationId xmlns:a16="http://schemas.microsoft.com/office/drawing/2014/main" id="{331EC4C0-1C21-6F48-9F2E-9C6AE87A4672}"/>
                </a:ext>
              </a:extLst>
            </p:cNvPr>
            <p:cNvSpPr/>
            <p:nvPr/>
          </p:nvSpPr>
          <p:spPr>
            <a:xfrm>
              <a:off x="6133080" y="3455558"/>
              <a:ext cx="46411" cy="46412"/>
            </a:xfrm>
            <a:custGeom>
              <a:avLst/>
              <a:gdLst>
                <a:gd name="connsiteX0" fmla="*/ 0 w 46411"/>
                <a:gd name="connsiteY0" fmla="*/ 23206 h 46412"/>
                <a:gd name="connsiteX1" fmla="*/ 23206 w 46411"/>
                <a:gd name="connsiteY1" fmla="*/ 46412 h 46412"/>
                <a:gd name="connsiteX2" fmla="*/ 46411 w 46411"/>
                <a:gd name="connsiteY2" fmla="*/ 23206 h 46412"/>
                <a:gd name="connsiteX3" fmla="*/ 23206 w 46411"/>
                <a:gd name="connsiteY3" fmla="*/ 0 h 46412"/>
                <a:gd name="connsiteX4" fmla="*/ 0 w 46411"/>
                <a:gd name="connsiteY4" fmla="*/ 23206 h 46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411" h="46412">
                  <a:moveTo>
                    <a:pt x="0" y="23206"/>
                  </a:moveTo>
                  <a:cubicBezTo>
                    <a:pt x="0" y="36027"/>
                    <a:pt x="10385" y="46412"/>
                    <a:pt x="23206" y="46412"/>
                  </a:cubicBezTo>
                  <a:cubicBezTo>
                    <a:pt x="36026" y="46412"/>
                    <a:pt x="46411" y="36027"/>
                    <a:pt x="46411" y="23206"/>
                  </a:cubicBezTo>
                  <a:cubicBezTo>
                    <a:pt x="46411" y="10386"/>
                    <a:pt x="36026" y="0"/>
                    <a:pt x="23206" y="0"/>
                  </a:cubicBezTo>
                  <a:cubicBezTo>
                    <a:pt x="10385" y="0"/>
                    <a:pt x="0" y="10386"/>
                    <a:pt x="0" y="23206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2" name="Freeform 141">
              <a:extLst>
                <a:ext uri="{FF2B5EF4-FFF2-40B4-BE49-F238E27FC236}">
                  <a16:creationId xmlns:a16="http://schemas.microsoft.com/office/drawing/2014/main" id="{67B0FB67-8353-2643-9DF9-6936AD2983EA}"/>
                </a:ext>
              </a:extLst>
            </p:cNvPr>
            <p:cNvSpPr/>
            <p:nvPr/>
          </p:nvSpPr>
          <p:spPr>
            <a:xfrm>
              <a:off x="5996655" y="3004441"/>
              <a:ext cx="495292" cy="438004"/>
            </a:xfrm>
            <a:custGeom>
              <a:avLst/>
              <a:gdLst>
                <a:gd name="connsiteX0" fmla="*/ 100940 w 495292"/>
                <a:gd name="connsiteY0" fmla="*/ 89287 h 438004"/>
                <a:gd name="connsiteX1" fmla="*/ 60356 w 495292"/>
                <a:gd name="connsiteY1" fmla="*/ 60045 h 438004"/>
                <a:gd name="connsiteX2" fmla="*/ 13424 w 495292"/>
                <a:gd name="connsiteY2" fmla="*/ 60045 h 438004"/>
                <a:gd name="connsiteX3" fmla="*/ 0 w 495292"/>
                <a:gd name="connsiteY3" fmla="*/ 73469 h 438004"/>
                <a:gd name="connsiteX4" fmla="*/ 13424 w 495292"/>
                <a:gd name="connsiteY4" fmla="*/ 86893 h 438004"/>
                <a:gd name="connsiteX5" fmla="*/ 60668 w 495292"/>
                <a:gd name="connsiteY5" fmla="*/ 86893 h 438004"/>
                <a:gd name="connsiteX6" fmla="*/ 75757 w 495292"/>
                <a:gd name="connsiteY6" fmla="*/ 97300 h 438004"/>
                <a:gd name="connsiteX7" fmla="*/ 154844 w 495292"/>
                <a:gd name="connsiteY7" fmla="*/ 334773 h 438004"/>
                <a:gd name="connsiteX8" fmla="*/ 130285 w 495292"/>
                <a:gd name="connsiteY8" fmla="*/ 371612 h 438004"/>
                <a:gd name="connsiteX9" fmla="*/ 142023 w 495292"/>
                <a:gd name="connsiteY9" fmla="*/ 430804 h 438004"/>
                <a:gd name="connsiteX10" fmla="*/ 165874 w 495292"/>
                <a:gd name="connsiteY10" fmla="*/ 438005 h 438004"/>
                <a:gd name="connsiteX11" fmla="*/ 443095 w 495292"/>
                <a:gd name="connsiteY11" fmla="*/ 438005 h 438004"/>
                <a:gd name="connsiteX12" fmla="*/ 456518 w 495292"/>
                <a:gd name="connsiteY12" fmla="*/ 424581 h 438004"/>
                <a:gd name="connsiteX13" fmla="*/ 443095 w 495292"/>
                <a:gd name="connsiteY13" fmla="*/ 411156 h 438004"/>
                <a:gd name="connsiteX14" fmla="*/ 165562 w 495292"/>
                <a:gd name="connsiteY14" fmla="*/ 411156 h 438004"/>
                <a:gd name="connsiteX15" fmla="*/ 149641 w 495292"/>
                <a:gd name="connsiteY15" fmla="*/ 395443 h 438004"/>
                <a:gd name="connsiteX16" fmla="*/ 152346 w 495292"/>
                <a:gd name="connsiteY16" fmla="*/ 386493 h 438004"/>
                <a:gd name="connsiteX17" fmla="*/ 176905 w 495292"/>
                <a:gd name="connsiteY17" fmla="*/ 349655 h 438004"/>
                <a:gd name="connsiteX18" fmla="*/ 443719 w 495292"/>
                <a:gd name="connsiteY18" fmla="*/ 330611 h 438004"/>
                <a:gd name="connsiteX19" fmla="*/ 455894 w 495292"/>
                <a:gd name="connsiteY19" fmla="*/ 320205 h 438004"/>
                <a:gd name="connsiteX20" fmla="*/ 494917 w 495292"/>
                <a:gd name="connsiteY20" fmla="*/ 153702 h 438004"/>
                <a:gd name="connsiteX21" fmla="*/ 485094 w 495292"/>
                <a:gd name="connsiteY21" fmla="*/ 137635 h 438004"/>
                <a:gd name="connsiteX22" fmla="*/ 481909 w 495292"/>
                <a:gd name="connsiteY22" fmla="*/ 137260 h 438004"/>
                <a:gd name="connsiteX23" fmla="*/ 456206 w 495292"/>
                <a:gd name="connsiteY23" fmla="*/ 137260 h 438004"/>
                <a:gd name="connsiteX24" fmla="*/ 456206 w 495292"/>
                <a:gd name="connsiteY24" fmla="*/ 52968 h 438004"/>
                <a:gd name="connsiteX25" fmla="*/ 442886 w 495292"/>
                <a:gd name="connsiteY25" fmla="*/ 39648 h 438004"/>
                <a:gd name="connsiteX26" fmla="*/ 442782 w 495292"/>
                <a:gd name="connsiteY26" fmla="*/ 39648 h 438004"/>
                <a:gd name="connsiteX27" fmla="*/ 306045 w 495292"/>
                <a:gd name="connsiteY27" fmla="*/ 39648 h 438004"/>
                <a:gd name="connsiteX28" fmla="*/ 292725 w 495292"/>
                <a:gd name="connsiteY28" fmla="*/ 52968 h 438004"/>
                <a:gd name="connsiteX29" fmla="*/ 292725 w 495292"/>
                <a:gd name="connsiteY29" fmla="*/ 78672 h 438004"/>
                <a:gd name="connsiteX30" fmla="*/ 278053 w 495292"/>
                <a:gd name="connsiteY30" fmla="*/ 78672 h 438004"/>
                <a:gd name="connsiteX31" fmla="*/ 259322 w 495292"/>
                <a:gd name="connsiteY31" fmla="*/ 10406 h 438004"/>
                <a:gd name="connsiteX32" fmla="*/ 246418 w 495292"/>
                <a:gd name="connsiteY32" fmla="*/ 0 h 438004"/>
                <a:gd name="connsiteX33" fmla="*/ 242880 w 495292"/>
                <a:gd name="connsiteY33" fmla="*/ 520 h 438004"/>
                <a:gd name="connsiteX34" fmla="*/ 129869 w 495292"/>
                <a:gd name="connsiteY34" fmla="*/ 31740 h 438004"/>
                <a:gd name="connsiteX35" fmla="*/ 121752 w 495292"/>
                <a:gd name="connsiteY35" fmla="*/ 38087 h 438004"/>
                <a:gd name="connsiteX36" fmla="*/ 120399 w 495292"/>
                <a:gd name="connsiteY36" fmla="*/ 48494 h 438004"/>
                <a:gd name="connsiteX37" fmla="*/ 144750 w 495292"/>
                <a:gd name="connsiteY37" fmla="*/ 137364 h 438004"/>
                <a:gd name="connsiteX38" fmla="*/ 117486 w 495292"/>
                <a:gd name="connsiteY38" fmla="*/ 137364 h 438004"/>
                <a:gd name="connsiteX39" fmla="*/ 319469 w 495292"/>
                <a:gd name="connsiteY39" fmla="*/ 67329 h 438004"/>
                <a:gd name="connsiteX40" fmla="*/ 429671 w 495292"/>
                <a:gd name="connsiteY40" fmla="*/ 67329 h 438004"/>
                <a:gd name="connsiteX41" fmla="*/ 429671 w 495292"/>
                <a:gd name="connsiteY41" fmla="*/ 138197 h 438004"/>
                <a:gd name="connsiteX42" fmla="*/ 368690 w 495292"/>
                <a:gd name="connsiteY42" fmla="*/ 138197 h 438004"/>
                <a:gd name="connsiteX43" fmla="*/ 368690 w 495292"/>
                <a:gd name="connsiteY43" fmla="*/ 93449 h 438004"/>
                <a:gd name="connsiteX44" fmla="*/ 355266 w 495292"/>
                <a:gd name="connsiteY44" fmla="*/ 80025 h 438004"/>
                <a:gd name="connsiteX45" fmla="*/ 319781 w 495292"/>
                <a:gd name="connsiteY45" fmla="*/ 80025 h 438004"/>
                <a:gd name="connsiteX46" fmla="*/ 251205 w 495292"/>
                <a:gd name="connsiteY46" fmla="*/ 106457 h 438004"/>
                <a:gd name="connsiteX47" fmla="*/ 341530 w 495292"/>
                <a:gd name="connsiteY47" fmla="*/ 106457 h 438004"/>
                <a:gd name="connsiteX48" fmla="*/ 341530 w 495292"/>
                <a:gd name="connsiteY48" fmla="*/ 138197 h 438004"/>
                <a:gd name="connsiteX49" fmla="*/ 251205 w 495292"/>
                <a:gd name="connsiteY49" fmla="*/ 138197 h 438004"/>
                <a:gd name="connsiteX50" fmla="*/ 237052 w 495292"/>
                <a:gd name="connsiteY50" fmla="*/ 31427 h 438004"/>
                <a:gd name="connsiteX51" fmla="*/ 250164 w 495292"/>
                <a:gd name="connsiteY51" fmla="*/ 79609 h 438004"/>
                <a:gd name="connsiteX52" fmla="*/ 237781 w 495292"/>
                <a:gd name="connsiteY52" fmla="*/ 79609 h 438004"/>
                <a:gd name="connsiteX53" fmla="*/ 224357 w 495292"/>
                <a:gd name="connsiteY53" fmla="*/ 93033 h 438004"/>
                <a:gd name="connsiteX54" fmla="*/ 224357 w 495292"/>
                <a:gd name="connsiteY54" fmla="*/ 138197 h 438004"/>
                <a:gd name="connsiteX55" fmla="*/ 172326 w 495292"/>
                <a:gd name="connsiteY55" fmla="*/ 138197 h 438004"/>
                <a:gd name="connsiteX56" fmla="*/ 149537 w 495292"/>
                <a:gd name="connsiteY56" fmla="*/ 54946 h 438004"/>
                <a:gd name="connsiteX57" fmla="*/ 464948 w 495292"/>
                <a:gd name="connsiteY57" fmla="*/ 165045 h 438004"/>
                <a:gd name="connsiteX58" fmla="*/ 431960 w 495292"/>
                <a:gd name="connsiteY58" fmla="*/ 304907 h 438004"/>
                <a:gd name="connsiteX59" fmla="*/ 178778 w 495292"/>
                <a:gd name="connsiteY59" fmla="*/ 323014 h 438004"/>
                <a:gd name="connsiteX60" fmla="*/ 126123 w 495292"/>
                <a:gd name="connsiteY60" fmla="*/ 165045 h 438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495292" h="438004">
                  <a:moveTo>
                    <a:pt x="100940" y="89287"/>
                  </a:moveTo>
                  <a:cubicBezTo>
                    <a:pt x="95112" y="71825"/>
                    <a:pt x="78764" y="60045"/>
                    <a:pt x="60356" y="60045"/>
                  </a:cubicBezTo>
                  <a:lnTo>
                    <a:pt x="13424" y="60045"/>
                  </a:lnTo>
                  <a:cubicBezTo>
                    <a:pt x="6015" y="60045"/>
                    <a:pt x="0" y="66060"/>
                    <a:pt x="0" y="73469"/>
                  </a:cubicBezTo>
                  <a:cubicBezTo>
                    <a:pt x="0" y="80878"/>
                    <a:pt x="6015" y="86893"/>
                    <a:pt x="13424" y="86893"/>
                  </a:cubicBezTo>
                  <a:lnTo>
                    <a:pt x="60668" y="86893"/>
                  </a:lnTo>
                  <a:cubicBezTo>
                    <a:pt x="67390" y="86831"/>
                    <a:pt x="73426" y="90993"/>
                    <a:pt x="75757" y="97300"/>
                  </a:cubicBezTo>
                  <a:lnTo>
                    <a:pt x="154844" y="334773"/>
                  </a:lnTo>
                  <a:lnTo>
                    <a:pt x="130285" y="371612"/>
                  </a:lnTo>
                  <a:cubicBezTo>
                    <a:pt x="117184" y="391197"/>
                    <a:pt x="122439" y="417692"/>
                    <a:pt x="142023" y="430804"/>
                  </a:cubicBezTo>
                  <a:cubicBezTo>
                    <a:pt x="149079" y="435518"/>
                    <a:pt x="157383" y="438026"/>
                    <a:pt x="165874" y="438005"/>
                  </a:cubicBezTo>
                  <a:lnTo>
                    <a:pt x="443095" y="438005"/>
                  </a:lnTo>
                  <a:cubicBezTo>
                    <a:pt x="450504" y="438005"/>
                    <a:pt x="456518" y="431990"/>
                    <a:pt x="456518" y="424581"/>
                  </a:cubicBezTo>
                  <a:cubicBezTo>
                    <a:pt x="456518" y="417171"/>
                    <a:pt x="450504" y="411156"/>
                    <a:pt x="443095" y="411156"/>
                  </a:cubicBezTo>
                  <a:lnTo>
                    <a:pt x="165562" y="411156"/>
                  </a:lnTo>
                  <a:cubicBezTo>
                    <a:pt x="156831" y="411208"/>
                    <a:pt x="149703" y="404174"/>
                    <a:pt x="149641" y="395443"/>
                  </a:cubicBezTo>
                  <a:cubicBezTo>
                    <a:pt x="149620" y="392258"/>
                    <a:pt x="150567" y="389136"/>
                    <a:pt x="152346" y="386493"/>
                  </a:cubicBezTo>
                  <a:lnTo>
                    <a:pt x="176905" y="349655"/>
                  </a:lnTo>
                  <a:lnTo>
                    <a:pt x="443719" y="330611"/>
                  </a:lnTo>
                  <a:cubicBezTo>
                    <a:pt x="449630" y="330205"/>
                    <a:pt x="454573" y="325980"/>
                    <a:pt x="455894" y="320205"/>
                  </a:cubicBezTo>
                  <a:lnTo>
                    <a:pt x="494917" y="153702"/>
                  </a:lnTo>
                  <a:cubicBezTo>
                    <a:pt x="496645" y="146553"/>
                    <a:pt x="492243" y="139352"/>
                    <a:pt x="485094" y="137635"/>
                  </a:cubicBezTo>
                  <a:cubicBezTo>
                    <a:pt x="484053" y="137385"/>
                    <a:pt x="482981" y="137260"/>
                    <a:pt x="481909" y="137260"/>
                  </a:cubicBezTo>
                  <a:lnTo>
                    <a:pt x="456206" y="137260"/>
                  </a:lnTo>
                  <a:lnTo>
                    <a:pt x="456206" y="52968"/>
                  </a:lnTo>
                  <a:cubicBezTo>
                    <a:pt x="456206" y="45611"/>
                    <a:pt x="450243" y="39648"/>
                    <a:pt x="442886" y="39648"/>
                  </a:cubicBezTo>
                  <a:cubicBezTo>
                    <a:pt x="442855" y="39648"/>
                    <a:pt x="442813" y="39648"/>
                    <a:pt x="442782" y="39648"/>
                  </a:cubicBezTo>
                  <a:lnTo>
                    <a:pt x="306045" y="39648"/>
                  </a:lnTo>
                  <a:cubicBezTo>
                    <a:pt x="298688" y="39648"/>
                    <a:pt x="292725" y="45611"/>
                    <a:pt x="292725" y="52968"/>
                  </a:cubicBezTo>
                  <a:lnTo>
                    <a:pt x="292725" y="78672"/>
                  </a:lnTo>
                  <a:lnTo>
                    <a:pt x="278053" y="78672"/>
                  </a:lnTo>
                  <a:lnTo>
                    <a:pt x="259322" y="10406"/>
                  </a:lnTo>
                  <a:cubicBezTo>
                    <a:pt x="257969" y="4360"/>
                    <a:pt x="252620" y="42"/>
                    <a:pt x="246418" y="0"/>
                  </a:cubicBezTo>
                  <a:cubicBezTo>
                    <a:pt x="245221" y="10"/>
                    <a:pt x="244035" y="187"/>
                    <a:pt x="242880" y="520"/>
                  </a:cubicBezTo>
                  <a:lnTo>
                    <a:pt x="129869" y="31740"/>
                  </a:lnTo>
                  <a:cubicBezTo>
                    <a:pt x="126424" y="32687"/>
                    <a:pt x="123511" y="34976"/>
                    <a:pt x="121752" y="38087"/>
                  </a:cubicBezTo>
                  <a:cubicBezTo>
                    <a:pt x="119869" y="41220"/>
                    <a:pt x="119380" y="44987"/>
                    <a:pt x="120399" y="48494"/>
                  </a:cubicBezTo>
                  <a:lnTo>
                    <a:pt x="144750" y="137364"/>
                  </a:lnTo>
                  <a:lnTo>
                    <a:pt x="117486" y="137364"/>
                  </a:lnTo>
                  <a:close/>
                  <a:moveTo>
                    <a:pt x="319469" y="67329"/>
                  </a:moveTo>
                  <a:lnTo>
                    <a:pt x="429671" y="67329"/>
                  </a:lnTo>
                  <a:lnTo>
                    <a:pt x="429671" y="138197"/>
                  </a:lnTo>
                  <a:lnTo>
                    <a:pt x="368690" y="138197"/>
                  </a:lnTo>
                  <a:lnTo>
                    <a:pt x="368690" y="93449"/>
                  </a:lnTo>
                  <a:cubicBezTo>
                    <a:pt x="368690" y="86040"/>
                    <a:pt x="362676" y="80025"/>
                    <a:pt x="355266" y="80025"/>
                  </a:cubicBezTo>
                  <a:lnTo>
                    <a:pt x="319781" y="80025"/>
                  </a:lnTo>
                  <a:close/>
                  <a:moveTo>
                    <a:pt x="251205" y="106457"/>
                  </a:moveTo>
                  <a:lnTo>
                    <a:pt x="341530" y="106457"/>
                  </a:lnTo>
                  <a:lnTo>
                    <a:pt x="341530" y="138197"/>
                  </a:lnTo>
                  <a:lnTo>
                    <a:pt x="251205" y="138197"/>
                  </a:lnTo>
                  <a:close/>
                  <a:moveTo>
                    <a:pt x="237052" y="31427"/>
                  </a:moveTo>
                  <a:lnTo>
                    <a:pt x="250164" y="79609"/>
                  </a:lnTo>
                  <a:lnTo>
                    <a:pt x="237781" y="79609"/>
                  </a:lnTo>
                  <a:cubicBezTo>
                    <a:pt x="230372" y="79609"/>
                    <a:pt x="224357" y="85624"/>
                    <a:pt x="224357" y="93033"/>
                  </a:cubicBezTo>
                  <a:lnTo>
                    <a:pt x="224357" y="138197"/>
                  </a:lnTo>
                  <a:lnTo>
                    <a:pt x="172326" y="138197"/>
                  </a:lnTo>
                  <a:lnTo>
                    <a:pt x="149537" y="54946"/>
                  </a:lnTo>
                  <a:close/>
                  <a:moveTo>
                    <a:pt x="464948" y="165045"/>
                  </a:moveTo>
                  <a:lnTo>
                    <a:pt x="431960" y="304907"/>
                  </a:lnTo>
                  <a:lnTo>
                    <a:pt x="178778" y="323014"/>
                  </a:lnTo>
                  <a:lnTo>
                    <a:pt x="126123" y="165045"/>
                  </a:ln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3" name="Freeform 142">
              <a:extLst>
                <a:ext uri="{FF2B5EF4-FFF2-40B4-BE49-F238E27FC236}">
                  <a16:creationId xmlns:a16="http://schemas.microsoft.com/office/drawing/2014/main" id="{CF68D62B-13E0-0B4B-9C6C-BA53F6935F61}"/>
                </a:ext>
              </a:extLst>
            </p:cNvPr>
            <p:cNvSpPr/>
            <p:nvPr/>
          </p:nvSpPr>
          <p:spPr>
            <a:xfrm>
              <a:off x="6546517" y="1943198"/>
              <a:ext cx="45474" cy="41105"/>
            </a:xfrm>
            <a:custGeom>
              <a:avLst/>
              <a:gdLst>
                <a:gd name="connsiteX0" fmla="*/ 44434 w 45474"/>
                <a:gd name="connsiteY0" fmla="*/ 0 h 41105"/>
                <a:gd name="connsiteX1" fmla="*/ 45475 w 45474"/>
                <a:gd name="connsiteY1" fmla="*/ 0 h 41105"/>
                <a:gd name="connsiteX2" fmla="*/ 45475 w 45474"/>
                <a:gd name="connsiteY2" fmla="*/ 41105 h 41105"/>
                <a:gd name="connsiteX3" fmla="*/ 44434 w 45474"/>
                <a:gd name="connsiteY3" fmla="*/ 41105 h 41105"/>
                <a:gd name="connsiteX4" fmla="*/ 1041 w 45474"/>
                <a:gd name="connsiteY4" fmla="*/ 41105 h 41105"/>
                <a:gd name="connsiteX5" fmla="*/ 1041 w 45474"/>
                <a:gd name="connsiteY5" fmla="*/ 0 h 41105"/>
                <a:gd name="connsiteX6" fmla="*/ 0 w 45474"/>
                <a:gd name="connsiteY6" fmla="*/ 0 h 41105"/>
                <a:gd name="connsiteX7" fmla="*/ 1041 w 45474"/>
                <a:gd name="connsiteY7" fmla="*/ 0 h 41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5474" h="41105">
                  <a:moveTo>
                    <a:pt x="44434" y="0"/>
                  </a:moveTo>
                  <a:cubicBezTo>
                    <a:pt x="45009" y="0"/>
                    <a:pt x="45475" y="0"/>
                    <a:pt x="45475" y="0"/>
                  </a:cubicBezTo>
                  <a:lnTo>
                    <a:pt x="45475" y="41105"/>
                  </a:lnTo>
                  <a:cubicBezTo>
                    <a:pt x="45475" y="41105"/>
                    <a:pt x="45009" y="41105"/>
                    <a:pt x="44434" y="41105"/>
                  </a:cubicBezTo>
                  <a:lnTo>
                    <a:pt x="1041" y="41105"/>
                  </a:lnTo>
                  <a:lnTo>
                    <a:pt x="1041" y="0"/>
                  </a:lnTo>
                  <a:cubicBezTo>
                    <a:pt x="466" y="0"/>
                    <a:pt x="0" y="0"/>
                    <a:pt x="0" y="0"/>
                  </a:cubicBezTo>
                  <a:cubicBezTo>
                    <a:pt x="0" y="0"/>
                    <a:pt x="466" y="0"/>
                    <a:pt x="1041" y="0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4" name="Freeform 143">
              <a:extLst>
                <a:ext uri="{FF2B5EF4-FFF2-40B4-BE49-F238E27FC236}">
                  <a16:creationId xmlns:a16="http://schemas.microsoft.com/office/drawing/2014/main" id="{8406508B-2AEF-0C4E-8071-4EFBEFACB14F}"/>
                </a:ext>
              </a:extLst>
            </p:cNvPr>
            <p:cNvSpPr/>
            <p:nvPr/>
          </p:nvSpPr>
          <p:spPr>
            <a:xfrm>
              <a:off x="6617695" y="1943198"/>
              <a:ext cx="45474" cy="41105"/>
            </a:xfrm>
            <a:custGeom>
              <a:avLst/>
              <a:gdLst>
                <a:gd name="connsiteX0" fmla="*/ 44434 w 45474"/>
                <a:gd name="connsiteY0" fmla="*/ 0 h 41105"/>
                <a:gd name="connsiteX1" fmla="*/ 45475 w 45474"/>
                <a:gd name="connsiteY1" fmla="*/ 0 h 41105"/>
                <a:gd name="connsiteX2" fmla="*/ 45475 w 45474"/>
                <a:gd name="connsiteY2" fmla="*/ 41105 h 41105"/>
                <a:gd name="connsiteX3" fmla="*/ 44434 w 45474"/>
                <a:gd name="connsiteY3" fmla="*/ 41105 h 41105"/>
                <a:gd name="connsiteX4" fmla="*/ 1041 w 45474"/>
                <a:gd name="connsiteY4" fmla="*/ 41105 h 41105"/>
                <a:gd name="connsiteX5" fmla="*/ 1041 w 45474"/>
                <a:gd name="connsiteY5" fmla="*/ 0 h 41105"/>
                <a:gd name="connsiteX6" fmla="*/ 0 w 45474"/>
                <a:gd name="connsiteY6" fmla="*/ 0 h 41105"/>
                <a:gd name="connsiteX7" fmla="*/ 1041 w 45474"/>
                <a:gd name="connsiteY7" fmla="*/ 0 h 41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5474" h="41105">
                  <a:moveTo>
                    <a:pt x="44434" y="0"/>
                  </a:moveTo>
                  <a:cubicBezTo>
                    <a:pt x="45009" y="0"/>
                    <a:pt x="45475" y="0"/>
                    <a:pt x="45475" y="0"/>
                  </a:cubicBezTo>
                  <a:lnTo>
                    <a:pt x="45475" y="41105"/>
                  </a:lnTo>
                  <a:cubicBezTo>
                    <a:pt x="45475" y="41105"/>
                    <a:pt x="45009" y="41105"/>
                    <a:pt x="44434" y="41105"/>
                  </a:cubicBezTo>
                  <a:lnTo>
                    <a:pt x="1041" y="41105"/>
                  </a:lnTo>
                  <a:lnTo>
                    <a:pt x="1041" y="0"/>
                  </a:lnTo>
                  <a:cubicBezTo>
                    <a:pt x="466" y="0"/>
                    <a:pt x="0" y="0"/>
                    <a:pt x="0" y="0"/>
                  </a:cubicBezTo>
                  <a:cubicBezTo>
                    <a:pt x="0" y="0"/>
                    <a:pt x="466" y="0"/>
                    <a:pt x="1041" y="0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5" name="Freeform 144">
              <a:extLst>
                <a:ext uri="{FF2B5EF4-FFF2-40B4-BE49-F238E27FC236}">
                  <a16:creationId xmlns:a16="http://schemas.microsoft.com/office/drawing/2014/main" id="{85D6BD8C-F063-464C-B049-36C24745B076}"/>
                </a:ext>
              </a:extLst>
            </p:cNvPr>
            <p:cNvSpPr/>
            <p:nvPr/>
          </p:nvSpPr>
          <p:spPr>
            <a:xfrm>
              <a:off x="5985728" y="1710869"/>
              <a:ext cx="409482" cy="300660"/>
            </a:xfrm>
            <a:custGeom>
              <a:avLst/>
              <a:gdLst>
                <a:gd name="connsiteX0" fmla="*/ 39231 w 409482"/>
                <a:gd name="connsiteY0" fmla="*/ 300594 h 300660"/>
                <a:gd name="connsiteX1" fmla="*/ 188976 w 409482"/>
                <a:gd name="connsiteY1" fmla="*/ 300594 h 300660"/>
                <a:gd name="connsiteX2" fmla="*/ 198727 w 409482"/>
                <a:gd name="connsiteY2" fmla="*/ 292758 h 300660"/>
                <a:gd name="connsiteX3" fmla="*/ 190891 w 409482"/>
                <a:gd name="connsiteY3" fmla="*/ 283008 h 300660"/>
                <a:gd name="connsiteX4" fmla="*/ 188976 w 409482"/>
                <a:gd name="connsiteY4" fmla="*/ 283008 h 300660"/>
                <a:gd name="connsiteX5" fmla="*/ 39231 w 409482"/>
                <a:gd name="connsiteY5" fmla="*/ 283008 h 300660"/>
                <a:gd name="connsiteX6" fmla="*/ 19980 w 409482"/>
                <a:gd name="connsiteY6" fmla="*/ 265941 h 300660"/>
                <a:gd name="connsiteX7" fmla="*/ 19980 w 409482"/>
                <a:gd name="connsiteY7" fmla="*/ 86639 h 300660"/>
                <a:gd name="connsiteX8" fmla="*/ 389399 w 409482"/>
                <a:gd name="connsiteY8" fmla="*/ 86639 h 300660"/>
                <a:gd name="connsiteX9" fmla="*/ 389399 w 409482"/>
                <a:gd name="connsiteY9" fmla="*/ 162814 h 300660"/>
                <a:gd name="connsiteX10" fmla="*/ 402167 w 409482"/>
                <a:gd name="connsiteY10" fmla="*/ 170127 h 300660"/>
                <a:gd name="connsiteX11" fmla="*/ 409483 w 409482"/>
                <a:gd name="connsiteY11" fmla="*/ 162814 h 300660"/>
                <a:gd name="connsiteX12" fmla="*/ 409483 w 409482"/>
                <a:gd name="connsiteY12" fmla="*/ 34815 h 300660"/>
                <a:gd name="connsiteX13" fmla="*/ 409483 w 409482"/>
                <a:gd name="connsiteY13" fmla="*/ 34815 h 300660"/>
                <a:gd name="connsiteX14" fmla="*/ 370147 w 409482"/>
                <a:gd name="connsiteY14" fmla="*/ 58 h 300660"/>
                <a:gd name="connsiteX15" fmla="*/ 39231 w 409482"/>
                <a:gd name="connsiteY15" fmla="*/ 58 h 300660"/>
                <a:gd name="connsiteX16" fmla="*/ 0 w 409482"/>
                <a:gd name="connsiteY16" fmla="*/ 34815 h 300660"/>
                <a:gd name="connsiteX17" fmla="*/ 0 w 409482"/>
                <a:gd name="connsiteY17" fmla="*/ 265525 h 300660"/>
                <a:gd name="connsiteX18" fmla="*/ 39117 w 409482"/>
                <a:gd name="connsiteY18" fmla="*/ 300605 h 300660"/>
                <a:gd name="connsiteX19" fmla="*/ 39231 w 409482"/>
                <a:gd name="connsiteY19" fmla="*/ 300594 h 300660"/>
                <a:gd name="connsiteX20" fmla="*/ 19980 w 409482"/>
                <a:gd name="connsiteY20" fmla="*/ 35232 h 300660"/>
                <a:gd name="connsiteX21" fmla="*/ 39231 w 409482"/>
                <a:gd name="connsiteY21" fmla="*/ 18165 h 300660"/>
                <a:gd name="connsiteX22" fmla="*/ 370147 w 409482"/>
                <a:gd name="connsiteY22" fmla="*/ 18165 h 300660"/>
                <a:gd name="connsiteX23" fmla="*/ 389399 w 409482"/>
                <a:gd name="connsiteY23" fmla="*/ 35232 h 300660"/>
                <a:gd name="connsiteX24" fmla="*/ 389399 w 409482"/>
                <a:gd name="connsiteY24" fmla="*/ 69365 h 300660"/>
                <a:gd name="connsiteX25" fmla="*/ 19980 w 409482"/>
                <a:gd name="connsiteY25" fmla="*/ 69365 h 300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09482" h="300660">
                  <a:moveTo>
                    <a:pt x="39231" y="300594"/>
                  </a:moveTo>
                  <a:lnTo>
                    <a:pt x="188976" y="300594"/>
                  </a:lnTo>
                  <a:cubicBezTo>
                    <a:pt x="193836" y="301125"/>
                    <a:pt x="198196" y="297618"/>
                    <a:pt x="198727" y="292758"/>
                  </a:cubicBezTo>
                  <a:cubicBezTo>
                    <a:pt x="199257" y="287899"/>
                    <a:pt x="195750" y="283538"/>
                    <a:pt x="190891" y="283008"/>
                  </a:cubicBezTo>
                  <a:cubicBezTo>
                    <a:pt x="190256" y="282935"/>
                    <a:pt x="189611" y="282935"/>
                    <a:pt x="188976" y="283008"/>
                  </a:cubicBezTo>
                  <a:lnTo>
                    <a:pt x="39231" y="283008"/>
                  </a:lnTo>
                  <a:cubicBezTo>
                    <a:pt x="29231" y="283538"/>
                    <a:pt x="20646" y="275939"/>
                    <a:pt x="19980" y="265941"/>
                  </a:cubicBezTo>
                  <a:lnTo>
                    <a:pt x="19980" y="86639"/>
                  </a:lnTo>
                  <a:lnTo>
                    <a:pt x="389399" y="86639"/>
                  </a:lnTo>
                  <a:lnTo>
                    <a:pt x="389399" y="162814"/>
                  </a:lnTo>
                  <a:cubicBezTo>
                    <a:pt x="390908" y="168360"/>
                    <a:pt x="396621" y="171634"/>
                    <a:pt x="402167" y="170127"/>
                  </a:cubicBezTo>
                  <a:cubicBezTo>
                    <a:pt x="405736" y="169159"/>
                    <a:pt x="408515" y="166376"/>
                    <a:pt x="409483" y="162814"/>
                  </a:cubicBezTo>
                  <a:lnTo>
                    <a:pt x="409483" y="34815"/>
                  </a:lnTo>
                  <a:lnTo>
                    <a:pt x="409483" y="34815"/>
                  </a:lnTo>
                  <a:cubicBezTo>
                    <a:pt x="408088" y="14418"/>
                    <a:pt x="390564" y="-1071"/>
                    <a:pt x="370147" y="58"/>
                  </a:cubicBezTo>
                  <a:lnTo>
                    <a:pt x="39231" y="58"/>
                  </a:lnTo>
                  <a:cubicBezTo>
                    <a:pt x="18835" y="-1070"/>
                    <a:pt x="1342" y="14433"/>
                    <a:pt x="0" y="34815"/>
                  </a:cubicBezTo>
                  <a:lnTo>
                    <a:pt x="0" y="265525"/>
                  </a:lnTo>
                  <a:cubicBezTo>
                    <a:pt x="1113" y="286015"/>
                    <a:pt x="18627" y="301718"/>
                    <a:pt x="39117" y="300605"/>
                  </a:cubicBezTo>
                  <a:cubicBezTo>
                    <a:pt x="39158" y="300594"/>
                    <a:pt x="39190" y="300594"/>
                    <a:pt x="39231" y="300594"/>
                  </a:cubicBezTo>
                  <a:close/>
                  <a:moveTo>
                    <a:pt x="19980" y="35232"/>
                  </a:moveTo>
                  <a:cubicBezTo>
                    <a:pt x="20594" y="25207"/>
                    <a:pt x="29210" y="17572"/>
                    <a:pt x="39231" y="18165"/>
                  </a:cubicBezTo>
                  <a:lnTo>
                    <a:pt x="370147" y="18165"/>
                  </a:lnTo>
                  <a:cubicBezTo>
                    <a:pt x="380168" y="17572"/>
                    <a:pt x="388785" y="25207"/>
                    <a:pt x="389399" y="35232"/>
                  </a:cubicBezTo>
                  <a:lnTo>
                    <a:pt x="389399" y="69365"/>
                  </a:lnTo>
                  <a:lnTo>
                    <a:pt x="19980" y="69365"/>
                  </a:ln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6" name="Freeform 145">
              <a:extLst>
                <a:ext uri="{FF2B5EF4-FFF2-40B4-BE49-F238E27FC236}">
                  <a16:creationId xmlns:a16="http://schemas.microsoft.com/office/drawing/2014/main" id="{49EEE836-DA84-8144-B7A4-73782977C430}"/>
                </a:ext>
              </a:extLst>
            </p:cNvPr>
            <p:cNvSpPr/>
            <p:nvPr/>
          </p:nvSpPr>
          <p:spPr>
            <a:xfrm>
              <a:off x="6256601" y="1738296"/>
              <a:ext cx="38710" cy="30907"/>
            </a:xfrm>
            <a:custGeom>
              <a:avLst/>
              <a:gdLst>
                <a:gd name="connsiteX0" fmla="*/ 37774 w 38710"/>
                <a:gd name="connsiteY0" fmla="*/ 0 h 30907"/>
                <a:gd name="connsiteX1" fmla="*/ 937 w 38710"/>
                <a:gd name="connsiteY1" fmla="*/ 0 h 30907"/>
                <a:gd name="connsiteX2" fmla="*/ 0 w 38710"/>
                <a:gd name="connsiteY2" fmla="*/ 833 h 30907"/>
                <a:gd name="connsiteX3" fmla="*/ 0 w 38710"/>
                <a:gd name="connsiteY3" fmla="*/ 30074 h 30907"/>
                <a:gd name="connsiteX4" fmla="*/ 937 w 38710"/>
                <a:gd name="connsiteY4" fmla="*/ 30907 h 30907"/>
                <a:gd name="connsiteX5" fmla="*/ 37774 w 38710"/>
                <a:gd name="connsiteY5" fmla="*/ 30907 h 30907"/>
                <a:gd name="connsiteX6" fmla="*/ 38711 w 38710"/>
                <a:gd name="connsiteY6" fmla="*/ 30074 h 30907"/>
                <a:gd name="connsiteX7" fmla="*/ 38711 w 38710"/>
                <a:gd name="connsiteY7" fmla="*/ 833 h 30907"/>
                <a:gd name="connsiteX8" fmla="*/ 37774 w 38710"/>
                <a:gd name="connsiteY8" fmla="*/ 0 h 30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710" h="30907">
                  <a:moveTo>
                    <a:pt x="37774" y="0"/>
                  </a:moveTo>
                  <a:lnTo>
                    <a:pt x="937" y="0"/>
                  </a:lnTo>
                  <a:cubicBezTo>
                    <a:pt x="458" y="-3"/>
                    <a:pt x="52" y="356"/>
                    <a:pt x="0" y="833"/>
                  </a:cubicBezTo>
                  <a:lnTo>
                    <a:pt x="0" y="30074"/>
                  </a:lnTo>
                  <a:cubicBezTo>
                    <a:pt x="52" y="30551"/>
                    <a:pt x="458" y="30910"/>
                    <a:pt x="937" y="30907"/>
                  </a:cubicBezTo>
                  <a:lnTo>
                    <a:pt x="37774" y="30907"/>
                  </a:lnTo>
                  <a:cubicBezTo>
                    <a:pt x="38253" y="30910"/>
                    <a:pt x="38659" y="30551"/>
                    <a:pt x="38711" y="30074"/>
                  </a:cubicBezTo>
                  <a:lnTo>
                    <a:pt x="38711" y="833"/>
                  </a:lnTo>
                  <a:cubicBezTo>
                    <a:pt x="38659" y="356"/>
                    <a:pt x="38253" y="-3"/>
                    <a:pt x="37774" y="0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7" name="Freeform 146">
              <a:extLst>
                <a:ext uri="{FF2B5EF4-FFF2-40B4-BE49-F238E27FC236}">
                  <a16:creationId xmlns:a16="http://schemas.microsoft.com/office/drawing/2014/main" id="{E9BB4A0C-97F4-9F48-ADB9-3DED152D1F69}"/>
                </a:ext>
              </a:extLst>
            </p:cNvPr>
            <p:cNvSpPr/>
            <p:nvPr/>
          </p:nvSpPr>
          <p:spPr>
            <a:xfrm>
              <a:off x="6317165" y="1738296"/>
              <a:ext cx="38606" cy="30907"/>
            </a:xfrm>
            <a:custGeom>
              <a:avLst/>
              <a:gdLst>
                <a:gd name="connsiteX0" fmla="*/ 37670 w 38606"/>
                <a:gd name="connsiteY0" fmla="*/ 0 h 30907"/>
                <a:gd name="connsiteX1" fmla="*/ 833 w 38606"/>
                <a:gd name="connsiteY1" fmla="*/ 0 h 30907"/>
                <a:gd name="connsiteX2" fmla="*/ 0 w 38606"/>
                <a:gd name="connsiteY2" fmla="*/ 833 h 30907"/>
                <a:gd name="connsiteX3" fmla="*/ 0 w 38606"/>
                <a:gd name="connsiteY3" fmla="*/ 30074 h 30907"/>
                <a:gd name="connsiteX4" fmla="*/ 833 w 38606"/>
                <a:gd name="connsiteY4" fmla="*/ 30907 h 30907"/>
                <a:gd name="connsiteX5" fmla="*/ 37670 w 38606"/>
                <a:gd name="connsiteY5" fmla="*/ 30907 h 30907"/>
                <a:gd name="connsiteX6" fmla="*/ 38607 w 38606"/>
                <a:gd name="connsiteY6" fmla="*/ 30074 h 30907"/>
                <a:gd name="connsiteX7" fmla="*/ 38607 w 38606"/>
                <a:gd name="connsiteY7" fmla="*/ 833 h 30907"/>
                <a:gd name="connsiteX8" fmla="*/ 37670 w 38606"/>
                <a:gd name="connsiteY8" fmla="*/ 0 h 30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606" h="30907">
                  <a:moveTo>
                    <a:pt x="37670" y="0"/>
                  </a:moveTo>
                  <a:lnTo>
                    <a:pt x="833" y="0"/>
                  </a:lnTo>
                  <a:cubicBezTo>
                    <a:pt x="375" y="0"/>
                    <a:pt x="0" y="373"/>
                    <a:pt x="0" y="833"/>
                  </a:cubicBezTo>
                  <a:lnTo>
                    <a:pt x="0" y="30074"/>
                  </a:lnTo>
                  <a:cubicBezTo>
                    <a:pt x="0" y="30534"/>
                    <a:pt x="375" y="30907"/>
                    <a:pt x="833" y="30907"/>
                  </a:cubicBezTo>
                  <a:lnTo>
                    <a:pt x="37670" y="30907"/>
                  </a:lnTo>
                  <a:cubicBezTo>
                    <a:pt x="38149" y="30910"/>
                    <a:pt x="38555" y="30551"/>
                    <a:pt x="38607" y="30074"/>
                  </a:cubicBezTo>
                  <a:lnTo>
                    <a:pt x="38607" y="833"/>
                  </a:lnTo>
                  <a:cubicBezTo>
                    <a:pt x="38555" y="356"/>
                    <a:pt x="38149" y="-3"/>
                    <a:pt x="37670" y="0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" name="Freeform 147">
              <a:extLst>
                <a:ext uri="{FF2B5EF4-FFF2-40B4-BE49-F238E27FC236}">
                  <a16:creationId xmlns:a16="http://schemas.microsoft.com/office/drawing/2014/main" id="{04D44992-DD10-A54E-AA98-67013E224315}"/>
                </a:ext>
              </a:extLst>
            </p:cNvPr>
            <p:cNvSpPr/>
            <p:nvPr/>
          </p:nvSpPr>
          <p:spPr>
            <a:xfrm>
              <a:off x="6549742" y="2196281"/>
              <a:ext cx="127788" cy="127790"/>
            </a:xfrm>
            <a:custGeom>
              <a:avLst/>
              <a:gdLst>
                <a:gd name="connsiteX0" fmla="*/ 63894 w 127788"/>
                <a:gd name="connsiteY0" fmla="*/ 0 h 127790"/>
                <a:gd name="connsiteX1" fmla="*/ 0 w 127788"/>
                <a:gd name="connsiteY1" fmla="*/ 63895 h 127790"/>
                <a:gd name="connsiteX2" fmla="*/ 63894 w 127788"/>
                <a:gd name="connsiteY2" fmla="*/ 127790 h 127790"/>
                <a:gd name="connsiteX3" fmla="*/ 127788 w 127788"/>
                <a:gd name="connsiteY3" fmla="*/ 63895 h 127790"/>
                <a:gd name="connsiteX4" fmla="*/ 63894 w 127788"/>
                <a:gd name="connsiteY4" fmla="*/ 0 h 127790"/>
                <a:gd name="connsiteX5" fmla="*/ 63894 w 127788"/>
                <a:gd name="connsiteY5" fmla="*/ 107082 h 127790"/>
                <a:gd name="connsiteX6" fmla="*/ 20604 w 127788"/>
                <a:gd name="connsiteY6" fmla="*/ 63791 h 127790"/>
                <a:gd name="connsiteX7" fmla="*/ 63894 w 127788"/>
                <a:gd name="connsiteY7" fmla="*/ 20501 h 127790"/>
                <a:gd name="connsiteX8" fmla="*/ 107184 w 127788"/>
                <a:gd name="connsiteY8" fmla="*/ 63791 h 127790"/>
                <a:gd name="connsiteX9" fmla="*/ 107184 w 127788"/>
                <a:gd name="connsiteY9" fmla="*/ 63895 h 127790"/>
                <a:gd name="connsiteX10" fmla="*/ 63998 w 127788"/>
                <a:gd name="connsiteY10" fmla="*/ 107082 h 127790"/>
                <a:gd name="connsiteX11" fmla="*/ 63894 w 127788"/>
                <a:gd name="connsiteY11" fmla="*/ 107082 h 127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7788" h="127790">
                  <a:moveTo>
                    <a:pt x="63894" y="0"/>
                  </a:moveTo>
                  <a:cubicBezTo>
                    <a:pt x="28607" y="0"/>
                    <a:pt x="0" y="28607"/>
                    <a:pt x="0" y="63895"/>
                  </a:cubicBezTo>
                  <a:cubicBezTo>
                    <a:pt x="0" y="99183"/>
                    <a:pt x="28607" y="127790"/>
                    <a:pt x="63894" y="127790"/>
                  </a:cubicBezTo>
                  <a:cubicBezTo>
                    <a:pt x="99181" y="127790"/>
                    <a:pt x="127788" y="99183"/>
                    <a:pt x="127788" y="63895"/>
                  </a:cubicBezTo>
                  <a:cubicBezTo>
                    <a:pt x="127736" y="28628"/>
                    <a:pt x="99161" y="62"/>
                    <a:pt x="63894" y="0"/>
                  </a:cubicBezTo>
                  <a:close/>
                  <a:moveTo>
                    <a:pt x="63894" y="107082"/>
                  </a:moveTo>
                  <a:cubicBezTo>
                    <a:pt x="39981" y="107082"/>
                    <a:pt x="20604" y="87705"/>
                    <a:pt x="20604" y="63791"/>
                  </a:cubicBezTo>
                  <a:cubicBezTo>
                    <a:pt x="20604" y="39877"/>
                    <a:pt x="39991" y="20501"/>
                    <a:pt x="63894" y="20501"/>
                  </a:cubicBezTo>
                  <a:cubicBezTo>
                    <a:pt x="87807" y="20501"/>
                    <a:pt x="107184" y="39888"/>
                    <a:pt x="107184" y="63791"/>
                  </a:cubicBezTo>
                  <a:cubicBezTo>
                    <a:pt x="107184" y="63822"/>
                    <a:pt x="107184" y="63864"/>
                    <a:pt x="107184" y="63895"/>
                  </a:cubicBezTo>
                  <a:cubicBezTo>
                    <a:pt x="107184" y="87747"/>
                    <a:pt x="87849" y="107082"/>
                    <a:pt x="63998" y="107082"/>
                  </a:cubicBezTo>
                  <a:cubicBezTo>
                    <a:pt x="63967" y="107082"/>
                    <a:pt x="63925" y="107082"/>
                    <a:pt x="63894" y="107082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" name="Freeform 148">
              <a:extLst>
                <a:ext uri="{FF2B5EF4-FFF2-40B4-BE49-F238E27FC236}">
                  <a16:creationId xmlns:a16="http://schemas.microsoft.com/office/drawing/2014/main" id="{60E5FCCD-82DF-D947-9010-884113FF06F3}"/>
                </a:ext>
              </a:extLst>
            </p:cNvPr>
            <p:cNvSpPr/>
            <p:nvPr/>
          </p:nvSpPr>
          <p:spPr>
            <a:xfrm>
              <a:off x="6227672" y="1906672"/>
              <a:ext cx="482325" cy="399709"/>
            </a:xfrm>
            <a:custGeom>
              <a:avLst/>
              <a:gdLst>
                <a:gd name="connsiteX0" fmla="*/ 0 w 482325"/>
                <a:gd name="connsiteY0" fmla="*/ 46204 h 399709"/>
                <a:gd name="connsiteX1" fmla="*/ 0 w 482325"/>
                <a:gd name="connsiteY1" fmla="*/ 353505 h 399709"/>
                <a:gd name="connsiteX2" fmla="*/ 46203 w 482325"/>
                <a:gd name="connsiteY2" fmla="*/ 399709 h 399709"/>
                <a:gd name="connsiteX3" fmla="*/ 222380 w 482325"/>
                <a:gd name="connsiteY3" fmla="*/ 399709 h 399709"/>
                <a:gd name="connsiteX4" fmla="*/ 234139 w 482325"/>
                <a:gd name="connsiteY4" fmla="*/ 387950 h 399709"/>
                <a:gd name="connsiteX5" fmla="*/ 222380 w 482325"/>
                <a:gd name="connsiteY5" fmla="*/ 376191 h 399709"/>
                <a:gd name="connsiteX6" fmla="*/ 46203 w 482325"/>
                <a:gd name="connsiteY6" fmla="*/ 376191 h 399709"/>
                <a:gd name="connsiteX7" fmla="*/ 23518 w 482325"/>
                <a:gd name="connsiteY7" fmla="*/ 353505 h 399709"/>
                <a:gd name="connsiteX8" fmla="*/ 23518 w 482325"/>
                <a:gd name="connsiteY8" fmla="*/ 115199 h 399709"/>
                <a:gd name="connsiteX9" fmla="*/ 458808 w 482325"/>
                <a:gd name="connsiteY9" fmla="*/ 115199 h 399709"/>
                <a:gd name="connsiteX10" fmla="*/ 458808 w 482325"/>
                <a:gd name="connsiteY10" fmla="*/ 216661 h 399709"/>
                <a:gd name="connsiteX11" fmla="*/ 470567 w 482325"/>
                <a:gd name="connsiteY11" fmla="*/ 228420 h 399709"/>
                <a:gd name="connsiteX12" fmla="*/ 482326 w 482325"/>
                <a:gd name="connsiteY12" fmla="*/ 216869 h 399709"/>
                <a:gd name="connsiteX13" fmla="*/ 482326 w 482325"/>
                <a:gd name="connsiteY13" fmla="*/ 216661 h 399709"/>
                <a:gd name="connsiteX14" fmla="*/ 482326 w 482325"/>
                <a:gd name="connsiteY14" fmla="*/ 46204 h 399709"/>
                <a:gd name="connsiteX15" fmla="*/ 436122 w 482325"/>
                <a:gd name="connsiteY15" fmla="*/ 0 h 399709"/>
                <a:gd name="connsiteX16" fmla="*/ 46203 w 482325"/>
                <a:gd name="connsiteY16" fmla="*/ 0 h 399709"/>
                <a:gd name="connsiteX17" fmla="*/ 0 w 482325"/>
                <a:gd name="connsiteY17" fmla="*/ 46204 h 399709"/>
                <a:gd name="connsiteX18" fmla="*/ 457871 w 482325"/>
                <a:gd name="connsiteY18" fmla="*/ 46204 h 399709"/>
                <a:gd name="connsiteX19" fmla="*/ 457871 w 482325"/>
                <a:gd name="connsiteY19" fmla="*/ 91784 h 399709"/>
                <a:gd name="connsiteX20" fmla="*/ 23518 w 482325"/>
                <a:gd name="connsiteY20" fmla="*/ 91784 h 399709"/>
                <a:gd name="connsiteX21" fmla="*/ 23518 w 482325"/>
                <a:gd name="connsiteY21" fmla="*/ 46204 h 399709"/>
                <a:gd name="connsiteX22" fmla="*/ 46203 w 482325"/>
                <a:gd name="connsiteY22" fmla="*/ 23622 h 399709"/>
                <a:gd name="connsiteX23" fmla="*/ 435602 w 482325"/>
                <a:gd name="connsiteY23" fmla="*/ 23622 h 399709"/>
                <a:gd name="connsiteX24" fmla="*/ 458797 w 482325"/>
                <a:gd name="connsiteY24" fmla="*/ 45782 h 399709"/>
                <a:gd name="connsiteX25" fmla="*/ 458808 w 482325"/>
                <a:gd name="connsiteY25" fmla="*/ 46204 h 399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82325" h="399709">
                  <a:moveTo>
                    <a:pt x="0" y="46204"/>
                  </a:moveTo>
                  <a:lnTo>
                    <a:pt x="0" y="353505"/>
                  </a:lnTo>
                  <a:cubicBezTo>
                    <a:pt x="0" y="379021"/>
                    <a:pt x="20687" y="399709"/>
                    <a:pt x="46203" y="399709"/>
                  </a:cubicBezTo>
                  <a:lnTo>
                    <a:pt x="222380" y="399709"/>
                  </a:lnTo>
                  <a:cubicBezTo>
                    <a:pt x="228873" y="399709"/>
                    <a:pt x="234139" y="394444"/>
                    <a:pt x="234139" y="387950"/>
                  </a:cubicBezTo>
                  <a:cubicBezTo>
                    <a:pt x="234139" y="381456"/>
                    <a:pt x="228873" y="376191"/>
                    <a:pt x="222380" y="376191"/>
                  </a:cubicBezTo>
                  <a:lnTo>
                    <a:pt x="46203" y="376191"/>
                  </a:lnTo>
                  <a:cubicBezTo>
                    <a:pt x="33695" y="376139"/>
                    <a:pt x="23570" y="366013"/>
                    <a:pt x="23518" y="353505"/>
                  </a:cubicBezTo>
                  <a:lnTo>
                    <a:pt x="23518" y="115199"/>
                  </a:lnTo>
                  <a:lnTo>
                    <a:pt x="458808" y="115199"/>
                  </a:lnTo>
                  <a:lnTo>
                    <a:pt x="458808" y="216661"/>
                  </a:lnTo>
                  <a:cubicBezTo>
                    <a:pt x="458808" y="216661"/>
                    <a:pt x="460265" y="228420"/>
                    <a:pt x="470567" y="228420"/>
                  </a:cubicBezTo>
                  <a:cubicBezTo>
                    <a:pt x="477008" y="228483"/>
                    <a:pt x="482263" y="223311"/>
                    <a:pt x="482326" y="216869"/>
                  </a:cubicBezTo>
                  <a:cubicBezTo>
                    <a:pt x="482326" y="216796"/>
                    <a:pt x="482326" y="216734"/>
                    <a:pt x="482326" y="216661"/>
                  </a:cubicBezTo>
                  <a:lnTo>
                    <a:pt x="482326" y="46204"/>
                  </a:lnTo>
                  <a:cubicBezTo>
                    <a:pt x="482274" y="20710"/>
                    <a:pt x="461617" y="57"/>
                    <a:pt x="436122" y="0"/>
                  </a:cubicBezTo>
                  <a:lnTo>
                    <a:pt x="46203" y="0"/>
                  </a:lnTo>
                  <a:cubicBezTo>
                    <a:pt x="20708" y="57"/>
                    <a:pt x="62" y="20710"/>
                    <a:pt x="0" y="46204"/>
                  </a:cubicBezTo>
                  <a:close/>
                  <a:moveTo>
                    <a:pt x="457871" y="46204"/>
                  </a:moveTo>
                  <a:lnTo>
                    <a:pt x="457871" y="91784"/>
                  </a:lnTo>
                  <a:lnTo>
                    <a:pt x="23518" y="91784"/>
                  </a:lnTo>
                  <a:lnTo>
                    <a:pt x="23518" y="46204"/>
                  </a:lnTo>
                  <a:cubicBezTo>
                    <a:pt x="23580" y="33716"/>
                    <a:pt x="33716" y="23622"/>
                    <a:pt x="46203" y="23622"/>
                  </a:cubicBezTo>
                  <a:lnTo>
                    <a:pt x="435602" y="23622"/>
                  </a:lnTo>
                  <a:cubicBezTo>
                    <a:pt x="448131" y="23335"/>
                    <a:pt x="458516" y="33256"/>
                    <a:pt x="458797" y="45782"/>
                  </a:cubicBezTo>
                  <a:cubicBezTo>
                    <a:pt x="458808" y="45922"/>
                    <a:pt x="458808" y="46064"/>
                    <a:pt x="458808" y="46204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" name="Freeform 149">
              <a:extLst>
                <a:ext uri="{FF2B5EF4-FFF2-40B4-BE49-F238E27FC236}">
                  <a16:creationId xmlns:a16="http://schemas.microsoft.com/office/drawing/2014/main" id="{DB1F6A7B-4595-8146-9763-A478ADBD6829}"/>
                </a:ext>
              </a:extLst>
            </p:cNvPr>
            <p:cNvSpPr/>
            <p:nvPr/>
          </p:nvSpPr>
          <p:spPr>
            <a:xfrm>
              <a:off x="6471905" y="2118649"/>
              <a:ext cx="283256" cy="283886"/>
            </a:xfrm>
            <a:custGeom>
              <a:avLst/>
              <a:gdLst>
                <a:gd name="connsiteX0" fmla="*/ 232994 w 283256"/>
                <a:gd name="connsiteY0" fmla="*/ 30803 h 283886"/>
                <a:gd name="connsiteX1" fmla="*/ 204169 w 283256"/>
                <a:gd name="connsiteY1" fmla="*/ 28097 h 283886"/>
                <a:gd name="connsiteX2" fmla="*/ 204169 w 283256"/>
                <a:gd name="connsiteY2" fmla="*/ 28097 h 283886"/>
                <a:gd name="connsiteX3" fmla="*/ 204169 w 283256"/>
                <a:gd name="connsiteY3" fmla="*/ 28097 h 283886"/>
                <a:gd name="connsiteX4" fmla="*/ 188560 w 283256"/>
                <a:gd name="connsiteY4" fmla="*/ 39753 h 283886"/>
                <a:gd name="connsiteX5" fmla="*/ 183357 w 283256"/>
                <a:gd name="connsiteY5" fmla="*/ 38504 h 283886"/>
                <a:gd name="connsiteX6" fmla="*/ 180963 w 283256"/>
                <a:gd name="connsiteY6" fmla="*/ 19148 h 283886"/>
                <a:gd name="connsiteX7" fmla="*/ 180963 w 283256"/>
                <a:gd name="connsiteY7" fmla="*/ 19148 h 283886"/>
                <a:gd name="connsiteX8" fmla="*/ 158486 w 283256"/>
                <a:gd name="connsiteY8" fmla="*/ 0 h 283886"/>
                <a:gd name="connsiteX9" fmla="*/ 128204 w 283256"/>
                <a:gd name="connsiteY9" fmla="*/ 0 h 283886"/>
                <a:gd name="connsiteX10" fmla="*/ 105415 w 283256"/>
                <a:gd name="connsiteY10" fmla="*/ 18732 h 283886"/>
                <a:gd name="connsiteX11" fmla="*/ 105415 w 283256"/>
                <a:gd name="connsiteY11" fmla="*/ 18732 h 283886"/>
                <a:gd name="connsiteX12" fmla="*/ 102813 w 283256"/>
                <a:gd name="connsiteY12" fmla="*/ 37879 h 283886"/>
                <a:gd name="connsiteX13" fmla="*/ 98130 w 283256"/>
                <a:gd name="connsiteY13" fmla="*/ 39753 h 283886"/>
                <a:gd name="connsiteX14" fmla="*/ 83041 w 283256"/>
                <a:gd name="connsiteY14" fmla="*/ 27889 h 283886"/>
                <a:gd name="connsiteX15" fmla="*/ 83041 w 283256"/>
                <a:gd name="connsiteY15" fmla="*/ 27889 h 283886"/>
                <a:gd name="connsiteX16" fmla="*/ 83041 w 283256"/>
                <a:gd name="connsiteY16" fmla="*/ 27889 h 283886"/>
                <a:gd name="connsiteX17" fmla="*/ 53488 w 283256"/>
                <a:gd name="connsiteY17" fmla="*/ 30387 h 283886"/>
                <a:gd name="connsiteX18" fmla="*/ 53488 w 283256"/>
                <a:gd name="connsiteY18" fmla="*/ 30387 h 283886"/>
                <a:gd name="connsiteX19" fmla="*/ 32051 w 283256"/>
                <a:gd name="connsiteY19" fmla="*/ 51200 h 283886"/>
                <a:gd name="connsiteX20" fmla="*/ 32051 w 283256"/>
                <a:gd name="connsiteY20" fmla="*/ 51200 h 283886"/>
                <a:gd name="connsiteX21" fmla="*/ 29241 w 283256"/>
                <a:gd name="connsiteY21" fmla="*/ 80442 h 283886"/>
                <a:gd name="connsiteX22" fmla="*/ 29241 w 283256"/>
                <a:gd name="connsiteY22" fmla="*/ 80442 h 283886"/>
                <a:gd name="connsiteX23" fmla="*/ 29241 w 283256"/>
                <a:gd name="connsiteY23" fmla="*/ 80442 h 283886"/>
                <a:gd name="connsiteX24" fmla="*/ 40896 w 283256"/>
                <a:gd name="connsiteY24" fmla="*/ 96051 h 283886"/>
                <a:gd name="connsiteX25" fmla="*/ 39023 w 283256"/>
                <a:gd name="connsiteY25" fmla="*/ 100422 h 283886"/>
                <a:gd name="connsiteX26" fmla="*/ 19667 w 283256"/>
                <a:gd name="connsiteY26" fmla="*/ 102815 h 283886"/>
                <a:gd name="connsiteX27" fmla="*/ 19147 w 283256"/>
                <a:gd name="connsiteY27" fmla="*/ 102815 h 283886"/>
                <a:gd name="connsiteX28" fmla="*/ 0 w 283256"/>
                <a:gd name="connsiteY28" fmla="*/ 125293 h 283886"/>
                <a:gd name="connsiteX29" fmla="*/ 0 w 283256"/>
                <a:gd name="connsiteY29" fmla="*/ 125293 h 283886"/>
                <a:gd name="connsiteX30" fmla="*/ 0 w 283256"/>
                <a:gd name="connsiteY30" fmla="*/ 155264 h 283886"/>
                <a:gd name="connsiteX31" fmla="*/ 0 w 283256"/>
                <a:gd name="connsiteY31" fmla="*/ 155264 h 283886"/>
                <a:gd name="connsiteX32" fmla="*/ 18939 w 283256"/>
                <a:gd name="connsiteY32" fmla="*/ 178158 h 283886"/>
                <a:gd name="connsiteX33" fmla="*/ 19564 w 283256"/>
                <a:gd name="connsiteY33" fmla="*/ 178158 h 283886"/>
                <a:gd name="connsiteX34" fmla="*/ 38607 w 283256"/>
                <a:gd name="connsiteY34" fmla="*/ 180759 h 283886"/>
                <a:gd name="connsiteX35" fmla="*/ 40376 w 283256"/>
                <a:gd name="connsiteY35" fmla="*/ 185234 h 283886"/>
                <a:gd name="connsiteX36" fmla="*/ 28513 w 283256"/>
                <a:gd name="connsiteY36" fmla="*/ 200635 h 283886"/>
                <a:gd name="connsiteX37" fmla="*/ 28513 w 283256"/>
                <a:gd name="connsiteY37" fmla="*/ 200635 h 283886"/>
                <a:gd name="connsiteX38" fmla="*/ 28513 w 283256"/>
                <a:gd name="connsiteY38" fmla="*/ 200635 h 283886"/>
                <a:gd name="connsiteX39" fmla="*/ 30906 w 283256"/>
                <a:gd name="connsiteY39" fmla="*/ 230189 h 283886"/>
                <a:gd name="connsiteX40" fmla="*/ 30906 w 283256"/>
                <a:gd name="connsiteY40" fmla="*/ 230189 h 283886"/>
                <a:gd name="connsiteX41" fmla="*/ 51719 w 283256"/>
                <a:gd name="connsiteY41" fmla="*/ 251523 h 283886"/>
                <a:gd name="connsiteX42" fmla="*/ 51719 w 283256"/>
                <a:gd name="connsiteY42" fmla="*/ 251523 h 283886"/>
                <a:gd name="connsiteX43" fmla="*/ 68160 w 283256"/>
                <a:gd name="connsiteY43" fmla="*/ 258391 h 283886"/>
                <a:gd name="connsiteX44" fmla="*/ 80544 w 283256"/>
                <a:gd name="connsiteY44" fmla="*/ 254645 h 283886"/>
                <a:gd name="connsiteX45" fmla="*/ 80544 w 283256"/>
                <a:gd name="connsiteY45" fmla="*/ 254645 h 283886"/>
                <a:gd name="connsiteX46" fmla="*/ 80544 w 283256"/>
                <a:gd name="connsiteY46" fmla="*/ 254645 h 283886"/>
                <a:gd name="connsiteX47" fmla="*/ 80544 w 283256"/>
                <a:gd name="connsiteY47" fmla="*/ 254645 h 283886"/>
                <a:gd name="connsiteX48" fmla="*/ 96153 w 283256"/>
                <a:gd name="connsiteY48" fmla="*/ 242989 h 283886"/>
                <a:gd name="connsiteX49" fmla="*/ 100627 w 283256"/>
                <a:gd name="connsiteY49" fmla="*/ 244863 h 283886"/>
                <a:gd name="connsiteX50" fmla="*/ 103021 w 283256"/>
                <a:gd name="connsiteY50" fmla="*/ 264218 h 283886"/>
                <a:gd name="connsiteX51" fmla="*/ 103021 w 283256"/>
                <a:gd name="connsiteY51" fmla="*/ 264739 h 283886"/>
                <a:gd name="connsiteX52" fmla="*/ 125498 w 283256"/>
                <a:gd name="connsiteY52" fmla="*/ 283886 h 283886"/>
                <a:gd name="connsiteX53" fmla="*/ 155780 w 283256"/>
                <a:gd name="connsiteY53" fmla="*/ 283886 h 283886"/>
                <a:gd name="connsiteX54" fmla="*/ 178362 w 283256"/>
                <a:gd name="connsiteY54" fmla="*/ 265051 h 283886"/>
                <a:gd name="connsiteX55" fmla="*/ 178362 w 283256"/>
                <a:gd name="connsiteY55" fmla="*/ 264531 h 283886"/>
                <a:gd name="connsiteX56" fmla="*/ 181171 w 283256"/>
                <a:gd name="connsiteY56" fmla="*/ 245383 h 283886"/>
                <a:gd name="connsiteX57" fmla="*/ 185750 w 283256"/>
                <a:gd name="connsiteY57" fmla="*/ 243510 h 283886"/>
                <a:gd name="connsiteX58" fmla="*/ 200943 w 283256"/>
                <a:gd name="connsiteY58" fmla="*/ 255477 h 283886"/>
                <a:gd name="connsiteX59" fmla="*/ 200943 w 283256"/>
                <a:gd name="connsiteY59" fmla="*/ 255477 h 283886"/>
                <a:gd name="connsiteX60" fmla="*/ 200943 w 283256"/>
                <a:gd name="connsiteY60" fmla="*/ 255477 h 283886"/>
                <a:gd name="connsiteX61" fmla="*/ 200943 w 283256"/>
                <a:gd name="connsiteY61" fmla="*/ 255477 h 283886"/>
                <a:gd name="connsiteX62" fmla="*/ 200943 w 283256"/>
                <a:gd name="connsiteY62" fmla="*/ 255477 h 283886"/>
                <a:gd name="connsiteX63" fmla="*/ 229872 w 283256"/>
                <a:gd name="connsiteY63" fmla="*/ 252667 h 283886"/>
                <a:gd name="connsiteX64" fmla="*/ 251309 w 283256"/>
                <a:gd name="connsiteY64" fmla="*/ 231855 h 283886"/>
                <a:gd name="connsiteX65" fmla="*/ 251309 w 283256"/>
                <a:gd name="connsiteY65" fmla="*/ 231855 h 283886"/>
                <a:gd name="connsiteX66" fmla="*/ 254015 w 283256"/>
                <a:gd name="connsiteY66" fmla="*/ 202613 h 283886"/>
                <a:gd name="connsiteX67" fmla="*/ 254015 w 283256"/>
                <a:gd name="connsiteY67" fmla="*/ 202613 h 283886"/>
                <a:gd name="connsiteX68" fmla="*/ 254015 w 283256"/>
                <a:gd name="connsiteY68" fmla="*/ 202613 h 283886"/>
                <a:gd name="connsiteX69" fmla="*/ 242360 w 283256"/>
                <a:gd name="connsiteY69" fmla="*/ 187003 h 283886"/>
                <a:gd name="connsiteX70" fmla="*/ 244233 w 283256"/>
                <a:gd name="connsiteY70" fmla="*/ 182528 h 283886"/>
                <a:gd name="connsiteX71" fmla="*/ 263380 w 283256"/>
                <a:gd name="connsiteY71" fmla="*/ 180135 h 283886"/>
                <a:gd name="connsiteX72" fmla="*/ 263900 w 283256"/>
                <a:gd name="connsiteY72" fmla="*/ 180135 h 283886"/>
                <a:gd name="connsiteX73" fmla="*/ 283256 w 283256"/>
                <a:gd name="connsiteY73" fmla="*/ 157657 h 283886"/>
                <a:gd name="connsiteX74" fmla="*/ 283256 w 283256"/>
                <a:gd name="connsiteY74" fmla="*/ 157657 h 283886"/>
                <a:gd name="connsiteX75" fmla="*/ 283256 w 283256"/>
                <a:gd name="connsiteY75" fmla="*/ 127583 h 283886"/>
                <a:gd name="connsiteX76" fmla="*/ 283256 w 283256"/>
                <a:gd name="connsiteY76" fmla="*/ 127583 h 283886"/>
                <a:gd name="connsiteX77" fmla="*/ 264525 w 283256"/>
                <a:gd name="connsiteY77" fmla="*/ 104688 h 283886"/>
                <a:gd name="connsiteX78" fmla="*/ 263900 w 283256"/>
                <a:gd name="connsiteY78" fmla="*/ 104688 h 283886"/>
                <a:gd name="connsiteX79" fmla="*/ 245794 w 283256"/>
                <a:gd name="connsiteY79" fmla="*/ 101983 h 283886"/>
                <a:gd name="connsiteX80" fmla="*/ 243921 w 283256"/>
                <a:gd name="connsiteY80" fmla="*/ 97508 h 283886"/>
                <a:gd name="connsiteX81" fmla="*/ 255888 w 283256"/>
                <a:gd name="connsiteY81" fmla="*/ 82315 h 283886"/>
                <a:gd name="connsiteX82" fmla="*/ 255888 w 283256"/>
                <a:gd name="connsiteY82" fmla="*/ 82315 h 283886"/>
                <a:gd name="connsiteX83" fmla="*/ 255888 w 283256"/>
                <a:gd name="connsiteY83" fmla="*/ 82315 h 283886"/>
                <a:gd name="connsiteX84" fmla="*/ 253390 w 283256"/>
                <a:gd name="connsiteY84" fmla="*/ 52761 h 283886"/>
                <a:gd name="connsiteX85" fmla="*/ 232578 w 283256"/>
                <a:gd name="connsiteY85" fmla="*/ 31219 h 283886"/>
                <a:gd name="connsiteX86" fmla="*/ 218321 w 283256"/>
                <a:gd name="connsiteY86" fmla="*/ 96572 h 283886"/>
                <a:gd name="connsiteX87" fmla="*/ 218321 w 283256"/>
                <a:gd name="connsiteY87" fmla="*/ 97196 h 283886"/>
                <a:gd name="connsiteX88" fmla="*/ 218321 w 283256"/>
                <a:gd name="connsiteY88" fmla="*/ 97196 h 283886"/>
                <a:gd name="connsiteX89" fmla="*/ 218321 w 283256"/>
                <a:gd name="connsiteY89" fmla="*/ 97820 h 283886"/>
                <a:gd name="connsiteX90" fmla="*/ 218321 w 283256"/>
                <a:gd name="connsiteY90" fmla="*/ 97820 h 283886"/>
                <a:gd name="connsiteX91" fmla="*/ 218321 w 283256"/>
                <a:gd name="connsiteY91" fmla="*/ 98445 h 283886"/>
                <a:gd name="connsiteX92" fmla="*/ 218321 w 283256"/>
                <a:gd name="connsiteY92" fmla="*/ 99069 h 283886"/>
                <a:gd name="connsiteX93" fmla="*/ 218321 w 283256"/>
                <a:gd name="connsiteY93" fmla="*/ 99069 h 283886"/>
                <a:gd name="connsiteX94" fmla="*/ 218321 w 283256"/>
                <a:gd name="connsiteY94" fmla="*/ 99797 h 283886"/>
                <a:gd name="connsiteX95" fmla="*/ 218321 w 283256"/>
                <a:gd name="connsiteY95" fmla="*/ 99797 h 283886"/>
                <a:gd name="connsiteX96" fmla="*/ 224461 w 283256"/>
                <a:gd name="connsiteY96" fmla="*/ 114679 h 283886"/>
                <a:gd name="connsiteX97" fmla="*/ 224461 w 283256"/>
                <a:gd name="connsiteY97" fmla="*/ 114679 h 283886"/>
                <a:gd name="connsiteX98" fmla="*/ 224461 w 283256"/>
                <a:gd name="connsiteY98" fmla="*/ 114679 h 283886"/>
                <a:gd name="connsiteX99" fmla="*/ 225398 w 283256"/>
                <a:gd name="connsiteY99" fmla="*/ 116656 h 283886"/>
                <a:gd name="connsiteX100" fmla="*/ 225398 w 283256"/>
                <a:gd name="connsiteY100" fmla="*/ 116656 h 283886"/>
                <a:gd name="connsiteX101" fmla="*/ 225918 w 283256"/>
                <a:gd name="connsiteY101" fmla="*/ 117488 h 283886"/>
                <a:gd name="connsiteX102" fmla="*/ 225918 w 283256"/>
                <a:gd name="connsiteY102" fmla="*/ 117488 h 283886"/>
                <a:gd name="connsiteX103" fmla="*/ 226542 w 283256"/>
                <a:gd name="connsiteY103" fmla="*/ 118217 h 283886"/>
                <a:gd name="connsiteX104" fmla="*/ 226542 w 283256"/>
                <a:gd name="connsiteY104" fmla="*/ 118217 h 283886"/>
                <a:gd name="connsiteX105" fmla="*/ 227166 w 283256"/>
                <a:gd name="connsiteY105" fmla="*/ 118217 h 283886"/>
                <a:gd name="connsiteX106" fmla="*/ 227166 w 283256"/>
                <a:gd name="connsiteY106" fmla="*/ 118217 h 283886"/>
                <a:gd name="connsiteX107" fmla="*/ 227895 w 283256"/>
                <a:gd name="connsiteY107" fmla="*/ 118841 h 283886"/>
                <a:gd name="connsiteX108" fmla="*/ 227895 w 283256"/>
                <a:gd name="connsiteY108" fmla="*/ 118841 h 283886"/>
                <a:gd name="connsiteX109" fmla="*/ 228623 w 283256"/>
                <a:gd name="connsiteY109" fmla="*/ 118841 h 283886"/>
                <a:gd name="connsiteX110" fmla="*/ 228623 w 283256"/>
                <a:gd name="connsiteY110" fmla="*/ 118841 h 283886"/>
                <a:gd name="connsiteX111" fmla="*/ 229144 w 283256"/>
                <a:gd name="connsiteY111" fmla="*/ 118841 h 283886"/>
                <a:gd name="connsiteX112" fmla="*/ 229144 w 283256"/>
                <a:gd name="connsiteY112" fmla="*/ 118841 h 283886"/>
                <a:gd name="connsiteX113" fmla="*/ 229768 w 283256"/>
                <a:gd name="connsiteY113" fmla="*/ 118841 h 283886"/>
                <a:gd name="connsiteX114" fmla="*/ 229768 w 283256"/>
                <a:gd name="connsiteY114" fmla="*/ 118841 h 283886"/>
                <a:gd name="connsiteX115" fmla="*/ 231954 w 283256"/>
                <a:gd name="connsiteY115" fmla="*/ 118841 h 283886"/>
                <a:gd name="connsiteX116" fmla="*/ 231954 w 283256"/>
                <a:gd name="connsiteY116" fmla="*/ 118841 h 283886"/>
                <a:gd name="connsiteX117" fmla="*/ 257032 w 283256"/>
                <a:gd name="connsiteY117" fmla="*/ 122171 h 283886"/>
                <a:gd name="connsiteX118" fmla="*/ 257032 w 283256"/>
                <a:gd name="connsiteY118" fmla="*/ 150685 h 283886"/>
                <a:gd name="connsiteX119" fmla="*/ 231641 w 283256"/>
                <a:gd name="connsiteY119" fmla="*/ 153911 h 283886"/>
                <a:gd name="connsiteX120" fmla="*/ 231641 w 283256"/>
                <a:gd name="connsiteY120" fmla="*/ 153911 h 283886"/>
                <a:gd name="connsiteX121" fmla="*/ 230913 w 283256"/>
                <a:gd name="connsiteY121" fmla="*/ 153911 h 283886"/>
                <a:gd name="connsiteX122" fmla="*/ 229872 w 283256"/>
                <a:gd name="connsiteY122" fmla="*/ 153911 h 283886"/>
                <a:gd name="connsiteX123" fmla="*/ 229248 w 283256"/>
                <a:gd name="connsiteY123" fmla="*/ 153911 h 283886"/>
                <a:gd name="connsiteX124" fmla="*/ 229248 w 283256"/>
                <a:gd name="connsiteY124" fmla="*/ 153911 h 283886"/>
                <a:gd name="connsiteX125" fmla="*/ 228623 w 283256"/>
                <a:gd name="connsiteY125" fmla="*/ 153911 h 283886"/>
                <a:gd name="connsiteX126" fmla="*/ 228623 w 283256"/>
                <a:gd name="connsiteY126" fmla="*/ 153911 h 283886"/>
                <a:gd name="connsiteX127" fmla="*/ 227999 w 283256"/>
                <a:gd name="connsiteY127" fmla="*/ 153911 h 283886"/>
                <a:gd name="connsiteX128" fmla="*/ 227999 w 283256"/>
                <a:gd name="connsiteY128" fmla="*/ 153911 h 283886"/>
                <a:gd name="connsiteX129" fmla="*/ 227479 w 283256"/>
                <a:gd name="connsiteY129" fmla="*/ 153911 h 283886"/>
                <a:gd name="connsiteX130" fmla="*/ 227479 w 283256"/>
                <a:gd name="connsiteY130" fmla="*/ 153911 h 283886"/>
                <a:gd name="connsiteX131" fmla="*/ 227479 w 283256"/>
                <a:gd name="connsiteY131" fmla="*/ 153911 h 283886"/>
                <a:gd name="connsiteX132" fmla="*/ 226958 w 283256"/>
                <a:gd name="connsiteY132" fmla="*/ 153911 h 283886"/>
                <a:gd name="connsiteX133" fmla="*/ 226958 w 283256"/>
                <a:gd name="connsiteY133" fmla="*/ 153911 h 283886"/>
                <a:gd name="connsiteX134" fmla="*/ 226958 w 283256"/>
                <a:gd name="connsiteY134" fmla="*/ 154431 h 283886"/>
                <a:gd name="connsiteX135" fmla="*/ 226958 w 283256"/>
                <a:gd name="connsiteY135" fmla="*/ 154431 h 283886"/>
                <a:gd name="connsiteX136" fmla="*/ 226958 w 283256"/>
                <a:gd name="connsiteY136" fmla="*/ 155055 h 283886"/>
                <a:gd name="connsiteX137" fmla="*/ 226958 w 283256"/>
                <a:gd name="connsiteY137" fmla="*/ 155055 h 283886"/>
                <a:gd name="connsiteX138" fmla="*/ 226958 w 283256"/>
                <a:gd name="connsiteY138" fmla="*/ 155055 h 283886"/>
                <a:gd name="connsiteX139" fmla="*/ 226958 w 283256"/>
                <a:gd name="connsiteY139" fmla="*/ 155576 h 283886"/>
                <a:gd name="connsiteX140" fmla="*/ 226958 w 283256"/>
                <a:gd name="connsiteY140" fmla="*/ 156096 h 283886"/>
                <a:gd name="connsiteX141" fmla="*/ 226958 w 283256"/>
                <a:gd name="connsiteY141" fmla="*/ 156825 h 283886"/>
                <a:gd name="connsiteX142" fmla="*/ 226958 w 283256"/>
                <a:gd name="connsiteY142" fmla="*/ 156825 h 283886"/>
                <a:gd name="connsiteX143" fmla="*/ 220819 w 283256"/>
                <a:gd name="connsiteY143" fmla="*/ 171601 h 283886"/>
                <a:gd name="connsiteX144" fmla="*/ 220819 w 283256"/>
                <a:gd name="connsiteY144" fmla="*/ 171601 h 283886"/>
                <a:gd name="connsiteX145" fmla="*/ 220819 w 283256"/>
                <a:gd name="connsiteY145" fmla="*/ 172226 h 283886"/>
                <a:gd name="connsiteX146" fmla="*/ 220819 w 283256"/>
                <a:gd name="connsiteY146" fmla="*/ 172746 h 283886"/>
                <a:gd name="connsiteX147" fmla="*/ 220819 w 283256"/>
                <a:gd name="connsiteY147" fmla="*/ 173371 h 283886"/>
                <a:gd name="connsiteX148" fmla="*/ 220819 w 283256"/>
                <a:gd name="connsiteY148" fmla="*/ 173891 h 283886"/>
                <a:gd name="connsiteX149" fmla="*/ 220819 w 283256"/>
                <a:gd name="connsiteY149" fmla="*/ 174515 h 283886"/>
                <a:gd name="connsiteX150" fmla="*/ 220819 w 283256"/>
                <a:gd name="connsiteY150" fmla="*/ 175036 h 283886"/>
                <a:gd name="connsiteX151" fmla="*/ 220819 w 283256"/>
                <a:gd name="connsiteY151" fmla="*/ 176805 h 283886"/>
                <a:gd name="connsiteX152" fmla="*/ 220819 w 283256"/>
                <a:gd name="connsiteY152" fmla="*/ 177429 h 283886"/>
                <a:gd name="connsiteX153" fmla="*/ 220819 w 283256"/>
                <a:gd name="connsiteY153" fmla="*/ 177949 h 283886"/>
                <a:gd name="connsiteX154" fmla="*/ 220819 w 283256"/>
                <a:gd name="connsiteY154" fmla="*/ 178574 h 283886"/>
                <a:gd name="connsiteX155" fmla="*/ 220819 w 283256"/>
                <a:gd name="connsiteY155" fmla="*/ 178574 h 283886"/>
                <a:gd name="connsiteX156" fmla="*/ 220819 w 283256"/>
                <a:gd name="connsiteY156" fmla="*/ 179198 h 283886"/>
                <a:gd name="connsiteX157" fmla="*/ 220819 w 283256"/>
                <a:gd name="connsiteY157" fmla="*/ 179198 h 283886"/>
                <a:gd name="connsiteX158" fmla="*/ 220819 w 283256"/>
                <a:gd name="connsiteY158" fmla="*/ 179823 h 283886"/>
                <a:gd name="connsiteX159" fmla="*/ 220819 w 283256"/>
                <a:gd name="connsiteY159" fmla="*/ 180343 h 283886"/>
                <a:gd name="connsiteX160" fmla="*/ 220819 w 283256"/>
                <a:gd name="connsiteY160" fmla="*/ 180343 h 283886"/>
                <a:gd name="connsiteX161" fmla="*/ 220819 w 283256"/>
                <a:gd name="connsiteY161" fmla="*/ 180863 h 283886"/>
                <a:gd name="connsiteX162" fmla="*/ 220819 w 283256"/>
                <a:gd name="connsiteY162" fmla="*/ 181384 h 283886"/>
                <a:gd name="connsiteX163" fmla="*/ 220819 w 283256"/>
                <a:gd name="connsiteY163" fmla="*/ 182008 h 283886"/>
                <a:gd name="connsiteX164" fmla="*/ 220819 w 283256"/>
                <a:gd name="connsiteY164" fmla="*/ 182008 h 283886"/>
                <a:gd name="connsiteX165" fmla="*/ 236116 w 283256"/>
                <a:gd name="connsiteY165" fmla="*/ 202821 h 283886"/>
                <a:gd name="connsiteX166" fmla="*/ 215095 w 283256"/>
                <a:gd name="connsiteY166" fmla="*/ 236225 h 283886"/>
                <a:gd name="connsiteX167" fmla="*/ 195011 w 283256"/>
                <a:gd name="connsiteY167" fmla="*/ 220512 h 283886"/>
                <a:gd name="connsiteX168" fmla="*/ 195011 w 283256"/>
                <a:gd name="connsiteY168" fmla="*/ 220512 h 283886"/>
                <a:gd name="connsiteX169" fmla="*/ 194387 w 283256"/>
                <a:gd name="connsiteY169" fmla="*/ 220512 h 283886"/>
                <a:gd name="connsiteX170" fmla="*/ 194387 w 283256"/>
                <a:gd name="connsiteY170" fmla="*/ 220512 h 283886"/>
                <a:gd name="connsiteX171" fmla="*/ 193867 w 283256"/>
                <a:gd name="connsiteY171" fmla="*/ 220512 h 283886"/>
                <a:gd name="connsiteX172" fmla="*/ 193243 w 283256"/>
                <a:gd name="connsiteY172" fmla="*/ 220512 h 283886"/>
                <a:gd name="connsiteX173" fmla="*/ 193243 w 283256"/>
                <a:gd name="connsiteY173" fmla="*/ 220512 h 283886"/>
                <a:gd name="connsiteX174" fmla="*/ 192514 w 283256"/>
                <a:gd name="connsiteY174" fmla="*/ 220512 h 283886"/>
                <a:gd name="connsiteX175" fmla="*/ 192514 w 283256"/>
                <a:gd name="connsiteY175" fmla="*/ 220512 h 283886"/>
                <a:gd name="connsiteX176" fmla="*/ 191890 w 283256"/>
                <a:gd name="connsiteY176" fmla="*/ 220512 h 283886"/>
                <a:gd name="connsiteX177" fmla="*/ 186270 w 283256"/>
                <a:gd name="connsiteY177" fmla="*/ 220512 h 283886"/>
                <a:gd name="connsiteX178" fmla="*/ 185646 w 283256"/>
                <a:gd name="connsiteY178" fmla="*/ 220512 h 283886"/>
                <a:gd name="connsiteX179" fmla="*/ 185022 w 283256"/>
                <a:gd name="connsiteY179" fmla="*/ 220512 h 283886"/>
                <a:gd name="connsiteX180" fmla="*/ 185022 w 283256"/>
                <a:gd name="connsiteY180" fmla="*/ 220512 h 283886"/>
                <a:gd name="connsiteX181" fmla="*/ 184293 w 283256"/>
                <a:gd name="connsiteY181" fmla="*/ 220512 h 283886"/>
                <a:gd name="connsiteX182" fmla="*/ 184293 w 283256"/>
                <a:gd name="connsiteY182" fmla="*/ 220512 h 283886"/>
                <a:gd name="connsiteX183" fmla="*/ 169517 w 283256"/>
                <a:gd name="connsiteY183" fmla="*/ 226651 h 283886"/>
                <a:gd name="connsiteX184" fmla="*/ 169517 w 283256"/>
                <a:gd name="connsiteY184" fmla="*/ 226651 h 283886"/>
                <a:gd name="connsiteX185" fmla="*/ 168788 w 283256"/>
                <a:gd name="connsiteY185" fmla="*/ 226651 h 283886"/>
                <a:gd name="connsiteX186" fmla="*/ 168268 w 283256"/>
                <a:gd name="connsiteY186" fmla="*/ 226651 h 283886"/>
                <a:gd name="connsiteX187" fmla="*/ 167747 w 283256"/>
                <a:gd name="connsiteY187" fmla="*/ 226651 h 283886"/>
                <a:gd name="connsiteX188" fmla="*/ 167747 w 283256"/>
                <a:gd name="connsiteY188" fmla="*/ 226651 h 283886"/>
                <a:gd name="connsiteX189" fmla="*/ 167747 w 283256"/>
                <a:gd name="connsiteY189" fmla="*/ 226651 h 283886"/>
                <a:gd name="connsiteX190" fmla="*/ 167123 w 283256"/>
                <a:gd name="connsiteY190" fmla="*/ 226651 h 283886"/>
                <a:gd name="connsiteX191" fmla="*/ 167123 w 283256"/>
                <a:gd name="connsiteY191" fmla="*/ 226651 h 283886"/>
                <a:gd name="connsiteX192" fmla="*/ 167123 w 283256"/>
                <a:gd name="connsiteY192" fmla="*/ 226651 h 283886"/>
                <a:gd name="connsiteX193" fmla="*/ 167123 w 283256"/>
                <a:gd name="connsiteY193" fmla="*/ 226651 h 283886"/>
                <a:gd name="connsiteX194" fmla="*/ 167123 w 283256"/>
                <a:gd name="connsiteY194" fmla="*/ 226651 h 283886"/>
                <a:gd name="connsiteX195" fmla="*/ 167123 w 283256"/>
                <a:gd name="connsiteY195" fmla="*/ 226651 h 283886"/>
                <a:gd name="connsiteX196" fmla="*/ 167123 w 283256"/>
                <a:gd name="connsiteY196" fmla="*/ 226651 h 283886"/>
                <a:gd name="connsiteX197" fmla="*/ 167123 w 283256"/>
                <a:gd name="connsiteY197" fmla="*/ 226651 h 283886"/>
                <a:gd name="connsiteX198" fmla="*/ 167123 w 283256"/>
                <a:gd name="connsiteY198" fmla="*/ 227172 h 283886"/>
                <a:gd name="connsiteX199" fmla="*/ 167123 w 283256"/>
                <a:gd name="connsiteY199" fmla="*/ 227172 h 283886"/>
                <a:gd name="connsiteX200" fmla="*/ 167123 w 283256"/>
                <a:gd name="connsiteY200" fmla="*/ 227796 h 283886"/>
                <a:gd name="connsiteX201" fmla="*/ 167123 w 283256"/>
                <a:gd name="connsiteY201" fmla="*/ 228316 h 283886"/>
                <a:gd name="connsiteX202" fmla="*/ 167123 w 283256"/>
                <a:gd name="connsiteY202" fmla="*/ 228941 h 283886"/>
                <a:gd name="connsiteX203" fmla="*/ 167123 w 283256"/>
                <a:gd name="connsiteY203" fmla="*/ 229461 h 283886"/>
                <a:gd name="connsiteX204" fmla="*/ 167123 w 283256"/>
                <a:gd name="connsiteY204" fmla="*/ 230189 h 283886"/>
                <a:gd name="connsiteX205" fmla="*/ 167123 w 283256"/>
                <a:gd name="connsiteY205" fmla="*/ 230189 h 283886"/>
                <a:gd name="connsiteX206" fmla="*/ 163585 w 283256"/>
                <a:gd name="connsiteY206" fmla="*/ 255373 h 283886"/>
                <a:gd name="connsiteX207" fmla="*/ 135176 w 283256"/>
                <a:gd name="connsiteY207" fmla="*/ 255373 h 283886"/>
                <a:gd name="connsiteX208" fmla="*/ 132054 w 283256"/>
                <a:gd name="connsiteY208" fmla="*/ 229981 h 283886"/>
                <a:gd name="connsiteX209" fmla="*/ 132054 w 283256"/>
                <a:gd name="connsiteY209" fmla="*/ 229981 h 283886"/>
                <a:gd name="connsiteX210" fmla="*/ 132054 w 283256"/>
                <a:gd name="connsiteY210" fmla="*/ 229253 h 283886"/>
                <a:gd name="connsiteX211" fmla="*/ 132054 w 283256"/>
                <a:gd name="connsiteY211" fmla="*/ 228629 h 283886"/>
                <a:gd name="connsiteX212" fmla="*/ 132054 w 283256"/>
                <a:gd name="connsiteY212" fmla="*/ 228004 h 283886"/>
                <a:gd name="connsiteX213" fmla="*/ 132054 w 283256"/>
                <a:gd name="connsiteY213" fmla="*/ 228004 h 283886"/>
                <a:gd name="connsiteX214" fmla="*/ 132054 w 283256"/>
                <a:gd name="connsiteY214" fmla="*/ 227380 h 283886"/>
                <a:gd name="connsiteX215" fmla="*/ 132054 w 283256"/>
                <a:gd name="connsiteY215" fmla="*/ 227380 h 283886"/>
                <a:gd name="connsiteX216" fmla="*/ 132054 w 283256"/>
                <a:gd name="connsiteY216" fmla="*/ 226755 h 283886"/>
                <a:gd name="connsiteX217" fmla="*/ 132054 w 283256"/>
                <a:gd name="connsiteY217" fmla="*/ 226755 h 283886"/>
                <a:gd name="connsiteX218" fmla="*/ 132054 w 283256"/>
                <a:gd name="connsiteY218" fmla="*/ 226235 h 283886"/>
                <a:gd name="connsiteX219" fmla="*/ 132054 w 283256"/>
                <a:gd name="connsiteY219" fmla="*/ 226235 h 283886"/>
                <a:gd name="connsiteX220" fmla="*/ 132054 w 283256"/>
                <a:gd name="connsiteY220" fmla="*/ 226235 h 283886"/>
                <a:gd name="connsiteX221" fmla="*/ 132054 w 283256"/>
                <a:gd name="connsiteY221" fmla="*/ 226235 h 283886"/>
                <a:gd name="connsiteX222" fmla="*/ 132054 w 283256"/>
                <a:gd name="connsiteY222" fmla="*/ 226235 h 283886"/>
                <a:gd name="connsiteX223" fmla="*/ 131534 w 283256"/>
                <a:gd name="connsiteY223" fmla="*/ 226235 h 283886"/>
                <a:gd name="connsiteX224" fmla="*/ 131534 w 283256"/>
                <a:gd name="connsiteY224" fmla="*/ 226235 h 283886"/>
                <a:gd name="connsiteX225" fmla="*/ 131014 w 283256"/>
                <a:gd name="connsiteY225" fmla="*/ 226235 h 283886"/>
                <a:gd name="connsiteX226" fmla="*/ 131014 w 283256"/>
                <a:gd name="connsiteY226" fmla="*/ 226235 h 283886"/>
                <a:gd name="connsiteX227" fmla="*/ 130493 w 283256"/>
                <a:gd name="connsiteY227" fmla="*/ 226235 h 283886"/>
                <a:gd name="connsiteX228" fmla="*/ 129869 w 283256"/>
                <a:gd name="connsiteY228" fmla="*/ 226235 h 283886"/>
                <a:gd name="connsiteX229" fmla="*/ 129869 w 283256"/>
                <a:gd name="connsiteY229" fmla="*/ 226235 h 283886"/>
                <a:gd name="connsiteX230" fmla="*/ 129141 w 283256"/>
                <a:gd name="connsiteY230" fmla="*/ 226235 h 283886"/>
                <a:gd name="connsiteX231" fmla="*/ 129141 w 283256"/>
                <a:gd name="connsiteY231" fmla="*/ 226235 h 283886"/>
                <a:gd name="connsiteX232" fmla="*/ 114364 w 283256"/>
                <a:gd name="connsiteY232" fmla="*/ 220095 h 283886"/>
                <a:gd name="connsiteX233" fmla="*/ 114364 w 283256"/>
                <a:gd name="connsiteY233" fmla="*/ 220095 h 283886"/>
                <a:gd name="connsiteX234" fmla="*/ 113635 w 283256"/>
                <a:gd name="connsiteY234" fmla="*/ 220095 h 283886"/>
                <a:gd name="connsiteX235" fmla="*/ 113635 w 283256"/>
                <a:gd name="connsiteY235" fmla="*/ 220095 h 283886"/>
                <a:gd name="connsiteX236" fmla="*/ 113011 w 283256"/>
                <a:gd name="connsiteY236" fmla="*/ 220095 h 283886"/>
                <a:gd name="connsiteX237" fmla="*/ 112491 w 283256"/>
                <a:gd name="connsiteY237" fmla="*/ 220095 h 283886"/>
                <a:gd name="connsiteX238" fmla="*/ 106767 w 283256"/>
                <a:gd name="connsiteY238" fmla="*/ 220095 h 283886"/>
                <a:gd name="connsiteX239" fmla="*/ 106143 w 283256"/>
                <a:gd name="connsiteY239" fmla="*/ 220095 h 283886"/>
                <a:gd name="connsiteX240" fmla="*/ 106143 w 283256"/>
                <a:gd name="connsiteY240" fmla="*/ 220095 h 283886"/>
                <a:gd name="connsiteX241" fmla="*/ 105518 w 283256"/>
                <a:gd name="connsiteY241" fmla="*/ 220095 h 283886"/>
                <a:gd name="connsiteX242" fmla="*/ 104998 w 283256"/>
                <a:gd name="connsiteY242" fmla="*/ 220095 h 283886"/>
                <a:gd name="connsiteX243" fmla="*/ 104478 w 283256"/>
                <a:gd name="connsiteY243" fmla="*/ 220095 h 283886"/>
                <a:gd name="connsiteX244" fmla="*/ 103853 w 283256"/>
                <a:gd name="connsiteY244" fmla="*/ 220095 h 283886"/>
                <a:gd name="connsiteX245" fmla="*/ 103853 w 283256"/>
                <a:gd name="connsiteY245" fmla="*/ 220095 h 283886"/>
                <a:gd name="connsiteX246" fmla="*/ 103229 w 283256"/>
                <a:gd name="connsiteY246" fmla="*/ 220095 h 283886"/>
                <a:gd name="connsiteX247" fmla="*/ 103229 w 283256"/>
                <a:gd name="connsiteY247" fmla="*/ 220095 h 283886"/>
                <a:gd name="connsiteX248" fmla="*/ 82417 w 283256"/>
                <a:gd name="connsiteY248" fmla="*/ 235393 h 283886"/>
                <a:gd name="connsiteX249" fmla="*/ 62437 w 283256"/>
                <a:gd name="connsiteY249" fmla="*/ 214580 h 283886"/>
                <a:gd name="connsiteX250" fmla="*/ 78046 w 283256"/>
                <a:gd name="connsiteY250" fmla="*/ 194391 h 283886"/>
                <a:gd name="connsiteX251" fmla="*/ 78046 w 283256"/>
                <a:gd name="connsiteY251" fmla="*/ 194391 h 283886"/>
                <a:gd name="connsiteX252" fmla="*/ 78046 w 283256"/>
                <a:gd name="connsiteY252" fmla="*/ 193871 h 283886"/>
                <a:gd name="connsiteX253" fmla="*/ 78046 w 283256"/>
                <a:gd name="connsiteY253" fmla="*/ 193871 h 283886"/>
                <a:gd name="connsiteX254" fmla="*/ 78046 w 283256"/>
                <a:gd name="connsiteY254" fmla="*/ 193351 h 283886"/>
                <a:gd name="connsiteX255" fmla="*/ 78046 w 283256"/>
                <a:gd name="connsiteY255" fmla="*/ 193351 h 283886"/>
                <a:gd name="connsiteX256" fmla="*/ 78046 w 283256"/>
                <a:gd name="connsiteY256" fmla="*/ 192831 h 283886"/>
                <a:gd name="connsiteX257" fmla="*/ 78046 w 283256"/>
                <a:gd name="connsiteY257" fmla="*/ 192206 h 283886"/>
                <a:gd name="connsiteX258" fmla="*/ 78046 w 283256"/>
                <a:gd name="connsiteY258" fmla="*/ 192206 h 283886"/>
                <a:gd name="connsiteX259" fmla="*/ 78046 w 283256"/>
                <a:gd name="connsiteY259" fmla="*/ 191582 h 283886"/>
                <a:gd name="connsiteX260" fmla="*/ 78046 w 283256"/>
                <a:gd name="connsiteY260" fmla="*/ 191062 h 283886"/>
                <a:gd name="connsiteX261" fmla="*/ 78046 w 283256"/>
                <a:gd name="connsiteY261" fmla="*/ 190437 h 283886"/>
                <a:gd name="connsiteX262" fmla="*/ 78046 w 283256"/>
                <a:gd name="connsiteY262" fmla="*/ 188252 h 283886"/>
                <a:gd name="connsiteX263" fmla="*/ 78046 w 283256"/>
                <a:gd name="connsiteY263" fmla="*/ 187523 h 283886"/>
                <a:gd name="connsiteX264" fmla="*/ 78046 w 283256"/>
                <a:gd name="connsiteY264" fmla="*/ 187523 h 283886"/>
                <a:gd name="connsiteX265" fmla="*/ 78046 w 283256"/>
                <a:gd name="connsiteY265" fmla="*/ 186795 h 283886"/>
                <a:gd name="connsiteX266" fmla="*/ 78046 w 283256"/>
                <a:gd name="connsiteY266" fmla="*/ 184193 h 283886"/>
                <a:gd name="connsiteX267" fmla="*/ 78046 w 283256"/>
                <a:gd name="connsiteY267" fmla="*/ 184193 h 283886"/>
                <a:gd name="connsiteX268" fmla="*/ 78046 w 283256"/>
                <a:gd name="connsiteY268" fmla="*/ 183569 h 283886"/>
                <a:gd name="connsiteX269" fmla="*/ 78046 w 283256"/>
                <a:gd name="connsiteY269" fmla="*/ 183049 h 283886"/>
                <a:gd name="connsiteX270" fmla="*/ 78046 w 283256"/>
                <a:gd name="connsiteY270" fmla="*/ 182424 h 283886"/>
                <a:gd name="connsiteX271" fmla="*/ 78046 w 283256"/>
                <a:gd name="connsiteY271" fmla="*/ 182424 h 283886"/>
                <a:gd name="connsiteX272" fmla="*/ 72115 w 283256"/>
                <a:gd name="connsiteY272" fmla="*/ 167647 h 283886"/>
                <a:gd name="connsiteX273" fmla="*/ 72115 w 283256"/>
                <a:gd name="connsiteY273" fmla="*/ 167647 h 283886"/>
                <a:gd name="connsiteX274" fmla="*/ 72115 w 283256"/>
                <a:gd name="connsiteY274" fmla="*/ 166919 h 283886"/>
                <a:gd name="connsiteX275" fmla="*/ 72115 w 283256"/>
                <a:gd name="connsiteY275" fmla="*/ 166294 h 283886"/>
                <a:gd name="connsiteX276" fmla="*/ 72115 w 283256"/>
                <a:gd name="connsiteY276" fmla="*/ 165774 h 283886"/>
                <a:gd name="connsiteX277" fmla="*/ 72115 w 283256"/>
                <a:gd name="connsiteY277" fmla="*/ 165774 h 283886"/>
                <a:gd name="connsiteX278" fmla="*/ 72115 w 283256"/>
                <a:gd name="connsiteY278" fmla="*/ 165774 h 283886"/>
                <a:gd name="connsiteX279" fmla="*/ 72115 w 283256"/>
                <a:gd name="connsiteY279" fmla="*/ 165774 h 283886"/>
                <a:gd name="connsiteX280" fmla="*/ 72115 w 283256"/>
                <a:gd name="connsiteY280" fmla="*/ 165774 h 283886"/>
                <a:gd name="connsiteX281" fmla="*/ 72115 w 283256"/>
                <a:gd name="connsiteY281" fmla="*/ 165774 h 283886"/>
                <a:gd name="connsiteX282" fmla="*/ 72115 w 283256"/>
                <a:gd name="connsiteY282" fmla="*/ 165774 h 283886"/>
                <a:gd name="connsiteX283" fmla="*/ 72115 w 283256"/>
                <a:gd name="connsiteY283" fmla="*/ 165774 h 283886"/>
                <a:gd name="connsiteX284" fmla="*/ 72115 w 283256"/>
                <a:gd name="connsiteY284" fmla="*/ 165774 h 283886"/>
                <a:gd name="connsiteX285" fmla="*/ 72115 w 283256"/>
                <a:gd name="connsiteY285" fmla="*/ 165774 h 283886"/>
                <a:gd name="connsiteX286" fmla="*/ 72115 w 283256"/>
                <a:gd name="connsiteY286" fmla="*/ 165774 h 283886"/>
                <a:gd name="connsiteX287" fmla="*/ 71490 w 283256"/>
                <a:gd name="connsiteY287" fmla="*/ 165774 h 283886"/>
                <a:gd name="connsiteX288" fmla="*/ 71490 w 283256"/>
                <a:gd name="connsiteY288" fmla="*/ 165774 h 283886"/>
                <a:gd name="connsiteX289" fmla="*/ 70866 w 283256"/>
                <a:gd name="connsiteY289" fmla="*/ 165774 h 283886"/>
                <a:gd name="connsiteX290" fmla="*/ 70866 w 283256"/>
                <a:gd name="connsiteY290" fmla="*/ 165774 h 283886"/>
                <a:gd name="connsiteX291" fmla="*/ 70242 w 283256"/>
                <a:gd name="connsiteY291" fmla="*/ 165774 h 283886"/>
                <a:gd name="connsiteX292" fmla="*/ 69617 w 283256"/>
                <a:gd name="connsiteY292" fmla="*/ 165774 h 283886"/>
                <a:gd name="connsiteX293" fmla="*/ 68160 w 283256"/>
                <a:gd name="connsiteY293" fmla="*/ 165774 h 283886"/>
                <a:gd name="connsiteX294" fmla="*/ 42873 w 283256"/>
                <a:gd name="connsiteY294" fmla="*/ 162340 h 283886"/>
                <a:gd name="connsiteX295" fmla="*/ 42873 w 283256"/>
                <a:gd name="connsiteY295" fmla="*/ 133826 h 283886"/>
                <a:gd name="connsiteX296" fmla="*/ 68264 w 283256"/>
                <a:gd name="connsiteY296" fmla="*/ 130704 h 283886"/>
                <a:gd name="connsiteX297" fmla="*/ 68264 w 283256"/>
                <a:gd name="connsiteY297" fmla="*/ 130704 h 283886"/>
                <a:gd name="connsiteX298" fmla="*/ 69201 w 283256"/>
                <a:gd name="connsiteY298" fmla="*/ 130704 h 283886"/>
                <a:gd name="connsiteX299" fmla="*/ 69201 w 283256"/>
                <a:gd name="connsiteY299" fmla="*/ 130704 h 283886"/>
                <a:gd name="connsiteX300" fmla="*/ 70242 w 283256"/>
                <a:gd name="connsiteY300" fmla="*/ 130704 h 283886"/>
                <a:gd name="connsiteX301" fmla="*/ 70242 w 283256"/>
                <a:gd name="connsiteY301" fmla="*/ 130704 h 283886"/>
                <a:gd name="connsiteX302" fmla="*/ 70866 w 283256"/>
                <a:gd name="connsiteY302" fmla="*/ 130704 h 283886"/>
                <a:gd name="connsiteX303" fmla="*/ 70866 w 283256"/>
                <a:gd name="connsiteY303" fmla="*/ 130704 h 283886"/>
                <a:gd name="connsiteX304" fmla="*/ 71386 w 283256"/>
                <a:gd name="connsiteY304" fmla="*/ 130704 h 283886"/>
                <a:gd name="connsiteX305" fmla="*/ 71386 w 283256"/>
                <a:gd name="connsiteY305" fmla="*/ 130704 h 283886"/>
                <a:gd name="connsiteX306" fmla="*/ 72010 w 283256"/>
                <a:gd name="connsiteY306" fmla="*/ 130704 h 283886"/>
                <a:gd name="connsiteX307" fmla="*/ 72010 w 283256"/>
                <a:gd name="connsiteY307" fmla="*/ 130704 h 283886"/>
                <a:gd name="connsiteX308" fmla="*/ 72843 w 283256"/>
                <a:gd name="connsiteY308" fmla="*/ 130080 h 283886"/>
                <a:gd name="connsiteX309" fmla="*/ 72843 w 283256"/>
                <a:gd name="connsiteY309" fmla="*/ 130080 h 283886"/>
                <a:gd name="connsiteX310" fmla="*/ 72843 w 283256"/>
                <a:gd name="connsiteY310" fmla="*/ 130080 h 283886"/>
                <a:gd name="connsiteX311" fmla="*/ 72843 w 283256"/>
                <a:gd name="connsiteY311" fmla="*/ 130080 h 283886"/>
                <a:gd name="connsiteX312" fmla="*/ 73363 w 283256"/>
                <a:gd name="connsiteY312" fmla="*/ 129352 h 283886"/>
                <a:gd name="connsiteX313" fmla="*/ 73363 w 283256"/>
                <a:gd name="connsiteY313" fmla="*/ 129352 h 283886"/>
                <a:gd name="connsiteX314" fmla="*/ 73884 w 283256"/>
                <a:gd name="connsiteY314" fmla="*/ 128519 h 283886"/>
                <a:gd name="connsiteX315" fmla="*/ 73884 w 283256"/>
                <a:gd name="connsiteY315" fmla="*/ 128519 h 283886"/>
                <a:gd name="connsiteX316" fmla="*/ 74404 w 283256"/>
                <a:gd name="connsiteY316" fmla="*/ 127583 h 283886"/>
                <a:gd name="connsiteX317" fmla="*/ 74404 w 283256"/>
                <a:gd name="connsiteY317" fmla="*/ 127583 h 283886"/>
                <a:gd name="connsiteX318" fmla="*/ 74404 w 283256"/>
                <a:gd name="connsiteY318" fmla="*/ 126750 h 283886"/>
                <a:gd name="connsiteX319" fmla="*/ 74404 w 283256"/>
                <a:gd name="connsiteY319" fmla="*/ 126750 h 283886"/>
                <a:gd name="connsiteX320" fmla="*/ 74404 w 283256"/>
                <a:gd name="connsiteY320" fmla="*/ 126750 h 283886"/>
                <a:gd name="connsiteX321" fmla="*/ 80544 w 283256"/>
                <a:gd name="connsiteY321" fmla="*/ 111973 h 283886"/>
                <a:gd name="connsiteX322" fmla="*/ 80544 w 283256"/>
                <a:gd name="connsiteY322" fmla="*/ 111973 h 283886"/>
                <a:gd name="connsiteX323" fmla="*/ 80544 w 283256"/>
                <a:gd name="connsiteY323" fmla="*/ 111244 h 283886"/>
                <a:gd name="connsiteX324" fmla="*/ 80544 w 283256"/>
                <a:gd name="connsiteY324" fmla="*/ 111244 h 283886"/>
                <a:gd name="connsiteX325" fmla="*/ 80544 w 283256"/>
                <a:gd name="connsiteY325" fmla="*/ 110620 h 283886"/>
                <a:gd name="connsiteX326" fmla="*/ 80544 w 283256"/>
                <a:gd name="connsiteY326" fmla="*/ 109996 h 283886"/>
                <a:gd name="connsiteX327" fmla="*/ 80544 w 283256"/>
                <a:gd name="connsiteY327" fmla="*/ 109996 h 283886"/>
                <a:gd name="connsiteX328" fmla="*/ 80544 w 283256"/>
                <a:gd name="connsiteY328" fmla="*/ 109267 h 283886"/>
                <a:gd name="connsiteX329" fmla="*/ 80544 w 283256"/>
                <a:gd name="connsiteY329" fmla="*/ 107082 h 283886"/>
                <a:gd name="connsiteX330" fmla="*/ 80544 w 283256"/>
                <a:gd name="connsiteY330" fmla="*/ 106458 h 283886"/>
                <a:gd name="connsiteX331" fmla="*/ 80544 w 283256"/>
                <a:gd name="connsiteY331" fmla="*/ 106458 h 283886"/>
                <a:gd name="connsiteX332" fmla="*/ 80544 w 283256"/>
                <a:gd name="connsiteY332" fmla="*/ 105833 h 283886"/>
                <a:gd name="connsiteX333" fmla="*/ 80544 w 283256"/>
                <a:gd name="connsiteY333" fmla="*/ 105833 h 283886"/>
                <a:gd name="connsiteX334" fmla="*/ 80544 w 283256"/>
                <a:gd name="connsiteY334" fmla="*/ 105209 h 283886"/>
                <a:gd name="connsiteX335" fmla="*/ 80544 w 283256"/>
                <a:gd name="connsiteY335" fmla="*/ 105209 h 283886"/>
                <a:gd name="connsiteX336" fmla="*/ 80544 w 283256"/>
                <a:gd name="connsiteY336" fmla="*/ 104480 h 283886"/>
                <a:gd name="connsiteX337" fmla="*/ 80544 w 283256"/>
                <a:gd name="connsiteY337" fmla="*/ 104480 h 283886"/>
                <a:gd name="connsiteX338" fmla="*/ 80544 w 283256"/>
                <a:gd name="connsiteY338" fmla="*/ 103856 h 283886"/>
                <a:gd name="connsiteX339" fmla="*/ 80544 w 283256"/>
                <a:gd name="connsiteY339" fmla="*/ 103336 h 283886"/>
                <a:gd name="connsiteX340" fmla="*/ 80544 w 283256"/>
                <a:gd name="connsiteY340" fmla="*/ 103336 h 283886"/>
                <a:gd name="connsiteX341" fmla="*/ 80544 w 283256"/>
                <a:gd name="connsiteY341" fmla="*/ 102711 h 283886"/>
                <a:gd name="connsiteX342" fmla="*/ 80544 w 283256"/>
                <a:gd name="connsiteY342" fmla="*/ 102711 h 283886"/>
                <a:gd name="connsiteX343" fmla="*/ 65247 w 283256"/>
                <a:gd name="connsiteY343" fmla="*/ 81898 h 283886"/>
                <a:gd name="connsiteX344" fmla="*/ 85539 w 283256"/>
                <a:gd name="connsiteY344" fmla="*/ 61918 h 283886"/>
                <a:gd name="connsiteX345" fmla="*/ 105310 w 283256"/>
                <a:gd name="connsiteY345" fmla="*/ 77528 h 283886"/>
                <a:gd name="connsiteX346" fmla="*/ 106143 w 283256"/>
                <a:gd name="connsiteY346" fmla="*/ 78152 h 283886"/>
                <a:gd name="connsiteX347" fmla="*/ 106143 w 283256"/>
                <a:gd name="connsiteY347" fmla="*/ 78152 h 283886"/>
                <a:gd name="connsiteX348" fmla="*/ 106767 w 283256"/>
                <a:gd name="connsiteY348" fmla="*/ 78152 h 283886"/>
                <a:gd name="connsiteX349" fmla="*/ 106767 w 283256"/>
                <a:gd name="connsiteY349" fmla="*/ 78152 h 283886"/>
                <a:gd name="connsiteX350" fmla="*/ 107288 w 283256"/>
                <a:gd name="connsiteY350" fmla="*/ 78152 h 283886"/>
                <a:gd name="connsiteX351" fmla="*/ 107288 w 283256"/>
                <a:gd name="connsiteY351" fmla="*/ 78152 h 283886"/>
                <a:gd name="connsiteX352" fmla="*/ 108016 w 283256"/>
                <a:gd name="connsiteY352" fmla="*/ 78152 h 283886"/>
                <a:gd name="connsiteX353" fmla="*/ 111970 w 283256"/>
                <a:gd name="connsiteY353" fmla="*/ 78152 h 283886"/>
                <a:gd name="connsiteX354" fmla="*/ 114572 w 283256"/>
                <a:gd name="connsiteY354" fmla="*/ 78152 h 283886"/>
                <a:gd name="connsiteX355" fmla="*/ 114572 w 283256"/>
                <a:gd name="connsiteY355" fmla="*/ 78152 h 283886"/>
                <a:gd name="connsiteX356" fmla="*/ 115717 w 283256"/>
                <a:gd name="connsiteY356" fmla="*/ 78152 h 283886"/>
                <a:gd name="connsiteX357" fmla="*/ 115717 w 283256"/>
                <a:gd name="connsiteY357" fmla="*/ 78152 h 283886"/>
                <a:gd name="connsiteX358" fmla="*/ 116757 w 283256"/>
                <a:gd name="connsiteY358" fmla="*/ 78152 h 283886"/>
                <a:gd name="connsiteX359" fmla="*/ 116757 w 283256"/>
                <a:gd name="connsiteY359" fmla="*/ 78152 h 283886"/>
                <a:gd name="connsiteX360" fmla="*/ 116757 w 283256"/>
                <a:gd name="connsiteY360" fmla="*/ 78152 h 283886"/>
                <a:gd name="connsiteX361" fmla="*/ 131742 w 283256"/>
                <a:gd name="connsiteY361" fmla="*/ 72117 h 283886"/>
                <a:gd name="connsiteX362" fmla="*/ 131742 w 283256"/>
                <a:gd name="connsiteY362" fmla="*/ 72117 h 283886"/>
                <a:gd name="connsiteX363" fmla="*/ 132574 w 283256"/>
                <a:gd name="connsiteY363" fmla="*/ 72117 h 283886"/>
                <a:gd name="connsiteX364" fmla="*/ 132574 w 283256"/>
                <a:gd name="connsiteY364" fmla="*/ 72117 h 283886"/>
                <a:gd name="connsiteX365" fmla="*/ 133199 w 283256"/>
                <a:gd name="connsiteY365" fmla="*/ 72117 h 283886"/>
                <a:gd name="connsiteX366" fmla="*/ 133719 w 283256"/>
                <a:gd name="connsiteY366" fmla="*/ 72117 h 283886"/>
                <a:gd name="connsiteX367" fmla="*/ 133719 w 283256"/>
                <a:gd name="connsiteY367" fmla="*/ 72117 h 283886"/>
                <a:gd name="connsiteX368" fmla="*/ 134239 w 283256"/>
                <a:gd name="connsiteY368" fmla="*/ 72117 h 283886"/>
                <a:gd name="connsiteX369" fmla="*/ 134239 w 283256"/>
                <a:gd name="connsiteY369" fmla="*/ 72117 h 283886"/>
                <a:gd name="connsiteX370" fmla="*/ 134239 w 283256"/>
                <a:gd name="connsiteY370" fmla="*/ 72117 h 283886"/>
                <a:gd name="connsiteX371" fmla="*/ 134239 w 283256"/>
                <a:gd name="connsiteY371" fmla="*/ 72117 h 283886"/>
                <a:gd name="connsiteX372" fmla="*/ 134239 w 283256"/>
                <a:gd name="connsiteY372" fmla="*/ 72117 h 283886"/>
                <a:gd name="connsiteX373" fmla="*/ 134760 w 283256"/>
                <a:gd name="connsiteY373" fmla="*/ 72117 h 283886"/>
                <a:gd name="connsiteX374" fmla="*/ 134760 w 283256"/>
                <a:gd name="connsiteY374" fmla="*/ 72117 h 283886"/>
                <a:gd name="connsiteX375" fmla="*/ 136009 w 283256"/>
                <a:gd name="connsiteY375" fmla="*/ 70243 h 283886"/>
                <a:gd name="connsiteX376" fmla="*/ 136009 w 283256"/>
                <a:gd name="connsiteY376" fmla="*/ 70243 h 283886"/>
                <a:gd name="connsiteX377" fmla="*/ 136009 w 283256"/>
                <a:gd name="connsiteY377" fmla="*/ 69411 h 283886"/>
                <a:gd name="connsiteX378" fmla="*/ 136009 w 283256"/>
                <a:gd name="connsiteY378" fmla="*/ 69411 h 283886"/>
                <a:gd name="connsiteX379" fmla="*/ 136009 w 283256"/>
                <a:gd name="connsiteY379" fmla="*/ 68682 h 283886"/>
                <a:gd name="connsiteX380" fmla="*/ 136009 w 283256"/>
                <a:gd name="connsiteY380" fmla="*/ 68682 h 283886"/>
                <a:gd name="connsiteX381" fmla="*/ 136009 w 283256"/>
                <a:gd name="connsiteY381" fmla="*/ 68682 h 283886"/>
                <a:gd name="connsiteX382" fmla="*/ 136009 w 283256"/>
                <a:gd name="connsiteY382" fmla="*/ 68058 h 283886"/>
                <a:gd name="connsiteX383" fmla="*/ 136009 w 283256"/>
                <a:gd name="connsiteY383" fmla="*/ 68058 h 283886"/>
                <a:gd name="connsiteX384" fmla="*/ 139338 w 283256"/>
                <a:gd name="connsiteY384" fmla="*/ 43083 h 283886"/>
                <a:gd name="connsiteX385" fmla="*/ 167955 w 283256"/>
                <a:gd name="connsiteY385" fmla="*/ 43083 h 283886"/>
                <a:gd name="connsiteX386" fmla="*/ 171077 w 283256"/>
                <a:gd name="connsiteY386" fmla="*/ 68474 h 283886"/>
                <a:gd name="connsiteX387" fmla="*/ 171077 w 283256"/>
                <a:gd name="connsiteY387" fmla="*/ 68474 h 283886"/>
                <a:gd name="connsiteX388" fmla="*/ 171077 w 283256"/>
                <a:gd name="connsiteY388" fmla="*/ 69099 h 283886"/>
                <a:gd name="connsiteX389" fmla="*/ 171077 w 283256"/>
                <a:gd name="connsiteY389" fmla="*/ 69619 h 283886"/>
                <a:gd name="connsiteX390" fmla="*/ 171077 w 283256"/>
                <a:gd name="connsiteY390" fmla="*/ 70243 h 283886"/>
                <a:gd name="connsiteX391" fmla="*/ 171077 w 283256"/>
                <a:gd name="connsiteY391" fmla="*/ 70243 h 283886"/>
                <a:gd name="connsiteX392" fmla="*/ 171077 w 283256"/>
                <a:gd name="connsiteY392" fmla="*/ 70972 h 283886"/>
                <a:gd name="connsiteX393" fmla="*/ 171077 w 283256"/>
                <a:gd name="connsiteY393" fmla="*/ 70972 h 283886"/>
                <a:gd name="connsiteX394" fmla="*/ 171598 w 283256"/>
                <a:gd name="connsiteY394" fmla="*/ 71700 h 283886"/>
                <a:gd name="connsiteX395" fmla="*/ 171598 w 283256"/>
                <a:gd name="connsiteY395" fmla="*/ 71700 h 283886"/>
                <a:gd name="connsiteX396" fmla="*/ 171598 w 283256"/>
                <a:gd name="connsiteY396" fmla="*/ 72533 h 283886"/>
                <a:gd name="connsiteX397" fmla="*/ 171598 w 283256"/>
                <a:gd name="connsiteY397" fmla="*/ 72533 h 283886"/>
                <a:gd name="connsiteX398" fmla="*/ 172326 w 283256"/>
                <a:gd name="connsiteY398" fmla="*/ 73365 h 283886"/>
                <a:gd name="connsiteX399" fmla="*/ 172326 w 283256"/>
                <a:gd name="connsiteY399" fmla="*/ 73365 h 283886"/>
                <a:gd name="connsiteX400" fmla="*/ 172326 w 283256"/>
                <a:gd name="connsiteY400" fmla="*/ 73365 h 283886"/>
                <a:gd name="connsiteX401" fmla="*/ 172326 w 283256"/>
                <a:gd name="connsiteY401" fmla="*/ 73365 h 283886"/>
                <a:gd name="connsiteX402" fmla="*/ 172326 w 283256"/>
                <a:gd name="connsiteY402" fmla="*/ 73365 h 283886"/>
                <a:gd name="connsiteX403" fmla="*/ 172846 w 283256"/>
                <a:gd name="connsiteY403" fmla="*/ 73365 h 283886"/>
                <a:gd name="connsiteX404" fmla="*/ 172846 w 283256"/>
                <a:gd name="connsiteY404" fmla="*/ 73365 h 283886"/>
                <a:gd name="connsiteX405" fmla="*/ 173367 w 283256"/>
                <a:gd name="connsiteY405" fmla="*/ 73365 h 283886"/>
                <a:gd name="connsiteX406" fmla="*/ 173367 w 283256"/>
                <a:gd name="connsiteY406" fmla="*/ 73365 h 283886"/>
                <a:gd name="connsiteX407" fmla="*/ 173367 w 283256"/>
                <a:gd name="connsiteY407" fmla="*/ 73365 h 283886"/>
                <a:gd name="connsiteX408" fmla="*/ 174095 w 283256"/>
                <a:gd name="connsiteY408" fmla="*/ 73365 h 283886"/>
                <a:gd name="connsiteX409" fmla="*/ 174095 w 283256"/>
                <a:gd name="connsiteY409" fmla="*/ 73365 h 283886"/>
                <a:gd name="connsiteX410" fmla="*/ 188872 w 283256"/>
                <a:gd name="connsiteY410" fmla="*/ 79505 h 283886"/>
                <a:gd name="connsiteX411" fmla="*/ 189392 w 283256"/>
                <a:gd name="connsiteY411" fmla="*/ 79505 h 283886"/>
                <a:gd name="connsiteX412" fmla="*/ 190433 w 283256"/>
                <a:gd name="connsiteY412" fmla="*/ 79505 h 283886"/>
                <a:gd name="connsiteX413" fmla="*/ 190433 w 283256"/>
                <a:gd name="connsiteY413" fmla="*/ 79505 h 283886"/>
                <a:gd name="connsiteX414" fmla="*/ 191578 w 283256"/>
                <a:gd name="connsiteY414" fmla="*/ 79505 h 283886"/>
                <a:gd name="connsiteX415" fmla="*/ 191578 w 283256"/>
                <a:gd name="connsiteY415" fmla="*/ 79505 h 283886"/>
                <a:gd name="connsiteX416" fmla="*/ 194179 w 283256"/>
                <a:gd name="connsiteY416" fmla="*/ 79505 h 283886"/>
                <a:gd name="connsiteX417" fmla="*/ 197613 w 283256"/>
                <a:gd name="connsiteY417" fmla="*/ 79505 h 283886"/>
                <a:gd name="connsiteX418" fmla="*/ 197613 w 283256"/>
                <a:gd name="connsiteY418" fmla="*/ 79505 h 283886"/>
                <a:gd name="connsiteX419" fmla="*/ 197613 w 283256"/>
                <a:gd name="connsiteY419" fmla="*/ 79505 h 283886"/>
                <a:gd name="connsiteX420" fmla="*/ 198237 w 283256"/>
                <a:gd name="connsiteY420" fmla="*/ 79505 h 283886"/>
                <a:gd name="connsiteX421" fmla="*/ 198758 w 283256"/>
                <a:gd name="connsiteY421" fmla="*/ 79505 h 283886"/>
                <a:gd name="connsiteX422" fmla="*/ 198758 w 283256"/>
                <a:gd name="connsiteY422" fmla="*/ 79505 h 283886"/>
                <a:gd name="connsiteX423" fmla="*/ 198758 w 283256"/>
                <a:gd name="connsiteY423" fmla="*/ 79505 h 283886"/>
                <a:gd name="connsiteX424" fmla="*/ 198758 w 283256"/>
                <a:gd name="connsiteY424" fmla="*/ 79505 h 283886"/>
                <a:gd name="connsiteX425" fmla="*/ 199382 w 283256"/>
                <a:gd name="connsiteY425" fmla="*/ 79505 h 283886"/>
                <a:gd name="connsiteX426" fmla="*/ 199382 w 283256"/>
                <a:gd name="connsiteY426" fmla="*/ 79505 h 283886"/>
                <a:gd name="connsiteX427" fmla="*/ 220195 w 283256"/>
                <a:gd name="connsiteY427" fmla="*/ 64208 h 283886"/>
                <a:gd name="connsiteX428" fmla="*/ 240174 w 283256"/>
                <a:gd name="connsiteY428" fmla="*/ 85020 h 283886"/>
                <a:gd name="connsiteX429" fmla="*/ 224357 w 283256"/>
                <a:gd name="connsiteY429" fmla="*/ 105105 h 283886"/>
                <a:gd name="connsiteX430" fmla="*/ 224357 w 283256"/>
                <a:gd name="connsiteY430" fmla="*/ 105105 h 283886"/>
                <a:gd name="connsiteX431" fmla="*/ 224357 w 283256"/>
                <a:gd name="connsiteY431" fmla="*/ 105729 h 283886"/>
                <a:gd name="connsiteX432" fmla="*/ 224357 w 283256"/>
                <a:gd name="connsiteY432" fmla="*/ 105729 h 283886"/>
                <a:gd name="connsiteX433" fmla="*/ 224357 w 283256"/>
                <a:gd name="connsiteY433" fmla="*/ 105729 h 283886"/>
                <a:gd name="connsiteX434" fmla="*/ 224357 w 283256"/>
                <a:gd name="connsiteY434" fmla="*/ 106353 h 283886"/>
                <a:gd name="connsiteX435" fmla="*/ 224357 w 283256"/>
                <a:gd name="connsiteY435" fmla="*/ 106353 h 283886"/>
                <a:gd name="connsiteX436" fmla="*/ 224357 w 283256"/>
                <a:gd name="connsiteY436" fmla="*/ 106978 h 283886"/>
                <a:gd name="connsiteX437" fmla="*/ 224357 w 283256"/>
                <a:gd name="connsiteY437" fmla="*/ 106978 h 283886"/>
                <a:gd name="connsiteX438" fmla="*/ 224357 w 283256"/>
                <a:gd name="connsiteY438" fmla="*/ 107602 h 283886"/>
                <a:gd name="connsiteX439" fmla="*/ 224357 w 283256"/>
                <a:gd name="connsiteY439" fmla="*/ 107602 h 283886"/>
                <a:gd name="connsiteX440" fmla="*/ 224357 w 283256"/>
                <a:gd name="connsiteY440" fmla="*/ 108227 h 283886"/>
                <a:gd name="connsiteX441" fmla="*/ 224357 w 283256"/>
                <a:gd name="connsiteY441" fmla="*/ 108227 h 283886"/>
                <a:gd name="connsiteX442" fmla="*/ 224357 w 283256"/>
                <a:gd name="connsiteY442" fmla="*/ 109371 h 283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</a:cxnLst>
              <a:rect l="l" t="t" r="r" b="b"/>
              <a:pathLst>
                <a:path w="283256" h="283886">
                  <a:moveTo>
                    <a:pt x="232994" y="30803"/>
                  </a:moveTo>
                  <a:cubicBezTo>
                    <a:pt x="225262" y="23134"/>
                    <a:pt x="213191" y="21999"/>
                    <a:pt x="204169" y="28097"/>
                  </a:cubicBezTo>
                  <a:lnTo>
                    <a:pt x="204169" y="28097"/>
                  </a:lnTo>
                  <a:lnTo>
                    <a:pt x="204169" y="28097"/>
                  </a:lnTo>
                  <a:lnTo>
                    <a:pt x="188560" y="39753"/>
                  </a:lnTo>
                  <a:lnTo>
                    <a:pt x="183357" y="38504"/>
                  </a:lnTo>
                  <a:lnTo>
                    <a:pt x="180963" y="19148"/>
                  </a:lnTo>
                  <a:lnTo>
                    <a:pt x="180963" y="19148"/>
                  </a:lnTo>
                  <a:cubicBezTo>
                    <a:pt x="179101" y="8159"/>
                    <a:pt x="169631" y="94"/>
                    <a:pt x="158486" y="0"/>
                  </a:cubicBezTo>
                  <a:lnTo>
                    <a:pt x="128204" y="0"/>
                  </a:lnTo>
                  <a:cubicBezTo>
                    <a:pt x="117090" y="-52"/>
                    <a:pt x="107517" y="7815"/>
                    <a:pt x="105415" y="18732"/>
                  </a:cubicBezTo>
                  <a:lnTo>
                    <a:pt x="105415" y="18732"/>
                  </a:lnTo>
                  <a:lnTo>
                    <a:pt x="102813" y="37879"/>
                  </a:lnTo>
                  <a:lnTo>
                    <a:pt x="98130" y="39753"/>
                  </a:lnTo>
                  <a:lnTo>
                    <a:pt x="83041" y="27889"/>
                  </a:lnTo>
                  <a:lnTo>
                    <a:pt x="83041" y="27889"/>
                  </a:lnTo>
                  <a:lnTo>
                    <a:pt x="83041" y="27889"/>
                  </a:lnTo>
                  <a:cubicBezTo>
                    <a:pt x="73884" y="21458"/>
                    <a:pt x="61438" y="22509"/>
                    <a:pt x="53488" y="30387"/>
                  </a:cubicBezTo>
                  <a:lnTo>
                    <a:pt x="53488" y="30387"/>
                  </a:lnTo>
                  <a:lnTo>
                    <a:pt x="32051" y="51200"/>
                  </a:lnTo>
                  <a:lnTo>
                    <a:pt x="32051" y="51200"/>
                  </a:lnTo>
                  <a:cubicBezTo>
                    <a:pt x="24121" y="58963"/>
                    <a:pt x="22935" y="71315"/>
                    <a:pt x="29241" y="80442"/>
                  </a:cubicBezTo>
                  <a:lnTo>
                    <a:pt x="29241" y="80442"/>
                  </a:lnTo>
                  <a:lnTo>
                    <a:pt x="29241" y="80442"/>
                  </a:lnTo>
                  <a:lnTo>
                    <a:pt x="40896" y="96051"/>
                  </a:lnTo>
                  <a:lnTo>
                    <a:pt x="39023" y="100422"/>
                  </a:lnTo>
                  <a:lnTo>
                    <a:pt x="19667" y="102815"/>
                  </a:lnTo>
                  <a:lnTo>
                    <a:pt x="19147" y="102815"/>
                  </a:lnTo>
                  <a:cubicBezTo>
                    <a:pt x="8190" y="104720"/>
                    <a:pt x="135" y="114169"/>
                    <a:pt x="0" y="125293"/>
                  </a:cubicBezTo>
                  <a:lnTo>
                    <a:pt x="0" y="125293"/>
                  </a:lnTo>
                  <a:lnTo>
                    <a:pt x="0" y="155264"/>
                  </a:lnTo>
                  <a:lnTo>
                    <a:pt x="0" y="155264"/>
                  </a:lnTo>
                  <a:cubicBezTo>
                    <a:pt x="83" y="166419"/>
                    <a:pt x="7992" y="175983"/>
                    <a:pt x="18939" y="178158"/>
                  </a:cubicBezTo>
                  <a:lnTo>
                    <a:pt x="19564" y="178158"/>
                  </a:lnTo>
                  <a:lnTo>
                    <a:pt x="38607" y="180759"/>
                  </a:lnTo>
                  <a:cubicBezTo>
                    <a:pt x="39231" y="182320"/>
                    <a:pt x="39752" y="183777"/>
                    <a:pt x="40376" y="185234"/>
                  </a:cubicBezTo>
                  <a:lnTo>
                    <a:pt x="28513" y="200635"/>
                  </a:lnTo>
                  <a:lnTo>
                    <a:pt x="28513" y="200635"/>
                  </a:lnTo>
                  <a:lnTo>
                    <a:pt x="28513" y="200635"/>
                  </a:lnTo>
                  <a:cubicBezTo>
                    <a:pt x="22092" y="209783"/>
                    <a:pt x="23102" y="222197"/>
                    <a:pt x="30906" y="230189"/>
                  </a:cubicBezTo>
                  <a:lnTo>
                    <a:pt x="30906" y="230189"/>
                  </a:lnTo>
                  <a:lnTo>
                    <a:pt x="51719" y="251523"/>
                  </a:lnTo>
                  <a:lnTo>
                    <a:pt x="51719" y="251523"/>
                  </a:lnTo>
                  <a:cubicBezTo>
                    <a:pt x="56068" y="255904"/>
                    <a:pt x="61979" y="258380"/>
                    <a:pt x="68160" y="258391"/>
                  </a:cubicBezTo>
                  <a:cubicBezTo>
                    <a:pt x="72562" y="258380"/>
                    <a:pt x="76870" y="257080"/>
                    <a:pt x="80544" y="254645"/>
                  </a:cubicBezTo>
                  <a:lnTo>
                    <a:pt x="80544" y="254645"/>
                  </a:lnTo>
                  <a:lnTo>
                    <a:pt x="80544" y="254645"/>
                  </a:lnTo>
                  <a:lnTo>
                    <a:pt x="80544" y="254645"/>
                  </a:lnTo>
                  <a:lnTo>
                    <a:pt x="96153" y="242989"/>
                  </a:lnTo>
                  <a:lnTo>
                    <a:pt x="100627" y="244863"/>
                  </a:lnTo>
                  <a:lnTo>
                    <a:pt x="103021" y="264218"/>
                  </a:lnTo>
                  <a:lnTo>
                    <a:pt x="103021" y="264739"/>
                  </a:lnTo>
                  <a:cubicBezTo>
                    <a:pt x="104884" y="275728"/>
                    <a:pt x="114353" y="283793"/>
                    <a:pt x="125498" y="283886"/>
                  </a:cubicBezTo>
                  <a:lnTo>
                    <a:pt x="155780" y="283886"/>
                  </a:lnTo>
                  <a:cubicBezTo>
                    <a:pt x="166852" y="283824"/>
                    <a:pt x="176322" y="275926"/>
                    <a:pt x="178362" y="265051"/>
                  </a:cubicBezTo>
                  <a:lnTo>
                    <a:pt x="178362" y="264531"/>
                  </a:lnTo>
                  <a:lnTo>
                    <a:pt x="181171" y="245383"/>
                  </a:lnTo>
                  <a:lnTo>
                    <a:pt x="185750" y="243510"/>
                  </a:lnTo>
                  <a:lnTo>
                    <a:pt x="200943" y="255477"/>
                  </a:lnTo>
                  <a:lnTo>
                    <a:pt x="200943" y="255477"/>
                  </a:lnTo>
                  <a:lnTo>
                    <a:pt x="200943" y="255477"/>
                  </a:lnTo>
                  <a:lnTo>
                    <a:pt x="200943" y="255477"/>
                  </a:lnTo>
                  <a:lnTo>
                    <a:pt x="200943" y="255477"/>
                  </a:lnTo>
                  <a:cubicBezTo>
                    <a:pt x="210027" y="261523"/>
                    <a:pt x="222120" y="260347"/>
                    <a:pt x="229872" y="252667"/>
                  </a:cubicBezTo>
                  <a:lnTo>
                    <a:pt x="251309" y="231855"/>
                  </a:lnTo>
                  <a:lnTo>
                    <a:pt x="251309" y="231855"/>
                  </a:lnTo>
                  <a:cubicBezTo>
                    <a:pt x="259207" y="224060"/>
                    <a:pt x="260352" y="211718"/>
                    <a:pt x="254015" y="202613"/>
                  </a:cubicBezTo>
                  <a:lnTo>
                    <a:pt x="254015" y="202613"/>
                  </a:lnTo>
                  <a:lnTo>
                    <a:pt x="254015" y="202613"/>
                  </a:lnTo>
                  <a:lnTo>
                    <a:pt x="242360" y="187003"/>
                  </a:lnTo>
                  <a:lnTo>
                    <a:pt x="244233" y="182528"/>
                  </a:lnTo>
                  <a:lnTo>
                    <a:pt x="263380" y="180135"/>
                  </a:lnTo>
                  <a:lnTo>
                    <a:pt x="263900" y="180135"/>
                  </a:lnTo>
                  <a:cubicBezTo>
                    <a:pt x="274941" y="178324"/>
                    <a:pt x="283100" y="168854"/>
                    <a:pt x="283256" y="157657"/>
                  </a:cubicBezTo>
                  <a:lnTo>
                    <a:pt x="283256" y="157657"/>
                  </a:lnTo>
                  <a:lnTo>
                    <a:pt x="283256" y="127583"/>
                  </a:lnTo>
                  <a:lnTo>
                    <a:pt x="283256" y="127583"/>
                  </a:lnTo>
                  <a:cubicBezTo>
                    <a:pt x="283360" y="116427"/>
                    <a:pt x="275472" y="106801"/>
                    <a:pt x="264525" y="104688"/>
                  </a:cubicBezTo>
                  <a:lnTo>
                    <a:pt x="263900" y="104688"/>
                  </a:lnTo>
                  <a:lnTo>
                    <a:pt x="245794" y="101983"/>
                  </a:lnTo>
                  <a:cubicBezTo>
                    <a:pt x="245794" y="100526"/>
                    <a:pt x="244649" y="99069"/>
                    <a:pt x="243921" y="97508"/>
                  </a:cubicBezTo>
                  <a:lnTo>
                    <a:pt x="255888" y="82315"/>
                  </a:lnTo>
                  <a:lnTo>
                    <a:pt x="255888" y="82315"/>
                  </a:lnTo>
                  <a:lnTo>
                    <a:pt x="255888" y="82315"/>
                  </a:lnTo>
                  <a:cubicBezTo>
                    <a:pt x="262319" y="73157"/>
                    <a:pt x="261268" y="60711"/>
                    <a:pt x="253390" y="52761"/>
                  </a:cubicBezTo>
                  <a:lnTo>
                    <a:pt x="232578" y="31219"/>
                  </a:lnTo>
                  <a:close/>
                  <a:moveTo>
                    <a:pt x="218321" y="96572"/>
                  </a:moveTo>
                  <a:cubicBezTo>
                    <a:pt x="218269" y="96780"/>
                    <a:pt x="218269" y="96988"/>
                    <a:pt x="218321" y="97196"/>
                  </a:cubicBezTo>
                  <a:lnTo>
                    <a:pt x="218321" y="97196"/>
                  </a:lnTo>
                  <a:cubicBezTo>
                    <a:pt x="218373" y="97404"/>
                    <a:pt x="218373" y="97612"/>
                    <a:pt x="218321" y="97820"/>
                  </a:cubicBezTo>
                  <a:lnTo>
                    <a:pt x="218321" y="97820"/>
                  </a:lnTo>
                  <a:lnTo>
                    <a:pt x="218321" y="98445"/>
                  </a:lnTo>
                  <a:cubicBezTo>
                    <a:pt x="218321" y="98445"/>
                    <a:pt x="218321" y="98445"/>
                    <a:pt x="218321" y="99069"/>
                  </a:cubicBezTo>
                  <a:lnTo>
                    <a:pt x="218321" y="99069"/>
                  </a:lnTo>
                  <a:lnTo>
                    <a:pt x="218321" y="99797"/>
                  </a:lnTo>
                  <a:lnTo>
                    <a:pt x="218321" y="99797"/>
                  </a:lnTo>
                  <a:cubicBezTo>
                    <a:pt x="220787" y="104574"/>
                    <a:pt x="222838" y="109548"/>
                    <a:pt x="224461" y="114679"/>
                  </a:cubicBezTo>
                  <a:lnTo>
                    <a:pt x="224461" y="114679"/>
                  </a:lnTo>
                  <a:cubicBezTo>
                    <a:pt x="224461" y="114679"/>
                    <a:pt x="224461" y="114679"/>
                    <a:pt x="224461" y="114679"/>
                  </a:cubicBezTo>
                  <a:cubicBezTo>
                    <a:pt x="224711" y="115365"/>
                    <a:pt x="225023" y="116031"/>
                    <a:pt x="225398" y="116656"/>
                  </a:cubicBezTo>
                  <a:lnTo>
                    <a:pt x="225398" y="116656"/>
                  </a:lnTo>
                  <a:cubicBezTo>
                    <a:pt x="225533" y="116958"/>
                    <a:pt x="225710" y="117239"/>
                    <a:pt x="225918" y="117488"/>
                  </a:cubicBezTo>
                  <a:lnTo>
                    <a:pt x="225918" y="117488"/>
                  </a:lnTo>
                  <a:lnTo>
                    <a:pt x="226542" y="118217"/>
                  </a:lnTo>
                  <a:lnTo>
                    <a:pt x="226542" y="118217"/>
                  </a:lnTo>
                  <a:lnTo>
                    <a:pt x="227166" y="118217"/>
                  </a:lnTo>
                  <a:lnTo>
                    <a:pt x="227166" y="118217"/>
                  </a:lnTo>
                  <a:lnTo>
                    <a:pt x="227895" y="118841"/>
                  </a:lnTo>
                  <a:lnTo>
                    <a:pt x="227895" y="118841"/>
                  </a:lnTo>
                  <a:lnTo>
                    <a:pt x="228623" y="118841"/>
                  </a:lnTo>
                  <a:lnTo>
                    <a:pt x="228623" y="118841"/>
                  </a:lnTo>
                  <a:lnTo>
                    <a:pt x="229144" y="118841"/>
                  </a:lnTo>
                  <a:lnTo>
                    <a:pt x="229144" y="118841"/>
                  </a:lnTo>
                  <a:lnTo>
                    <a:pt x="229768" y="118841"/>
                  </a:lnTo>
                  <a:lnTo>
                    <a:pt x="229768" y="118841"/>
                  </a:lnTo>
                  <a:cubicBezTo>
                    <a:pt x="230497" y="118935"/>
                    <a:pt x="231225" y="118935"/>
                    <a:pt x="231954" y="118841"/>
                  </a:cubicBezTo>
                  <a:lnTo>
                    <a:pt x="231954" y="118841"/>
                  </a:lnTo>
                  <a:lnTo>
                    <a:pt x="257032" y="122171"/>
                  </a:lnTo>
                  <a:lnTo>
                    <a:pt x="257032" y="150685"/>
                  </a:lnTo>
                  <a:lnTo>
                    <a:pt x="231641" y="153911"/>
                  </a:lnTo>
                  <a:lnTo>
                    <a:pt x="231641" y="153911"/>
                  </a:lnTo>
                  <a:lnTo>
                    <a:pt x="230913" y="153911"/>
                  </a:lnTo>
                  <a:lnTo>
                    <a:pt x="229872" y="153911"/>
                  </a:lnTo>
                  <a:lnTo>
                    <a:pt x="229248" y="153911"/>
                  </a:lnTo>
                  <a:lnTo>
                    <a:pt x="229248" y="153911"/>
                  </a:lnTo>
                  <a:lnTo>
                    <a:pt x="228623" y="153911"/>
                  </a:lnTo>
                  <a:lnTo>
                    <a:pt x="228623" y="153911"/>
                  </a:lnTo>
                  <a:lnTo>
                    <a:pt x="227999" y="153911"/>
                  </a:lnTo>
                  <a:lnTo>
                    <a:pt x="227999" y="153911"/>
                  </a:lnTo>
                  <a:lnTo>
                    <a:pt x="227479" y="153911"/>
                  </a:lnTo>
                  <a:lnTo>
                    <a:pt x="227479" y="153911"/>
                  </a:lnTo>
                  <a:lnTo>
                    <a:pt x="227479" y="153911"/>
                  </a:lnTo>
                  <a:lnTo>
                    <a:pt x="226958" y="153911"/>
                  </a:lnTo>
                  <a:lnTo>
                    <a:pt x="226958" y="153911"/>
                  </a:lnTo>
                  <a:lnTo>
                    <a:pt x="226958" y="154431"/>
                  </a:lnTo>
                  <a:lnTo>
                    <a:pt x="226958" y="154431"/>
                  </a:lnTo>
                  <a:lnTo>
                    <a:pt x="226958" y="155055"/>
                  </a:lnTo>
                  <a:lnTo>
                    <a:pt x="226958" y="155055"/>
                  </a:lnTo>
                  <a:lnTo>
                    <a:pt x="226958" y="155055"/>
                  </a:lnTo>
                  <a:lnTo>
                    <a:pt x="226958" y="155576"/>
                  </a:lnTo>
                  <a:cubicBezTo>
                    <a:pt x="226958" y="155576"/>
                    <a:pt x="226958" y="155576"/>
                    <a:pt x="226958" y="156096"/>
                  </a:cubicBezTo>
                  <a:cubicBezTo>
                    <a:pt x="226948" y="156335"/>
                    <a:pt x="226948" y="156585"/>
                    <a:pt x="226958" y="156825"/>
                  </a:cubicBezTo>
                  <a:lnTo>
                    <a:pt x="226958" y="156825"/>
                  </a:lnTo>
                  <a:cubicBezTo>
                    <a:pt x="225366" y="161924"/>
                    <a:pt x="223316" y="166877"/>
                    <a:pt x="220819" y="171601"/>
                  </a:cubicBezTo>
                  <a:lnTo>
                    <a:pt x="220819" y="171601"/>
                  </a:lnTo>
                  <a:lnTo>
                    <a:pt x="220819" y="172226"/>
                  </a:lnTo>
                  <a:lnTo>
                    <a:pt x="220819" y="172746"/>
                  </a:lnTo>
                  <a:lnTo>
                    <a:pt x="220819" y="173371"/>
                  </a:lnTo>
                  <a:cubicBezTo>
                    <a:pt x="220819" y="173371"/>
                    <a:pt x="220819" y="173371"/>
                    <a:pt x="220819" y="173891"/>
                  </a:cubicBezTo>
                  <a:cubicBezTo>
                    <a:pt x="220819" y="173891"/>
                    <a:pt x="220819" y="173891"/>
                    <a:pt x="220819" y="174515"/>
                  </a:cubicBezTo>
                  <a:cubicBezTo>
                    <a:pt x="220819" y="175140"/>
                    <a:pt x="220819" y="174515"/>
                    <a:pt x="220819" y="175036"/>
                  </a:cubicBezTo>
                  <a:lnTo>
                    <a:pt x="220819" y="176805"/>
                  </a:lnTo>
                  <a:cubicBezTo>
                    <a:pt x="220819" y="176805"/>
                    <a:pt x="220819" y="176805"/>
                    <a:pt x="220819" y="177429"/>
                  </a:cubicBezTo>
                  <a:lnTo>
                    <a:pt x="220819" y="177949"/>
                  </a:lnTo>
                  <a:cubicBezTo>
                    <a:pt x="220819" y="177949"/>
                    <a:pt x="220819" y="177949"/>
                    <a:pt x="220819" y="178574"/>
                  </a:cubicBezTo>
                  <a:lnTo>
                    <a:pt x="220819" y="178574"/>
                  </a:lnTo>
                  <a:cubicBezTo>
                    <a:pt x="220819" y="178574"/>
                    <a:pt x="220819" y="178574"/>
                    <a:pt x="220819" y="179198"/>
                  </a:cubicBezTo>
                  <a:lnTo>
                    <a:pt x="220819" y="179198"/>
                  </a:lnTo>
                  <a:cubicBezTo>
                    <a:pt x="220819" y="179198"/>
                    <a:pt x="220819" y="179198"/>
                    <a:pt x="220819" y="179823"/>
                  </a:cubicBezTo>
                  <a:lnTo>
                    <a:pt x="220819" y="180343"/>
                  </a:lnTo>
                  <a:lnTo>
                    <a:pt x="220819" y="180343"/>
                  </a:lnTo>
                  <a:cubicBezTo>
                    <a:pt x="220767" y="180509"/>
                    <a:pt x="220767" y="180697"/>
                    <a:pt x="220819" y="180863"/>
                  </a:cubicBezTo>
                  <a:lnTo>
                    <a:pt x="220819" y="181384"/>
                  </a:lnTo>
                  <a:lnTo>
                    <a:pt x="220819" y="182008"/>
                  </a:lnTo>
                  <a:lnTo>
                    <a:pt x="220819" y="182008"/>
                  </a:lnTo>
                  <a:lnTo>
                    <a:pt x="236116" y="202821"/>
                  </a:lnTo>
                  <a:lnTo>
                    <a:pt x="215095" y="236225"/>
                  </a:lnTo>
                  <a:lnTo>
                    <a:pt x="195011" y="220512"/>
                  </a:lnTo>
                  <a:lnTo>
                    <a:pt x="195011" y="220512"/>
                  </a:lnTo>
                  <a:lnTo>
                    <a:pt x="194387" y="220512"/>
                  </a:lnTo>
                  <a:lnTo>
                    <a:pt x="194387" y="220512"/>
                  </a:lnTo>
                  <a:lnTo>
                    <a:pt x="193867" y="220512"/>
                  </a:lnTo>
                  <a:lnTo>
                    <a:pt x="193243" y="220512"/>
                  </a:lnTo>
                  <a:lnTo>
                    <a:pt x="193243" y="220512"/>
                  </a:lnTo>
                  <a:lnTo>
                    <a:pt x="192514" y="220512"/>
                  </a:lnTo>
                  <a:lnTo>
                    <a:pt x="192514" y="220512"/>
                  </a:lnTo>
                  <a:lnTo>
                    <a:pt x="191890" y="220512"/>
                  </a:lnTo>
                  <a:lnTo>
                    <a:pt x="186270" y="220512"/>
                  </a:lnTo>
                  <a:lnTo>
                    <a:pt x="185646" y="220512"/>
                  </a:lnTo>
                  <a:lnTo>
                    <a:pt x="185022" y="220512"/>
                  </a:lnTo>
                  <a:lnTo>
                    <a:pt x="185022" y="220512"/>
                  </a:lnTo>
                  <a:lnTo>
                    <a:pt x="184293" y="220512"/>
                  </a:lnTo>
                  <a:lnTo>
                    <a:pt x="184293" y="220512"/>
                  </a:lnTo>
                  <a:cubicBezTo>
                    <a:pt x="179548" y="222978"/>
                    <a:pt x="174605" y="225028"/>
                    <a:pt x="169517" y="226651"/>
                  </a:cubicBezTo>
                  <a:lnTo>
                    <a:pt x="169517" y="226651"/>
                  </a:lnTo>
                  <a:lnTo>
                    <a:pt x="168788" y="226651"/>
                  </a:lnTo>
                  <a:lnTo>
                    <a:pt x="168268" y="226651"/>
                  </a:lnTo>
                  <a:lnTo>
                    <a:pt x="167747" y="226651"/>
                  </a:lnTo>
                  <a:lnTo>
                    <a:pt x="167747" y="226651"/>
                  </a:lnTo>
                  <a:lnTo>
                    <a:pt x="167747" y="226651"/>
                  </a:lnTo>
                  <a:lnTo>
                    <a:pt x="167123" y="226651"/>
                  </a:lnTo>
                  <a:lnTo>
                    <a:pt x="167123" y="226651"/>
                  </a:lnTo>
                  <a:lnTo>
                    <a:pt x="167123" y="226651"/>
                  </a:lnTo>
                  <a:cubicBezTo>
                    <a:pt x="167123" y="226651"/>
                    <a:pt x="167123" y="226651"/>
                    <a:pt x="167123" y="226651"/>
                  </a:cubicBezTo>
                  <a:lnTo>
                    <a:pt x="167123" y="226651"/>
                  </a:lnTo>
                  <a:lnTo>
                    <a:pt x="167123" y="226651"/>
                  </a:lnTo>
                  <a:lnTo>
                    <a:pt x="167123" y="226651"/>
                  </a:lnTo>
                  <a:lnTo>
                    <a:pt x="167123" y="226651"/>
                  </a:lnTo>
                  <a:lnTo>
                    <a:pt x="167123" y="227172"/>
                  </a:lnTo>
                  <a:lnTo>
                    <a:pt x="167123" y="227172"/>
                  </a:lnTo>
                  <a:lnTo>
                    <a:pt x="167123" y="227796"/>
                  </a:lnTo>
                  <a:cubicBezTo>
                    <a:pt x="167123" y="227796"/>
                    <a:pt x="167123" y="227796"/>
                    <a:pt x="167123" y="228316"/>
                  </a:cubicBezTo>
                  <a:cubicBezTo>
                    <a:pt x="167123" y="228316"/>
                    <a:pt x="167123" y="228316"/>
                    <a:pt x="167123" y="228941"/>
                  </a:cubicBezTo>
                  <a:lnTo>
                    <a:pt x="167123" y="229461"/>
                  </a:lnTo>
                  <a:cubicBezTo>
                    <a:pt x="167123" y="229461"/>
                    <a:pt x="167123" y="229461"/>
                    <a:pt x="167123" y="230189"/>
                  </a:cubicBezTo>
                  <a:lnTo>
                    <a:pt x="167123" y="230189"/>
                  </a:lnTo>
                  <a:lnTo>
                    <a:pt x="163585" y="255373"/>
                  </a:lnTo>
                  <a:lnTo>
                    <a:pt x="135176" y="255373"/>
                  </a:lnTo>
                  <a:lnTo>
                    <a:pt x="132054" y="229981"/>
                  </a:lnTo>
                  <a:lnTo>
                    <a:pt x="132054" y="229981"/>
                  </a:lnTo>
                  <a:cubicBezTo>
                    <a:pt x="132096" y="229742"/>
                    <a:pt x="132096" y="229492"/>
                    <a:pt x="132054" y="229253"/>
                  </a:cubicBezTo>
                  <a:cubicBezTo>
                    <a:pt x="132096" y="229045"/>
                    <a:pt x="132096" y="228837"/>
                    <a:pt x="132054" y="228629"/>
                  </a:cubicBezTo>
                  <a:cubicBezTo>
                    <a:pt x="132054" y="228629"/>
                    <a:pt x="132054" y="228629"/>
                    <a:pt x="132054" y="228004"/>
                  </a:cubicBezTo>
                  <a:lnTo>
                    <a:pt x="132054" y="228004"/>
                  </a:lnTo>
                  <a:lnTo>
                    <a:pt x="132054" y="227380"/>
                  </a:lnTo>
                  <a:lnTo>
                    <a:pt x="132054" y="227380"/>
                  </a:lnTo>
                  <a:lnTo>
                    <a:pt x="132054" y="226755"/>
                  </a:lnTo>
                  <a:lnTo>
                    <a:pt x="132054" y="226755"/>
                  </a:lnTo>
                  <a:lnTo>
                    <a:pt x="132054" y="226235"/>
                  </a:lnTo>
                  <a:lnTo>
                    <a:pt x="132054" y="226235"/>
                  </a:lnTo>
                  <a:lnTo>
                    <a:pt x="132054" y="226235"/>
                  </a:lnTo>
                  <a:lnTo>
                    <a:pt x="132054" y="226235"/>
                  </a:lnTo>
                  <a:lnTo>
                    <a:pt x="132054" y="226235"/>
                  </a:lnTo>
                  <a:lnTo>
                    <a:pt x="131534" y="226235"/>
                  </a:lnTo>
                  <a:lnTo>
                    <a:pt x="131534" y="226235"/>
                  </a:lnTo>
                  <a:lnTo>
                    <a:pt x="131014" y="226235"/>
                  </a:lnTo>
                  <a:lnTo>
                    <a:pt x="131014" y="226235"/>
                  </a:lnTo>
                  <a:lnTo>
                    <a:pt x="130493" y="226235"/>
                  </a:lnTo>
                  <a:lnTo>
                    <a:pt x="129869" y="226235"/>
                  </a:lnTo>
                  <a:lnTo>
                    <a:pt x="129869" y="226235"/>
                  </a:lnTo>
                  <a:lnTo>
                    <a:pt x="129141" y="226235"/>
                  </a:lnTo>
                  <a:lnTo>
                    <a:pt x="129141" y="226235"/>
                  </a:lnTo>
                  <a:cubicBezTo>
                    <a:pt x="124041" y="224643"/>
                    <a:pt x="119088" y="222593"/>
                    <a:pt x="114364" y="220095"/>
                  </a:cubicBezTo>
                  <a:lnTo>
                    <a:pt x="114364" y="220095"/>
                  </a:lnTo>
                  <a:lnTo>
                    <a:pt x="113635" y="220095"/>
                  </a:lnTo>
                  <a:lnTo>
                    <a:pt x="113635" y="220095"/>
                  </a:lnTo>
                  <a:lnTo>
                    <a:pt x="113011" y="220095"/>
                  </a:lnTo>
                  <a:lnTo>
                    <a:pt x="112491" y="220095"/>
                  </a:lnTo>
                  <a:lnTo>
                    <a:pt x="106767" y="220095"/>
                  </a:lnTo>
                  <a:lnTo>
                    <a:pt x="106143" y="220095"/>
                  </a:lnTo>
                  <a:lnTo>
                    <a:pt x="106143" y="220095"/>
                  </a:lnTo>
                  <a:lnTo>
                    <a:pt x="105518" y="220095"/>
                  </a:lnTo>
                  <a:lnTo>
                    <a:pt x="104998" y="220095"/>
                  </a:lnTo>
                  <a:lnTo>
                    <a:pt x="104478" y="220095"/>
                  </a:lnTo>
                  <a:lnTo>
                    <a:pt x="103853" y="220095"/>
                  </a:lnTo>
                  <a:lnTo>
                    <a:pt x="103853" y="220095"/>
                  </a:lnTo>
                  <a:lnTo>
                    <a:pt x="103229" y="220095"/>
                  </a:lnTo>
                  <a:lnTo>
                    <a:pt x="103229" y="220095"/>
                  </a:lnTo>
                  <a:lnTo>
                    <a:pt x="82417" y="235393"/>
                  </a:lnTo>
                  <a:lnTo>
                    <a:pt x="62437" y="214580"/>
                  </a:lnTo>
                  <a:lnTo>
                    <a:pt x="78046" y="194391"/>
                  </a:lnTo>
                  <a:lnTo>
                    <a:pt x="78046" y="194391"/>
                  </a:lnTo>
                  <a:lnTo>
                    <a:pt x="78046" y="193871"/>
                  </a:lnTo>
                  <a:lnTo>
                    <a:pt x="78046" y="193871"/>
                  </a:lnTo>
                  <a:lnTo>
                    <a:pt x="78046" y="193351"/>
                  </a:lnTo>
                  <a:lnTo>
                    <a:pt x="78046" y="193351"/>
                  </a:lnTo>
                  <a:cubicBezTo>
                    <a:pt x="78046" y="193351"/>
                    <a:pt x="78046" y="193351"/>
                    <a:pt x="78046" y="192831"/>
                  </a:cubicBezTo>
                  <a:cubicBezTo>
                    <a:pt x="78005" y="192622"/>
                    <a:pt x="78005" y="192414"/>
                    <a:pt x="78046" y="192206"/>
                  </a:cubicBezTo>
                  <a:lnTo>
                    <a:pt x="78046" y="192206"/>
                  </a:lnTo>
                  <a:cubicBezTo>
                    <a:pt x="78046" y="192206"/>
                    <a:pt x="78046" y="192206"/>
                    <a:pt x="78046" y="191582"/>
                  </a:cubicBezTo>
                  <a:cubicBezTo>
                    <a:pt x="78046" y="190957"/>
                    <a:pt x="78046" y="191582"/>
                    <a:pt x="78046" y="191062"/>
                  </a:cubicBezTo>
                  <a:cubicBezTo>
                    <a:pt x="78046" y="190541"/>
                    <a:pt x="78046" y="191062"/>
                    <a:pt x="78046" y="190437"/>
                  </a:cubicBezTo>
                  <a:lnTo>
                    <a:pt x="78046" y="188252"/>
                  </a:lnTo>
                  <a:cubicBezTo>
                    <a:pt x="78108" y="188012"/>
                    <a:pt x="78108" y="187763"/>
                    <a:pt x="78046" y="187523"/>
                  </a:cubicBezTo>
                  <a:lnTo>
                    <a:pt x="78046" y="187523"/>
                  </a:lnTo>
                  <a:cubicBezTo>
                    <a:pt x="78046" y="187523"/>
                    <a:pt x="78046" y="187523"/>
                    <a:pt x="78046" y="186795"/>
                  </a:cubicBezTo>
                  <a:lnTo>
                    <a:pt x="78046" y="184193"/>
                  </a:lnTo>
                  <a:lnTo>
                    <a:pt x="78046" y="184193"/>
                  </a:lnTo>
                  <a:cubicBezTo>
                    <a:pt x="78046" y="184193"/>
                    <a:pt x="78046" y="184193"/>
                    <a:pt x="78046" y="183569"/>
                  </a:cubicBezTo>
                  <a:lnTo>
                    <a:pt x="78046" y="183049"/>
                  </a:lnTo>
                  <a:lnTo>
                    <a:pt x="78046" y="182424"/>
                  </a:lnTo>
                  <a:lnTo>
                    <a:pt x="78046" y="182424"/>
                  </a:lnTo>
                  <a:cubicBezTo>
                    <a:pt x="75642" y="177679"/>
                    <a:pt x="73655" y="172736"/>
                    <a:pt x="72115" y="167647"/>
                  </a:cubicBezTo>
                  <a:cubicBezTo>
                    <a:pt x="72115" y="167647"/>
                    <a:pt x="72115" y="167647"/>
                    <a:pt x="72115" y="167647"/>
                  </a:cubicBezTo>
                  <a:cubicBezTo>
                    <a:pt x="72104" y="167408"/>
                    <a:pt x="72104" y="167158"/>
                    <a:pt x="72115" y="166919"/>
                  </a:cubicBezTo>
                  <a:lnTo>
                    <a:pt x="72115" y="166294"/>
                  </a:lnTo>
                  <a:lnTo>
                    <a:pt x="72115" y="165774"/>
                  </a:lnTo>
                  <a:lnTo>
                    <a:pt x="72115" y="165774"/>
                  </a:lnTo>
                  <a:lnTo>
                    <a:pt x="72115" y="165774"/>
                  </a:lnTo>
                  <a:lnTo>
                    <a:pt x="72115" y="165774"/>
                  </a:lnTo>
                  <a:lnTo>
                    <a:pt x="72115" y="165774"/>
                  </a:lnTo>
                  <a:lnTo>
                    <a:pt x="72115" y="165774"/>
                  </a:lnTo>
                  <a:lnTo>
                    <a:pt x="72115" y="165774"/>
                  </a:lnTo>
                  <a:lnTo>
                    <a:pt x="72115" y="165774"/>
                  </a:lnTo>
                  <a:lnTo>
                    <a:pt x="72115" y="165774"/>
                  </a:lnTo>
                  <a:lnTo>
                    <a:pt x="72115" y="165774"/>
                  </a:lnTo>
                  <a:lnTo>
                    <a:pt x="72115" y="165774"/>
                  </a:lnTo>
                  <a:lnTo>
                    <a:pt x="71490" y="165774"/>
                  </a:lnTo>
                  <a:lnTo>
                    <a:pt x="71490" y="165774"/>
                  </a:lnTo>
                  <a:lnTo>
                    <a:pt x="70866" y="165774"/>
                  </a:lnTo>
                  <a:lnTo>
                    <a:pt x="70866" y="165774"/>
                  </a:lnTo>
                  <a:lnTo>
                    <a:pt x="70242" y="165774"/>
                  </a:lnTo>
                  <a:lnTo>
                    <a:pt x="69617" y="165774"/>
                  </a:lnTo>
                  <a:lnTo>
                    <a:pt x="68160" y="165774"/>
                  </a:lnTo>
                  <a:lnTo>
                    <a:pt x="42873" y="162340"/>
                  </a:lnTo>
                  <a:lnTo>
                    <a:pt x="42873" y="133826"/>
                  </a:lnTo>
                  <a:lnTo>
                    <a:pt x="68264" y="130704"/>
                  </a:lnTo>
                  <a:lnTo>
                    <a:pt x="68264" y="130704"/>
                  </a:lnTo>
                  <a:lnTo>
                    <a:pt x="69201" y="130704"/>
                  </a:lnTo>
                  <a:lnTo>
                    <a:pt x="69201" y="130704"/>
                  </a:lnTo>
                  <a:lnTo>
                    <a:pt x="70242" y="130704"/>
                  </a:lnTo>
                  <a:lnTo>
                    <a:pt x="70242" y="130704"/>
                  </a:lnTo>
                  <a:lnTo>
                    <a:pt x="70866" y="130704"/>
                  </a:lnTo>
                  <a:lnTo>
                    <a:pt x="70866" y="130704"/>
                  </a:lnTo>
                  <a:lnTo>
                    <a:pt x="71386" y="130704"/>
                  </a:lnTo>
                  <a:lnTo>
                    <a:pt x="71386" y="130704"/>
                  </a:lnTo>
                  <a:lnTo>
                    <a:pt x="72010" y="130704"/>
                  </a:lnTo>
                  <a:lnTo>
                    <a:pt x="72010" y="130704"/>
                  </a:lnTo>
                  <a:lnTo>
                    <a:pt x="72843" y="130080"/>
                  </a:lnTo>
                  <a:lnTo>
                    <a:pt x="72843" y="130080"/>
                  </a:lnTo>
                  <a:lnTo>
                    <a:pt x="72843" y="130080"/>
                  </a:lnTo>
                  <a:lnTo>
                    <a:pt x="72843" y="130080"/>
                  </a:lnTo>
                  <a:cubicBezTo>
                    <a:pt x="73072" y="129882"/>
                    <a:pt x="73249" y="129633"/>
                    <a:pt x="73363" y="129352"/>
                  </a:cubicBezTo>
                  <a:lnTo>
                    <a:pt x="73363" y="129352"/>
                  </a:lnTo>
                  <a:lnTo>
                    <a:pt x="73884" y="128519"/>
                  </a:lnTo>
                  <a:lnTo>
                    <a:pt x="73884" y="128519"/>
                  </a:lnTo>
                  <a:lnTo>
                    <a:pt x="74404" y="127583"/>
                  </a:lnTo>
                  <a:lnTo>
                    <a:pt x="74404" y="127583"/>
                  </a:lnTo>
                  <a:cubicBezTo>
                    <a:pt x="74446" y="127302"/>
                    <a:pt x="74446" y="127031"/>
                    <a:pt x="74404" y="126750"/>
                  </a:cubicBezTo>
                  <a:cubicBezTo>
                    <a:pt x="74404" y="126750"/>
                    <a:pt x="74404" y="126750"/>
                    <a:pt x="74404" y="126750"/>
                  </a:cubicBezTo>
                  <a:cubicBezTo>
                    <a:pt x="74404" y="126750"/>
                    <a:pt x="74404" y="126750"/>
                    <a:pt x="74404" y="126750"/>
                  </a:cubicBezTo>
                  <a:cubicBezTo>
                    <a:pt x="75975" y="121640"/>
                    <a:pt x="78036" y="116697"/>
                    <a:pt x="80544" y="111973"/>
                  </a:cubicBezTo>
                  <a:lnTo>
                    <a:pt x="80544" y="111973"/>
                  </a:lnTo>
                  <a:lnTo>
                    <a:pt x="80544" y="111244"/>
                  </a:lnTo>
                  <a:lnTo>
                    <a:pt x="80544" y="111244"/>
                  </a:lnTo>
                  <a:cubicBezTo>
                    <a:pt x="80544" y="111244"/>
                    <a:pt x="80544" y="111244"/>
                    <a:pt x="80544" y="110620"/>
                  </a:cubicBezTo>
                  <a:cubicBezTo>
                    <a:pt x="80544" y="109996"/>
                    <a:pt x="80544" y="110620"/>
                    <a:pt x="80544" y="109996"/>
                  </a:cubicBezTo>
                  <a:lnTo>
                    <a:pt x="80544" y="109996"/>
                  </a:lnTo>
                  <a:cubicBezTo>
                    <a:pt x="80544" y="109996"/>
                    <a:pt x="80544" y="109996"/>
                    <a:pt x="80544" y="109267"/>
                  </a:cubicBezTo>
                  <a:lnTo>
                    <a:pt x="80544" y="107082"/>
                  </a:lnTo>
                  <a:cubicBezTo>
                    <a:pt x="80544" y="107082"/>
                    <a:pt x="80544" y="107082"/>
                    <a:pt x="80544" y="106458"/>
                  </a:cubicBezTo>
                  <a:lnTo>
                    <a:pt x="80544" y="106458"/>
                  </a:lnTo>
                  <a:cubicBezTo>
                    <a:pt x="80544" y="106458"/>
                    <a:pt x="80544" y="106458"/>
                    <a:pt x="80544" y="105833"/>
                  </a:cubicBezTo>
                  <a:cubicBezTo>
                    <a:pt x="80544" y="105209"/>
                    <a:pt x="80544" y="105833"/>
                    <a:pt x="80544" y="105833"/>
                  </a:cubicBezTo>
                  <a:cubicBezTo>
                    <a:pt x="80585" y="105625"/>
                    <a:pt x="80585" y="105417"/>
                    <a:pt x="80544" y="105209"/>
                  </a:cubicBezTo>
                  <a:cubicBezTo>
                    <a:pt x="80544" y="105209"/>
                    <a:pt x="80544" y="105209"/>
                    <a:pt x="80544" y="105209"/>
                  </a:cubicBezTo>
                  <a:cubicBezTo>
                    <a:pt x="80554" y="104969"/>
                    <a:pt x="80554" y="104720"/>
                    <a:pt x="80544" y="104480"/>
                  </a:cubicBezTo>
                  <a:cubicBezTo>
                    <a:pt x="80544" y="104480"/>
                    <a:pt x="80544" y="104480"/>
                    <a:pt x="80544" y="104480"/>
                  </a:cubicBezTo>
                  <a:cubicBezTo>
                    <a:pt x="80502" y="104272"/>
                    <a:pt x="80502" y="104064"/>
                    <a:pt x="80544" y="103856"/>
                  </a:cubicBezTo>
                  <a:lnTo>
                    <a:pt x="80544" y="103336"/>
                  </a:lnTo>
                  <a:lnTo>
                    <a:pt x="80544" y="103336"/>
                  </a:lnTo>
                  <a:lnTo>
                    <a:pt x="80544" y="102711"/>
                  </a:lnTo>
                  <a:lnTo>
                    <a:pt x="80544" y="102711"/>
                  </a:lnTo>
                  <a:lnTo>
                    <a:pt x="65247" y="81898"/>
                  </a:lnTo>
                  <a:lnTo>
                    <a:pt x="85539" y="61918"/>
                  </a:lnTo>
                  <a:lnTo>
                    <a:pt x="105310" y="77528"/>
                  </a:lnTo>
                  <a:lnTo>
                    <a:pt x="106143" y="78152"/>
                  </a:lnTo>
                  <a:lnTo>
                    <a:pt x="106143" y="78152"/>
                  </a:lnTo>
                  <a:lnTo>
                    <a:pt x="106767" y="78152"/>
                  </a:lnTo>
                  <a:lnTo>
                    <a:pt x="106767" y="78152"/>
                  </a:lnTo>
                  <a:lnTo>
                    <a:pt x="107288" y="78152"/>
                  </a:lnTo>
                  <a:lnTo>
                    <a:pt x="107288" y="78152"/>
                  </a:lnTo>
                  <a:lnTo>
                    <a:pt x="108016" y="78152"/>
                  </a:lnTo>
                  <a:lnTo>
                    <a:pt x="111970" y="78152"/>
                  </a:lnTo>
                  <a:cubicBezTo>
                    <a:pt x="112834" y="78256"/>
                    <a:pt x="113708" y="78256"/>
                    <a:pt x="114572" y="78152"/>
                  </a:cubicBezTo>
                  <a:lnTo>
                    <a:pt x="114572" y="78152"/>
                  </a:lnTo>
                  <a:cubicBezTo>
                    <a:pt x="114946" y="78215"/>
                    <a:pt x="115342" y="78215"/>
                    <a:pt x="115717" y="78152"/>
                  </a:cubicBezTo>
                  <a:lnTo>
                    <a:pt x="115717" y="78152"/>
                  </a:lnTo>
                  <a:lnTo>
                    <a:pt x="116757" y="78152"/>
                  </a:lnTo>
                  <a:lnTo>
                    <a:pt x="116757" y="78152"/>
                  </a:lnTo>
                  <a:lnTo>
                    <a:pt x="116757" y="78152"/>
                  </a:lnTo>
                  <a:cubicBezTo>
                    <a:pt x="121565" y="75717"/>
                    <a:pt x="126581" y="73688"/>
                    <a:pt x="131742" y="72117"/>
                  </a:cubicBezTo>
                  <a:lnTo>
                    <a:pt x="131742" y="72117"/>
                  </a:lnTo>
                  <a:lnTo>
                    <a:pt x="132574" y="72117"/>
                  </a:lnTo>
                  <a:lnTo>
                    <a:pt x="132574" y="72117"/>
                  </a:lnTo>
                  <a:lnTo>
                    <a:pt x="133199" y="72117"/>
                  </a:lnTo>
                  <a:lnTo>
                    <a:pt x="133719" y="72117"/>
                  </a:lnTo>
                  <a:lnTo>
                    <a:pt x="133719" y="72117"/>
                  </a:lnTo>
                  <a:lnTo>
                    <a:pt x="134239" y="72117"/>
                  </a:lnTo>
                  <a:lnTo>
                    <a:pt x="134239" y="72117"/>
                  </a:lnTo>
                  <a:cubicBezTo>
                    <a:pt x="134239" y="72117"/>
                    <a:pt x="134239" y="72117"/>
                    <a:pt x="134239" y="72117"/>
                  </a:cubicBezTo>
                  <a:lnTo>
                    <a:pt x="134239" y="72117"/>
                  </a:lnTo>
                  <a:cubicBezTo>
                    <a:pt x="134239" y="72117"/>
                    <a:pt x="134239" y="72117"/>
                    <a:pt x="134239" y="72117"/>
                  </a:cubicBezTo>
                  <a:lnTo>
                    <a:pt x="134760" y="72117"/>
                  </a:lnTo>
                  <a:lnTo>
                    <a:pt x="134760" y="72117"/>
                  </a:lnTo>
                  <a:cubicBezTo>
                    <a:pt x="135291" y="71575"/>
                    <a:pt x="135717" y="70941"/>
                    <a:pt x="136009" y="70243"/>
                  </a:cubicBezTo>
                  <a:lnTo>
                    <a:pt x="136009" y="70243"/>
                  </a:lnTo>
                  <a:cubicBezTo>
                    <a:pt x="135967" y="69962"/>
                    <a:pt x="135967" y="69692"/>
                    <a:pt x="136009" y="69411"/>
                  </a:cubicBezTo>
                  <a:lnTo>
                    <a:pt x="136009" y="69411"/>
                  </a:lnTo>
                  <a:cubicBezTo>
                    <a:pt x="136050" y="69171"/>
                    <a:pt x="136050" y="68922"/>
                    <a:pt x="136009" y="68682"/>
                  </a:cubicBezTo>
                  <a:lnTo>
                    <a:pt x="136009" y="68682"/>
                  </a:lnTo>
                  <a:cubicBezTo>
                    <a:pt x="136009" y="68682"/>
                    <a:pt x="136009" y="68682"/>
                    <a:pt x="136009" y="68682"/>
                  </a:cubicBezTo>
                  <a:cubicBezTo>
                    <a:pt x="136009" y="68682"/>
                    <a:pt x="136009" y="68682"/>
                    <a:pt x="136009" y="68058"/>
                  </a:cubicBezTo>
                  <a:lnTo>
                    <a:pt x="136009" y="68058"/>
                  </a:lnTo>
                  <a:lnTo>
                    <a:pt x="139338" y="43083"/>
                  </a:lnTo>
                  <a:lnTo>
                    <a:pt x="167955" y="43083"/>
                  </a:lnTo>
                  <a:lnTo>
                    <a:pt x="171077" y="68474"/>
                  </a:lnTo>
                  <a:lnTo>
                    <a:pt x="171077" y="68474"/>
                  </a:lnTo>
                  <a:cubicBezTo>
                    <a:pt x="171025" y="68682"/>
                    <a:pt x="171025" y="68890"/>
                    <a:pt x="171077" y="69099"/>
                  </a:cubicBezTo>
                  <a:cubicBezTo>
                    <a:pt x="171077" y="69099"/>
                    <a:pt x="171077" y="69099"/>
                    <a:pt x="171077" y="69619"/>
                  </a:cubicBezTo>
                  <a:cubicBezTo>
                    <a:pt x="171119" y="69827"/>
                    <a:pt x="171119" y="70035"/>
                    <a:pt x="171077" y="70243"/>
                  </a:cubicBezTo>
                  <a:lnTo>
                    <a:pt x="171077" y="70243"/>
                  </a:lnTo>
                  <a:lnTo>
                    <a:pt x="171077" y="70972"/>
                  </a:lnTo>
                  <a:lnTo>
                    <a:pt x="171077" y="70972"/>
                  </a:lnTo>
                  <a:lnTo>
                    <a:pt x="171598" y="71700"/>
                  </a:lnTo>
                  <a:lnTo>
                    <a:pt x="171598" y="71700"/>
                  </a:lnTo>
                  <a:cubicBezTo>
                    <a:pt x="171566" y="71981"/>
                    <a:pt x="171566" y="72252"/>
                    <a:pt x="171598" y="72533"/>
                  </a:cubicBezTo>
                  <a:lnTo>
                    <a:pt x="171598" y="72533"/>
                  </a:lnTo>
                  <a:lnTo>
                    <a:pt x="172326" y="73365"/>
                  </a:lnTo>
                  <a:cubicBezTo>
                    <a:pt x="172326" y="73365"/>
                    <a:pt x="172326" y="73365"/>
                    <a:pt x="172326" y="73365"/>
                  </a:cubicBezTo>
                  <a:lnTo>
                    <a:pt x="172326" y="73365"/>
                  </a:lnTo>
                  <a:lnTo>
                    <a:pt x="172326" y="73365"/>
                  </a:lnTo>
                  <a:lnTo>
                    <a:pt x="172326" y="73365"/>
                  </a:lnTo>
                  <a:lnTo>
                    <a:pt x="172846" y="73365"/>
                  </a:lnTo>
                  <a:lnTo>
                    <a:pt x="172846" y="73365"/>
                  </a:lnTo>
                  <a:lnTo>
                    <a:pt x="173367" y="73365"/>
                  </a:lnTo>
                  <a:lnTo>
                    <a:pt x="173367" y="73365"/>
                  </a:lnTo>
                  <a:lnTo>
                    <a:pt x="173367" y="73365"/>
                  </a:lnTo>
                  <a:lnTo>
                    <a:pt x="174095" y="73365"/>
                  </a:lnTo>
                  <a:lnTo>
                    <a:pt x="174095" y="73365"/>
                  </a:lnTo>
                  <a:cubicBezTo>
                    <a:pt x="179205" y="74937"/>
                    <a:pt x="184147" y="76997"/>
                    <a:pt x="188872" y="79505"/>
                  </a:cubicBezTo>
                  <a:lnTo>
                    <a:pt x="189392" y="79505"/>
                  </a:lnTo>
                  <a:lnTo>
                    <a:pt x="190433" y="79505"/>
                  </a:lnTo>
                  <a:lnTo>
                    <a:pt x="190433" y="79505"/>
                  </a:lnTo>
                  <a:lnTo>
                    <a:pt x="191578" y="79505"/>
                  </a:lnTo>
                  <a:lnTo>
                    <a:pt x="191578" y="79505"/>
                  </a:lnTo>
                  <a:cubicBezTo>
                    <a:pt x="192441" y="79609"/>
                    <a:pt x="193315" y="79609"/>
                    <a:pt x="194179" y="79505"/>
                  </a:cubicBezTo>
                  <a:lnTo>
                    <a:pt x="197613" y="79505"/>
                  </a:lnTo>
                  <a:lnTo>
                    <a:pt x="197613" y="79505"/>
                  </a:lnTo>
                  <a:lnTo>
                    <a:pt x="197613" y="79505"/>
                  </a:lnTo>
                  <a:lnTo>
                    <a:pt x="198237" y="79505"/>
                  </a:lnTo>
                  <a:lnTo>
                    <a:pt x="198758" y="79505"/>
                  </a:lnTo>
                  <a:lnTo>
                    <a:pt x="198758" y="79505"/>
                  </a:lnTo>
                  <a:lnTo>
                    <a:pt x="198758" y="79505"/>
                  </a:lnTo>
                  <a:lnTo>
                    <a:pt x="198758" y="79505"/>
                  </a:lnTo>
                  <a:lnTo>
                    <a:pt x="199382" y="79505"/>
                  </a:lnTo>
                  <a:lnTo>
                    <a:pt x="199382" y="79505"/>
                  </a:lnTo>
                  <a:lnTo>
                    <a:pt x="220195" y="64208"/>
                  </a:lnTo>
                  <a:lnTo>
                    <a:pt x="240174" y="85020"/>
                  </a:lnTo>
                  <a:lnTo>
                    <a:pt x="224357" y="105105"/>
                  </a:lnTo>
                  <a:lnTo>
                    <a:pt x="224357" y="105105"/>
                  </a:lnTo>
                  <a:cubicBezTo>
                    <a:pt x="224326" y="105313"/>
                    <a:pt x="224326" y="105521"/>
                    <a:pt x="224357" y="105729"/>
                  </a:cubicBezTo>
                  <a:lnTo>
                    <a:pt x="224357" y="105729"/>
                  </a:lnTo>
                  <a:lnTo>
                    <a:pt x="224357" y="105729"/>
                  </a:lnTo>
                  <a:cubicBezTo>
                    <a:pt x="224315" y="105937"/>
                    <a:pt x="224315" y="106145"/>
                    <a:pt x="224357" y="106353"/>
                  </a:cubicBezTo>
                  <a:lnTo>
                    <a:pt x="224357" y="106353"/>
                  </a:lnTo>
                  <a:lnTo>
                    <a:pt x="224357" y="106978"/>
                  </a:lnTo>
                  <a:lnTo>
                    <a:pt x="224357" y="106978"/>
                  </a:lnTo>
                  <a:cubicBezTo>
                    <a:pt x="224357" y="106978"/>
                    <a:pt x="224357" y="106978"/>
                    <a:pt x="224357" y="107602"/>
                  </a:cubicBezTo>
                  <a:cubicBezTo>
                    <a:pt x="224357" y="108227"/>
                    <a:pt x="224357" y="107602"/>
                    <a:pt x="224357" y="107602"/>
                  </a:cubicBezTo>
                  <a:cubicBezTo>
                    <a:pt x="224357" y="107602"/>
                    <a:pt x="224357" y="107602"/>
                    <a:pt x="224357" y="108227"/>
                  </a:cubicBezTo>
                  <a:lnTo>
                    <a:pt x="224357" y="108227"/>
                  </a:lnTo>
                  <a:lnTo>
                    <a:pt x="224357" y="109371"/>
                  </a:ln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" name="Freeform 150">
              <a:extLst>
                <a:ext uri="{FF2B5EF4-FFF2-40B4-BE49-F238E27FC236}">
                  <a16:creationId xmlns:a16="http://schemas.microsoft.com/office/drawing/2014/main" id="{4E0003DA-0EF9-6743-B6E0-343E9FDFA591}"/>
                </a:ext>
              </a:extLst>
            </p:cNvPr>
            <p:cNvSpPr/>
            <p:nvPr/>
          </p:nvSpPr>
          <p:spPr>
            <a:xfrm>
              <a:off x="8332318" y="5411019"/>
              <a:ext cx="23307" cy="36855"/>
            </a:xfrm>
            <a:custGeom>
              <a:avLst/>
              <a:gdLst>
                <a:gd name="connsiteX0" fmla="*/ 23206 w 23307"/>
                <a:gd name="connsiteY0" fmla="*/ 524 h 36855"/>
                <a:gd name="connsiteX1" fmla="*/ 23206 w 23307"/>
                <a:gd name="connsiteY1" fmla="*/ 1565 h 36855"/>
                <a:gd name="connsiteX2" fmla="*/ 23206 w 23307"/>
                <a:gd name="connsiteY2" fmla="*/ 35281 h 36855"/>
                <a:gd name="connsiteX3" fmla="*/ 21749 w 23307"/>
                <a:gd name="connsiteY3" fmla="*/ 36738 h 36855"/>
                <a:gd name="connsiteX4" fmla="*/ 20709 w 23307"/>
                <a:gd name="connsiteY4" fmla="*/ 36738 h 36855"/>
                <a:gd name="connsiteX5" fmla="*/ 20709 w 23307"/>
                <a:gd name="connsiteY5" fmla="*/ 35697 h 36855"/>
                <a:gd name="connsiteX6" fmla="*/ 20709 w 23307"/>
                <a:gd name="connsiteY6" fmla="*/ 20816 h 36855"/>
                <a:gd name="connsiteX7" fmla="*/ 16963 w 23307"/>
                <a:gd name="connsiteY7" fmla="*/ 24667 h 36855"/>
                <a:gd name="connsiteX8" fmla="*/ 11551 w 23307"/>
                <a:gd name="connsiteY8" fmla="*/ 26332 h 36855"/>
                <a:gd name="connsiteX9" fmla="*/ 5620 w 23307"/>
                <a:gd name="connsiteY9" fmla="*/ 24563 h 36855"/>
                <a:gd name="connsiteX10" fmla="*/ 1457 w 23307"/>
                <a:gd name="connsiteY10" fmla="*/ 19880 h 36855"/>
                <a:gd name="connsiteX11" fmla="*/ 1 w 23307"/>
                <a:gd name="connsiteY11" fmla="*/ 13116 h 36855"/>
                <a:gd name="connsiteX12" fmla="*/ 1457 w 23307"/>
                <a:gd name="connsiteY12" fmla="*/ 6352 h 36855"/>
                <a:gd name="connsiteX13" fmla="*/ 5620 w 23307"/>
                <a:gd name="connsiteY13" fmla="*/ 1669 h 36855"/>
                <a:gd name="connsiteX14" fmla="*/ 11551 w 23307"/>
                <a:gd name="connsiteY14" fmla="*/ 4 h 36855"/>
                <a:gd name="connsiteX15" fmla="*/ 16859 w 23307"/>
                <a:gd name="connsiteY15" fmla="*/ 1461 h 36855"/>
                <a:gd name="connsiteX16" fmla="*/ 20709 w 23307"/>
                <a:gd name="connsiteY16" fmla="*/ 5207 h 36855"/>
                <a:gd name="connsiteX17" fmla="*/ 20709 w 23307"/>
                <a:gd name="connsiteY17" fmla="*/ 1981 h 36855"/>
                <a:gd name="connsiteX18" fmla="*/ 20709 w 23307"/>
                <a:gd name="connsiteY18" fmla="*/ 940 h 36855"/>
                <a:gd name="connsiteX19" fmla="*/ 21749 w 23307"/>
                <a:gd name="connsiteY19" fmla="*/ 420 h 36855"/>
                <a:gd name="connsiteX20" fmla="*/ 23206 w 23307"/>
                <a:gd name="connsiteY20" fmla="*/ 524 h 36855"/>
                <a:gd name="connsiteX21" fmla="*/ 16442 w 23307"/>
                <a:gd name="connsiteY21" fmla="*/ 21337 h 36855"/>
                <a:gd name="connsiteX22" fmla="*/ 19668 w 23307"/>
                <a:gd name="connsiteY22" fmla="*/ 17590 h 36855"/>
                <a:gd name="connsiteX23" fmla="*/ 19668 w 23307"/>
                <a:gd name="connsiteY23" fmla="*/ 7184 h 36855"/>
                <a:gd name="connsiteX24" fmla="*/ 8409 w 23307"/>
                <a:gd name="connsiteY24" fmla="*/ 2834 h 36855"/>
                <a:gd name="connsiteX25" fmla="*/ 4059 w 23307"/>
                <a:gd name="connsiteY25" fmla="*/ 7184 h 36855"/>
                <a:gd name="connsiteX26" fmla="*/ 4059 w 23307"/>
                <a:gd name="connsiteY26" fmla="*/ 17590 h 36855"/>
                <a:gd name="connsiteX27" fmla="*/ 7285 w 23307"/>
                <a:gd name="connsiteY27" fmla="*/ 21337 h 36855"/>
                <a:gd name="connsiteX28" fmla="*/ 16442 w 23307"/>
                <a:gd name="connsiteY28" fmla="*/ 21337 h 36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3307" h="36855">
                  <a:moveTo>
                    <a:pt x="23206" y="524"/>
                  </a:moveTo>
                  <a:cubicBezTo>
                    <a:pt x="23342" y="857"/>
                    <a:pt x="23342" y="1232"/>
                    <a:pt x="23206" y="1565"/>
                  </a:cubicBezTo>
                  <a:lnTo>
                    <a:pt x="23206" y="35281"/>
                  </a:lnTo>
                  <a:cubicBezTo>
                    <a:pt x="23206" y="36083"/>
                    <a:pt x="22551" y="36738"/>
                    <a:pt x="21749" y="36738"/>
                  </a:cubicBezTo>
                  <a:cubicBezTo>
                    <a:pt x="21416" y="36894"/>
                    <a:pt x="21042" y="36894"/>
                    <a:pt x="20709" y="36738"/>
                  </a:cubicBezTo>
                  <a:cubicBezTo>
                    <a:pt x="20574" y="36405"/>
                    <a:pt x="20574" y="36031"/>
                    <a:pt x="20709" y="35697"/>
                  </a:cubicBezTo>
                  <a:lnTo>
                    <a:pt x="20709" y="20816"/>
                  </a:lnTo>
                  <a:cubicBezTo>
                    <a:pt x="19814" y="22409"/>
                    <a:pt x="18524" y="23730"/>
                    <a:pt x="16963" y="24667"/>
                  </a:cubicBezTo>
                  <a:cubicBezTo>
                    <a:pt x="15381" y="25770"/>
                    <a:pt x="13487" y="26353"/>
                    <a:pt x="11551" y="26332"/>
                  </a:cubicBezTo>
                  <a:cubicBezTo>
                    <a:pt x="9439" y="26353"/>
                    <a:pt x="7368" y="25739"/>
                    <a:pt x="5620" y="24563"/>
                  </a:cubicBezTo>
                  <a:cubicBezTo>
                    <a:pt x="3872" y="23366"/>
                    <a:pt x="2446" y="21753"/>
                    <a:pt x="1457" y="19880"/>
                  </a:cubicBezTo>
                  <a:cubicBezTo>
                    <a:pt x="479" y="17757"/>
                    <a:pt x="-20" y="15447"/>
                    <a:pt x="1" y="13116"/>
                  </a:cubicBezTo>
                  <a:cubicBezTo>
                    <a:pt x="-10" y="10785"/>
                    <a:pt x="490" y="8474"/>
                    <a:pt x="1457" y="6352"/>
                  </a:cubicBezTo>
                  <a:cubicBezTo>
                    <a:pt x="2446" y="4478"/>
                    <a:pt x="3872" y="2865"/>
                    <a:pt x="5620" y="1669"/>
                  </a:cubicBezTo>
                  <a:cubicBezTo>
                    <a:pt x="7389" y="524"/>
                    <a:pt x="9449" y="-48"/>
                    <a:pt x="11551" y="4"/>
                  </a:cubicBezTo>
                  <a:cubicBezTo>
                    <a:pt x="13425" y="-48"/>
                    <a:pt x="15277" y="462"/>
                    <a:pt x="16859" y="1461"/>
                  </a:cubicBezTo>
                  <a:cubicBezTo>
                    <a:pt x="18451" y="2356"/>
                    <a:pt x="19772" y="3646"/>
                    <a:pt x="20709" y="5207"/>
                  </a:cubicBezTo>
                  <a:lnTo>
                    <a:pt x="20709" y="1981"/>
                  </a:lnTo>
                  <a:cubicBezTo>
                    <a:pt x="20574" y="1648"/>
                    <a:pt x="20574" y="1273"/>
                    <a:pt x="20709" y="940"/>
                  </a:cubicBezTo>
                  <a:cubicBezTo>
                    <a:pt x="20948" y="607"/>
                    <a:pt x="21333" y="409"/>
                    <a:pt x="21749" y="420"/>
                  </a:cubicBezTo>
                  <a:cubicBezTo>
                    <a:pt x="22218" y="191"/>
                    <a:pt x="22769" y="233"/>
                    <a:pt x="23206" y="524"/>
                  </a:cubicBezTo>
                  <a:close/>
                  <a:moveTo>
                    <a:pt x="16442" y="21337"/>
                  </a:moveTo>
                  <a:cubicBezTo>
                    <a:pt x="17910" y="20484"/>
                    <a:pt x="19044" y="19162"/>
                    <a:pt x="19668" y="17590"/>
                  </a:cubicBezTo>
                  <a:cubicBezTo>
                    <a:pt x="21125" y="14271"/>
                    <a:pt x="21125" y="10504"/>
                    <a:pt x="19668" y="7184"/>
                  </a:cubicBezTo>
                  <a:cubicBezTo>
                    <a:pt x="17764" y="2876"/>
                    <a:pt x="12727" y="920"/>
                    <a:pt x="8409" y="2834"/>
                  </a:cubicBezTo>
                  <a:cubicBezTo>
                    <a:pt x="6473" y="3688"/>
                    <a:pt x="4923" y="5238"/>
                    <a:pt x="4059" y="7184"/>
                  </a:cubicBezTo>
                  <a:cubicBezTo>
                    <a:pt x="2602" y="10504"/>
                    <a:pt x="2602" y="14271"/>
                    <a:pt x="4059" y="17590"/>
                  </a:cubicBezTo>
                  <a:cubicBezTo>
                    <a:pt x="4746" y="19131"/>
                    <a:pt x="5870" y="20431"/>
                    <a:pt x="7285" y="21337"/>
                  </a:cubicBezTo>
                  <a:cubicBezTo>
                    <a:pt x="10074" y="23137"/>
                    <a:pt x="13653" y="23137"/>
                    <a:pt x="16442" y="21337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" name="Freeform 151">
              <a:extLst>
                <a:ext uri="{FF2B5EF4-FFF2-40B4-BE49-F238E27FC236}">
                  <a16:creationId xmlns:a16="http://schemas.microsoft.com/office/drawing/2014/main" id="{0EFBD9DE-C248-0A47-95EF-8454CBD9ED11}"/>
                </a:ext>
              </a:extLst>
            </p:cNvPr>
            <p:cNvSpPr/>
            <p:nvPr/>
          </p:nvSpPr>
          <p:spPr>
            <a:xfrm>
              <a:off x="8363228" y="5411079"/>
              <a:ext cx="20494" cy="25651"/>
            </a:xfrm>
            <a:custGeom>
              <a:avLst/>
              <a:gdLst>
                <a:gd name="connsiteX0" fmla="*/ 20393 w 20494"/>
                <a:gd name="connsiteY0" fmla="*/ 671 h 25651"/>
                <a:gd name="connsiteX1" fmla="*/ 20393 w 20494"/>
                <a:gd name="connsiteY1" fmla="*/ 1712 h 25651"/>
                <a:gd name="connsiteX2" fmla="*/ 20393 w 20494"/>
                <a:gd name="connsiteY2" fmla="*/ 15657 h 25651"/>
                <a:gd name="connsiteX3" fmla="*/ 17688 w 20494"/>
                <a:gd name="connsiteY3" fmla="*/ 23045 h 25651"/>
                <a:gd name="connsiteX4" fmla="*/ 2703 w 20494"/>
                <a:gd name="connsiteY4" fmla="*/ 23045 h 25651"/>
                <a:gd name="connsiteX5" fmla="*/ 101 w 20494"/>
                <a:gd name="connsiteY5" fmla="*/ 15657 h 25651"/>
                <a:gd name="connsiteX6" fmla="*/ 101 w 20494"/>
                <a:gd name="connsiteY6" fmla="*/ 1712 h 25651"/>
                <a:gd name="connsiteX7" fmla="*/ 101 w 20494"/>
                <a:gd name="connsiteY7" fmla="*/ 671 h 25651"/>
                <a:gd name="connsiteX8" fmla="*/ 1142 w 20494"/>
                <a:gd name="connsiteY8" fmla="*/ 671 h 25651"/>
                <a:gd name="connsiteX9" fmla="*/ 2599 w 20494"/>
                <a:gd name="connsiteY9" fmla="*/ 2128 h 25651"/>
                <a:gd name="connsiteX10" fmla="*/ 2599 w 20494"/>
                <a:gd name="connsiteY10" fmla="*/ 16073 h 25651"/>
                <a:gd name="connsiteX11" fmla="*/ 4472 w 20494"/>
                <a:gd name="connsiteY11" fmla="*/ 21484 h 25651"/>
                <a:gd name="connsiteX12" fmla="*/ 14878 w 20494"/>
                <a:gd name="connsiteY12" fmla="*/ 21484 h 25651"/>
                <a:gd name="connsiteX13" fmla="*/ 16855 w 20494"/>
                <a:gd name="connsiteY13" fmla="*/ 16073 h 25651"/>
                <a:gd name="connsiteX14" fmla="*/ 16855 w 20494"/>
                <a:gd name="connsiteY14" fmla="*/ 2128 h 25651"/>
                <a:gd name="connsiteX15" fmla="*/ 16855 w 20494"/>
                <a:gd name="connsiteY15" fmla="*/ 1088 h 25651"/>
                <a:gd name="connsiteX16" fmla="*/ 17896 w 20494"/>
                <a:gd name="connsiteY16" fmla="*/ 1088 h 25651"/>
                <a:gd name="connsiteX17" fmla="*/ 19488 w 20494"/>
                <a:gd name="connsiteY17" fmla="*/ 26 h 25651"/>
                <a:gd name="connsiteX18" fmla="*/ 20393 w 20494"/>
                <a:gd name="connsiteY18" fmla="*/ 671 h 25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0494" h="25651">
                  <a:moveTo>
                    <a:pt x="20393" y="671"/>
                  </a:moveTo>
                  <a:cubicBezTo>
                    <a:pt x="20529" y="1005"/>
                    <a:pt x="20529" y="1379"/>
                    <a:pt x="20393" y="1712"/>
                  </a:cubicBezTo>
                  <a:lnTo>
                    <a:pt x="20393" y="15657"/>
                  </a:lnTo>
                  <a:cubicBezTo>
                    <a:pt x="20570" y="18393"/>
                    <a:pt x="19582" y="21068"/>
                    <a:pt x="17688" y="23045"/>
                  </a:cubicBezTo>
                  <a:cubicBezTo>
                    <a:pt x="13296" y="26521"/>
                    <a:pt x="7094" y="26521"/>
                    <a:pt x="2703" y="23045"/>
                  </a:cubicBezTo>
                  <a:cubicBezTo>
                    <a:pt x="830" y="21058"/>
                    <a:pt x="-107" y="18373"/>
                    <a:pt x="101" y="15657"/>
                  </a:cubicBezTo>
                  <a:lnTo>
                    <a:pt x="101" y="1712"/>
                  </a:lnTo>
                  <a:cubicBezTo>
                    <a:pt x="-34" y="1379"/>
                    <a:pt x="-34" y="1005"/>
                    <a:pt x="101" y="671"/>
                  </a:cubicBezTo>
                  <a:cubicBezTo>
                    <a:pt x="434" y="515"/>
                    <a:pt x="809" y="515"/>
                    <a:pt x="1142" y="671"/>
                  </a:cubicBezTo>
                  <a:cubicBezTo>
                    <a:pt x="1943" y="671"/>
                    <a:pt x="2599" y="1327"/>
                    <a:pt x="2599" y="2128"/>
                  </a:cubicBezTo>
                  <a:lnTo>
                    <a:pt x="2599" y="16073"/>
                  </a:lnTo>
                  <a:cubicBezTo>
                    <a:pt x="2464" y="18060"/>
                    <a:pt x="3140" y="20017"/>
                    <a:pt x="4472" y="21484"/>
                  </a:cubicBezTo>
                  <a:cubicBezTo>
                    <a:pt x="7531" y="23878"/>
                    <a:pt x="11819" y="23878"/>
                    <a:pt x="14878" y="21484"/>
                  </a:cubicBezTo>
                  <a:cubicBezTo>
                    <a:pt x="16252" y="20027"/>
                    <a:pt x="16970" y="18071"/>
                    <a:pt x="16855" y="16073"/>
                  </a:cubicBezTo>
                  <a:lnTo>
                    <a:pt x="16855" y="2128"/>
                  </a:lnTo>
                  <a:cubicBezTo>
                    <a:pt x="16720" y="1795"/>
                    <a:pt x="16720" y="1421"/>
                    <a:pt x="16855" y="1088"/>
                  </a:cubicBezTo>
                  <a:cubicBezTo>
                    <a:pt x="17188" y="931"/>
                    <a:pt x="17563" y="931"/>
                    <a:pt x="17896" y="1088"/>
                  </a:cubicBezTo>
                  <a:cubicBezTo>
                    <a:pt x="18042" y="359"/>
                    <a:pt x="18749" y="-119"/>
                    <a:pt x="19488" y="26"/>
                  </a:cubicBezTo>
                  <a:cubicBezTo>
                    <a:pt x="19863" y="99"/>
                    <a:pt x="20196" y="338"/>
                    <a:pt x="20393" y="671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" name="Freeform 152">
              <a:extLst>
                <a:ext uri="{FF2B5EF4-FFF2-40B4-BE49-F238E27FC236}">
                  <a16:creationId xmlns:a16="http://schemas.microsoft.com/office/drawing/2014/main" id="{7C8DA0B3-8BC0-0C4D-8748-F5F40D24B1CA}"/>
                </a:ext>
              </a:extLst>
            </p:cNvPr>
            <p:cNvSpPr/>
            <p:nvPr/>
          </p:nvSpPr>
          <p:spPr>
            <a:xfrm>
              <a:off x="8391009" y="5410973"/>
              <a:ext cx="22979" cy="26169"/>
            </a:xfrm>
            <a:custGeom>
              <a:avLst/>
              <a:gdLst>
                <a:gd name="connsiteX0" fmla="*/ 22894 w 22979"/>
                <a:gd name="connsiteY0" fmla="*/ 674 h 26169"/>
                <a:gd name="connsiteX1" fmla="*/ 22894 w 22979"/>
                <a:gd name="connsiteY1" fmla="*/ 1714 h 26169"/>
                <a:gd name="connsiteX2" fmla="*/ 22894 w 22979"/>
                <a:gd name="connsiteY2" fmla="*/ 24192 h 26169"/>
                <a:gd name="connsiteX3" fmla="*/ 22894 w 22979"/>
                <a:gd name="connsiteY3" fmla="*/ 25233 h 26169"/>
                <a:gd name="connsiteX4" fmla="*/ 21853 w 22979"/>
                <a:gd name="connsiteY4" fmla="*/ 25233 h 26169"/>
                <a:gd name="connsiteX5" fmla="*/ 20708 w 22979"/>
                <a:gd name="connsiteY5" fmla="*/ 25233 h 26169"/>
                <a:gd name="connsiteX6" fmla="*/ 20708 w 22979"/>
                <a:gd name="connsiteY6" fmla="*/ 24192 h 26169"/>
                <a:gd name="connsiteX7" fmla="*/ 20708 w 22979"/>
                <a:gd name="connsiteY7" fmla="*/ 20862 h 26169"/>
                <a:gd name="connsiteX8" fmla="*/ 17066 w 22979"/>
                <a:gd name="connsiteY8" fmla="*/ 24608 h 26169"/>
                <a:gd name="connsiteX9" fmla="*/ 11655 w 22979"/>
                <a:gd name="connsiteY9" fmla="*/ 26169 h 26169"/>
                <a:gd name="connsiteX10" fmla="*/ 5723 w 22979"/>
                <a:gd name="connsiteY10" fmla="*/ 24400 h 26169"/>
                <a:gd name="connsiteX11" fmla="*/ 1561 w 22979"/>
                <a:gd name="connsiteY11" fmla="*/ 19613 h 26169"/>
                <a:gd name="connsiteX12" fmla="*/ 1561 w 22979"/>
                <a:gd name="connsiteY12" fmla="*/ 6189 h 26169"/>
                <a:gd name="connsiteX13" fmla="*/ 5723 w 22979"/>
                <a:gd name="connsiteY13" fmla="*/ 1506 h 26169"/>
                <a:gd name="connsiteX14" fmla="*/ 17066 w 22979"/>
                <a:gd name="connsiteY14" fmla="*/ 1506 h 26169"/>
                <a:gd name="connsiteX15" fmla="*/ 20708 w 22979"/>
                <a:gd name="connsiteY15" fmla="*/ 5252 h 26169"/>
                <a:gd name="connsiteX16" fmla="*/ 20708 w 22979"/>
                <a:gd name="connsiteY16" fmla="*/ 2235 h 26169"/>
                <a:gd name="connsiteX17" fmla="*/ 20708 w 22979"/>
                <a:gd name="connsiteY17" fmla="*/ 1194 h 26169"/>
                <a:gd name="connsiteX18" fmla="*/ 21853 w 22979"/>
                <a:gd name="connsiteY18" fmla="*/ 674 h 26169"/>
                <a:gd name="connsiteX19" fmla="*/ 22894 w 22979"/>
                <a:gd name="connsiteY19" fmla="*/ 674 h 26169"/>
                <a:gd name="connsiteX20" fmla="*/ 16130 w 22979"/>
                <a:gd name="connsiteY20" fmla="*/ 21486 h 26169"/>
                <a:gd name="connsiteX21" fmla="*/ 19355 w 22979"/>
                <a:gd name="connsiteY21" fmla="*/ 17740 h 26169"/>
                <a:gd name="connsiteX22" fmla="*/ 20500 w 22979"/>
                <a:gd name="connsiteY22" fmla="*/ 12329 h 26169"/>
                <a:gd name="connsiteX23" fmla="*/ 19355 w 22979"/>
                <a:gd name="connsiteY23" fmla="*/ 7125 h 26169"/>
                <a:gd name="connsiteX24" fmla="*/ 16130 w 22979"/>
                <a:gd name="connsiteY24" fmla="*/ 3379 h 26169"/>
                <a:gd name="connsiteX25" fmla="*/ 11551 w 22979"/>
                <a:gd name="connsiteY25" fmla="*/ 2026 h 26169"/>
                <a:gd name="connsiteX26" fmla="*/ 6868 w 22979"/>
                <a:gd name="connsiteY26" fmla="*/ 3379 h 26169"/>
                <a:gd name="connsiteX27" fmla="*/ 3746 w 22979"/>
                <a:gd name="connsiteY27" fmla="*/ 7022 h 26169"/>
                <a:gd name="connsiteX28" fmla="*/ 2498 w 22979"/>
                <a:gd name="connsiteY28" fmla="*/ 12329 h 26169"/>
                <a:gd name="connsiteX29" fmla="*/ 3642 w 22979"/>
                <a:gd name="connsiteY29" fmla="*/ 17740 h 26169"/>
                <a:gd name="connsiteX30" fmla="*/ 6868 w 22979"/>
                <a:gd name="connsiteY30" fmla="*/ 21486 h 26169"/>
                <a:gd name="connsiteX31" fmla="*/ 11551 w 22979"/>
                <a:gd name="connsiteY31" fmla="*/ 22839 h 26169"/>
                <a:gd name="connsiteX32" fmla="*/ 15609 w 22979"/>
                <a:gd name="connsiteY32" fmla="*/ 21799 h 26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2979" h="26169">
                  <a:moveTo>
                    <a:pt x="22894" y="674"/>
                  </a:moveTo>
                  <a:cubicBezTo>
                    <a:pt x="23008" y="1007"/>
                    <a:pt x="23008" y="1381"/>
                    <a:pt x="22894" y="1714"/>
                  </a:cubicBezTo>
                  <a:lnTo>
                    <a:pt x="22894" y="24192"/>
                  </a:lnTo>
                  <a:cubicBezTo>
                    <a:pt x="22987" y="24535"/>
                    <a:pt x="22987" y="24889"/>
                    <a:pt x="22894" y="25233"/>
                  </a:cubicBezTo>
                  <a:cubicBezTo>
                    <a:pt x="22560" y="25368"/>
                    <a:pt x="22186" y="25368"/>
                    <a:pt x="21853" y="25233"/>
                  </a:cubicBezTo>
                  <a:cubicBezTo>
                    <a:pt x="21489" y="25389"/>
                    <a:pt x="21073" y="25389"/>
                    <a:pt x="20708" y="25233"/>
                  </a:cubicBezTo>
                  <a:cubicBezTo>
                    <a:pt x="20615" y="24889"/>
                    <a:pt x="20615" y="24535"/>
                    <a:pt x="20708" y="24192"/>
                  </a:cubicBezTo>
                  <a:lnTo>
                    <a:pt x="20708" y="20862"/>
                  </a:lnTo>
                  <a:cubicBezTo>
                    <a:pt x="19834" y="22402"/>
                    <a:pt x="18575" y="23693"/>
                    <a:pt x="17066" y="24608"/>
                  </a:cubicBezTo>
                  <a:cubicBezTo>
                    <a:pt x="15443" y="25618"/>
                    <a:pt x="13570" y="26159"/>
                    <a:pt x="11655" y="26169"/>
                  </a:cubicBezTo>
                  <a:cubicBezTo>
                    <a:pt x="9543" y="26190"/>
                    <a:pt x="7472" y="25576"/>
                    <a:pt x="5723" y="24400"/>
                  </a:cubicBezTo>
                  <a:cubicBezTo>
                    <a:pt x="3923" y="23214"/>
                    <a:pt x="2487" y="21559"/>
                    <a:pt x="1561" y="19613"/>
                  </a:cubicBezTo>
                  <a:cubicBezTo>
                    <a:pt x="-520" y="15378"/>
                    <a:pt x="-520" y="10424"/>
                    <a:pt x="1561" y="6189"/>
                  </a:cubicBezTo>
                  <a:cubicBezTo>
                    <a:pt x="2518" y="4295"/>
                    <a:pt x="3954" y="2672"/>
                    <a:pt x="5723" y="1506"/>
                  </a:cubicBezTo>
                  <a:cubicBezTo>
                    <a:pt x="9241" y="-502"/>
                    <a:pt x="13549" y="-502"/>
                    <a:pt x="17066" y="1506"/>
                  </a:cubicBezTo>
                  <a:cubicBezTo>
                    <a:pt x="18575" y="2422"/>
                    <a:pt x="19834" y="3712"/>
                    <a:pt x="20708" y="5252"/>
                  </a:cubicBezTo>
                  <a:lnTo>
                    <a:pt x="20708" y="2235"/>
                  </a:lnTo>
                  <a:cubicBezTo>
                    <a:pt x="20594" y="1902"/>
                    <a:pt x="20594" y="1527"/>
                    <a:pt x="20708" y="1194"/>
                  </a:cubicBezTo>
                  <a:cubicBezTo>
                    <a:pt x="20989" y="861"/>
                    <a:pt x="21416" y="663"/>
                    <a:pt x="21853" y="674"/>
                  </a:cubicBezTo>
                  <a:cubicBezTo>
                    <a:pt x="22186" y="549"/>
                    <a:pt x="22560" y="549"/>
                    <a:pt x="22894" y="674"/>
                  </a:cubicBezTo>
                  <a:close/>
                  <a:moveTo>
                    <a:pt x="16130" y="21486"/>
                  </a:moveTo>
                  <a:cubicBezTo>
                    <a:pt x="17524" y="20550"/>
                    <a:pt x="18637" y="19260"/>
                    <a:pt x="19355" y="17740"/>
                  </a:cubicBezTo>
                  <a:cubicBezTo>
                    <a:pt x="20178" y="16054"/>
                    <a:pt x="20563" y="14202"/>
                    <a:pt x="20500" y="12329"/>
                  </a:cubicBezTo>
                  <a:cubicBezTo>
                    <a:pt x="20573" y="10529"/>
                    <a:pt x="20178" y="8728"/>
                    <a:pt x="19355" y="7125"/>
                  </a:cubicBezTo>
                  <a:cubicBezTo>
                    <a:pt x="18637" y="5606"/>
                    <a:pt x="17524" y="4316"/>
                    <a:pt x="16130" y="3379"/>
                  </a:cubicBezTo>
                  <a:cubicBezTo>
                    <a:pt x="14756" y="2516"/>
                    <a:pt x="13174" y="2047"/>
                    <a:pt x="11551" y="2026"/>
                  </a:cubicBezTo>
                  <a:cubicBezTo>
                    <a:pt x="9896" y="2037"/>
                    <a:pt x="8273" y="2505"/>
                    <a:pt x="6868" y="3379"/>
                  </a:cubicBezTo>
                  <a:cubicBezTo>
                    <a:pt x="5515" y="4285"/>
                    <a:pt x="4433" y="5544"/>
                    <a:pt x="3746" y="7022"/>
                  </a:cubicBezTo>
                  <a:cubicBezTo>
                    <a:pt x="2893" y="8655"/>
                    <a:pt x="2466" y="10487"/>
                    <a:pt x="2498" y="12329"/>
                  </a:cubicBezTo>
                  <a:cubicBezTo>
                    <a:pt x="2487" y="14192"/>
                    <a:pt x="2872" y="16044"/>
                    <a:pt x="3642" y="17740"/>
                  </a:cubicBezTo>
                  <a:cubicBezTo>
                    <a:pt x="4402" y="19228"/>
                    <a:pt x="5505" y="20519"/>
                    <a:pt x="6868" y="21486"/>
                  </a:cubicBezTo>
                  <a:cubicBezTo>
                    <a:pt x="8252" y="22413"/>
                    <a:pt x="9886" y="22881"/>
                    <a:pt x="11551" y="22839"/>
                  </a:cubicBezTo>
                  <a:cubicBezTo>
                    <a:pt x="12976" y="22860"/>
                    <a:pt x="14371" y="22506"/>
                    <a:pt x="15609" y="21799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4" name="Freeform 153">
              <a:extLst>
                <a:ext uri="{FF2B5EF4-FFF2-40B4-BE49-F238E27FC236}">
                  <a16:creationId xmlns:a16="http://schemas.microsoft.com/office/drawing/2014/main" id="{6FC014D3-9E6B-4E4B-923F-EC0BBB8C6C24}"/>
                </a:ext>
              </a:extLst>
            </p:cNvPr>
            <p:cNvSpPr/>
            <p:nvPr/>
          </p:nvSpPr>
          <p:spPr>
            <a:xfrm>
              <a:off x="8419832" y="5398622"/>
              <a:ext cx="23397" cy="38104"/>
            </a:xfrm>
            <a:custGeom>
              <a:avLst/>
              <a:gdLst>
                <a:gd name="connsiteX0" fmla="*/ 23312 w 23397"/>
                <a:gd name="connsiteY0" fmla="*/ 329 h 38104"/>
                <a:gd name="connsiteX1" fmla="*/ 23312 w 23397"/>
                <a:gd name="connsiteY1" fmla="*/ 1369 h 38104"/>
                <a:gd name="connsiteX2" fmla="*/ 23312 w 23397"/>
                <a:gd name="connsiteY2" fmla="*/ 36543 h 38104"/>
                <a:gd name="connsiteX3" fmla="*/ 23312 w 23397"/>
                <a:gd name="connsiteY3" fmla="*/ 37584 h 38104"/>
                <a:gd name="connsiteX4" fmla="*/ 22167 w 23397"/>
                <a:gd name="connsiteY4" fmla="*/ 37584 h 38104"/>
                <a:gd name="connsiteX5" fmla="*/ 20710 w 23397"/>
                <a:gd name="connsiteY5" fmla="*/ 36127 h 38104"/>
                <a:gd name="connsiteX6" fmla="*/ 20710 w 23397"/>
                <a:gd name="connsiteY6" fmla="*/ 32589 h 38104"/>
                <a:gd name="connsiteX7" fmla="*/ 17068 w 23397"/>
                <a:gd name="connsiteY7" fmla="*/ 36439 h 38104"/>
                <a:gd name="connsiteX8" fmla="*/ 11657 w 23397"/>
                <a:gd name="connsiteY8" fmla="*/ 38104 h 38104"/>
                <a:gd name="connsiteX9" fmla="*/ 5725 w 23397"/>
                <a:gd name="connsiteY9" fmla="*/ 36335 h 38104"/>
                <a:gd name="connsiteX10" fmla="*/ 1563 w 23397"/>
                <a:gd name="connsiteY10" fmla="*/ 31652 h 38104"/>
                <a:gd name="connsiteX11" fmla="*/ 2 w 23397"/>
                <a:gd name="connsiteY11" fmla="*/ 24888 h 38104"/>
                <a:gd name="connsiteX12" fmla="*/ 1563 w 23397"/>
                <a:gd name="connsiteY12" fmla="*/ 18124 h 38104"/>
                <a:gd name="connsiteX13" fmla="*/ 5725 w 23397"/>
                <a:gd name="connsiteY13" fmla="*/ 13441 h 38104"/>
                <a:gd name="connsiteX14" fmla="*/ 11553 w 23397"/>
                <a:gd name="connsiteY14" fmla="*/ 11776 h 38104"/>
                <a:gd name="connsiteX15" fmla="*/ 16964 w 23397"/>
                <a:gd name="connsiteY15" fmla="*/ 13233 h 38104"/>
                <a:gd name="connsiteX16" fmla="*/ 20710 w 23397"/>
                <a:gd name="connsiteY16" fmla="*/ 16979 h 38104"/>
                <a:gd name="connsiteX17" fmla="*/ 20710 w 23397"/>
                <a:gd name="connsiteY17" fmla="*/ 1161 h 38104"/>
                <a:gd name="connsiteX18" fmla="*/ 20710 w 23397"/>
                <a:gd name="connsiteY18" fmla="*/ 121 h 38104"/>
                <a:gd name="connsiteX19" fmla="*/ 21751 w 23397"/>
                <a:gd name="connsiteY19" fmla="*/ 121 h 38104"/>
                <a:gd name="connsiteX20" fmla="*/ 23312 w 23397"/>
                <a:gd name="connsiteY20" fmla="*/ 329 h 38104"/>
                <a:gd name="connsiteX21" fmla="*/ 16548 w 23397"/>
                <a:gd name="connsiteY21" fmla="*/ 34150 h 38104"/>
                <a:gd name="connsiteX22" fmla="*/ 19774 w 23397"/>
                <a:gd name="connsiteY22" fmla="*/ 30403 h 38104"/>
                <a:gd name="connsiteX23" fmla="*/ 19774 w 23397"/>
                <a:gd name="connsiteY23" fmla="*/ 19997 h 38104"/>
                <a:gd name="connsiteX24" fmla="*/ 16548 w 23397"/>
                <a:gd name="connsiteY24" fmla="*/ 16251 h 38104"/>
                <a:gd name="connsiteX25" fmla="*/ 7286 w 23397"/>
                <a:gd name="connsiteY25" fmla="*/ 16251 h 38104"/>
                <a:gd name="connsiteX26" fmla="*/ 4060 w 23397"/>
                <a:gd name="connsiteY26" fmla="*/ 19997 h 38104"/>
                <a:gd name="connsiteX27" fmla="*/ 4060 w 23397"/>
                <a:gd name="connsiteY27" fmla="*/ 30403 h 38104"/>
                <a:gd name="connsiteX28" fmla="*/ 7286 w 23397"/>
                <a:gd name="connsiteY28" fmla="*/ 34150 h 38104"/>
                <a:gd name="connsiteX29" fmla="*/ 11969 w 23397"/>
                <a:gd name="connsiteY29" fmla="*/ 35502 h 38104"/>
                <a:gd name="connsiteX30" fmla="*/ 16548 w 23397"/>
                <a:gd name="connsiteY30" fmla="*/ 34150 h 38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3397" h="38104">
                  <a:moveTo>
                    <a:pt x="23312" y="329"/>
                  </a:moveTo>
                  <a:cubicBezTo>
                    <a:pt x="23427" y="662"/>
                    <a:pt x="23427" y="1037"/>
                    <a:pt x="23312" y="1369"/>
                  </a:cubicBezTo>
                  <a:lnTo>
                    <a:pt x="23312" y="36543"/>
                  </a:lnTo>
                  <a:cubicBezTo>
                    <a:pt x="23406" y="36886"/>
                    <a:pt x="23406" y="37240"/>
                    <a:pt x="23312" y="37584"/>
                  </a:cubicBezTo>
                  <a:cubicBezTo>
                    <a:pt x="22948" y="37730"/>
                    <a:pt x="22531" y="37730"/>
                    <a:pt x="22167" y="37584"/>
                  </a:cubicBezTo>
                  <a:cubicBezTo>
                    <a:pt x="21366" y="37584"/>
                    <a:pt x="20710" y="36928"/>
                    <a:pt x="20710" y="36127"/>
                  </a:cubicBezTo>
                  <a:lnTo>
                    <a:pt x="20710" y="32589"/>
                  </a:lnTo>
                  <a:cubicBezTo>
                    <a:pt x="19847" y="34160"/>
                    <a:pt x="18598" y="35492"/>
                    <a:pt x="17068" y="36439"/>
                  </a:cubicBezTo>
                  <a:cubicBezTo>
                    <a:pt x="15487" y="37542"/>
                    <a:pt x="13593" y="38125"/>
                    <a:pt x="11657" y="38104"/>
                  </a:cubicBezTo>
                  <a:cubicBezTo>
                    <a:pt x="9545" y="38125"/>
                    <a:pt x="7474" y="37511"/>
                    <a:pt x="5725" y="36335"/>
                  </a:cubicBezTo>
                  <a:cubicBezTo>
                    <a:pt x="3957" y="35159"/>
                    <a:pt x="2521" y="33546"/>
                    <a:pt x="1563" y="31652"/>
                  </a:cubicBezTo>
                  <a:cubicBezTo>
                    <a:pt x="502" y="29561"/>
                    <a:pt x="-39" y="27240"/>
                    <a:pt x="2" y="24888"/>
                  </a:cubicBezTo>
                  <a:cubicBezTo>
                    <a:pt x="-29" y="22536"/>
                    <a:pt x="512" y="20226"/>
                    <a:pt x="1563" y="18124"/>
                  </a:cubicBezTo>
                  <a:cubicBezTo>
                    <a:pt x="2521" y="16230"/>
                    <a:pt x="3957" y="14617"/>
                    <a:pt x="5725" y="13441"/>
                  </a:cubicBezTo>
                  <a:cubicBezTo>
                    <a:pt x="7463" y="12317"/>
                    <a:pt x="9493" y="11745"/>
                    <a:pt x="11553" y="11776"/>
                  </a:cubicBezTo>
                  <a:cubicBezTo>
                    <a:pt x="13457" y="11755"/>
                    <a:pt x="15330" y="12265"/>
                    <a:pt x="16964" y="13233"/>
                  </a:cubicBezTo>
                  <a:cubicBezTo>
                    <a:pt x="18546" y="14086"/>
                    <a:pt x="19857" y="15387"/>
                    <a:pt x="20710" y="16979"/>
                  </a:cubicBezTo>
                  <a:lnTo>
                    <a:pt x="20710" y="1161"/>
                  </a:lnTo>
                  <a:cubicBezTo>
                    <a:pt x="20554" y="828"/>
                    <a:pt x="20554" y="454"/>
                    <a:pt x="20710" y="121"/>
                  </a:cubicBezTo>
                  <a:cubicBezTo>
                    <a:pt x="21044" y="-15"/>
                    <a:pt x="21418" y="-15"/>
                    <a:pt x="21751" y="121"/>
                  </a:cubicBezTo>
                  <a:cubicBezTo>
                    <a:pt x="22271" y="-98"/>
                    <a:pt x="22864" y="-15"/>
                    <a:pt x="23312" y="329"/>
                  </a:cubicBezTo>
                  <a:close/>
                  <a:moveTo>
                    <a:pt x="16548" y="34150"/>
                  </a:moveTo>
                  <a:cubicBezTo>
                    <a:pt x="17953" y="33234"/>
                    <a:pt x="19077" y="31933"/>
                    <a:pt x="19774" y="30403"/>
                  </a:cubicBezTo>
                  <a:cubicBezTo>
                    <a:pt x="21231" y="27084"/>
                    <a:pt x="21231" y="23317"/>
                    <a:pt x="19774" y="19997"/>
                  </a:cubicBezTo>
                  <a:cubicBezTo>
                    <a:pt x="19014" y="18509"/>
                    <a:pt x="17911" y="17218"/>
                    <a:pt x="16548" y="16251"/>
                  </a:cubicBezTo>
                  <a:cubicBezTo>
                    <a:pt x="13717" y="14461"/>
                    <a:pt x="10117" y="14461"/>
                    <a:pt x="7286" y="16251"/>
                  </a:cubicBezTo>
                  <a:cubicBezTo>
                    <a:pt x="5923" y="17218"/>
                    <a:pt x="4820" y="18509"/>
                    <a:pt x="4060" y="19997"/>
                  </a:cubicBezTo>
                  <a:cubicBezTo>
                    <a:pt x="2604" y="23317"/>
                    <a:pt x="2604" y="27084"/>
                    <a:pt x="4060" y="30403"/>
                  </a:cubicBezTo>
                  <a:cubicBezTo>
                    <a:pt x="4820" y="31892"/>
                    <a:pt x="5923" y="33182"/>
                    <a:pt x="7286" y="34150"/>
                  </a:cubicBezTo>
                  <a:cubicBezTo>
                    <a:pt x="8671" y="35076"/>
                    <a:pt x="10304" y="35544"/>
                    <a:pt x="11969" y="35502"/>
                  </a:cubicBezTo>
                  <a:cubicBezTo>
                    <a:pt x="13603" y="35534"/>
                    <a:pt x="15195" y="35065"/>
                    <a:pt x="16548" y="34150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5" name="Freeform 154">
              <a:extLst>
                <a:ext uri="{FF2B5EF4-FFF2-40B4-BE49-F238E27FC236}">
                  <a16:creationId xmlns:a16="http://schemas.microsoft.com/office/drawing/2014/main" id="{95391591-9012-494E-9BA3-CB093D6F56E6}"/>
                </a:ext>
              </a:extLst>
            </p:cNvPr>
            <p:cNvSpPr/>
            <p:nvPr/>
          </p:nvSpPr>
          <p:spPr>
            <a:xfrm>
              <a:off x="8451157" y="5410185"/>
              <a:ext cx="2671" cy="25922"/>
            </a:xfrm>
            <a:custGeom>
              <a:avLst/>
              <a:gdLst>
                <a:gd name="connsiteX0" fmla="*/ 2602 w 2671"/>
                <a:gd name="connsiteY0" fmla="*/ 25813 h 25922"/>
                <a:gd name="connsiteX1" fmla="*/ 1457 w 2671"/>
                <a:gd name="connsiteY1" fmla="*/ 25813 h 25922"/>
                <a:gd name="connsiteX2" fmla="*/ 0 w 2671"/>
                <a:gd name="connsiteY2" fmla="*/ 24356 h 25922"/>
                <a:gd name="connsiteX3" fmla="*/ 0 w 2671"/>
                <a:gd name="connsiteY3" fmla="*/ 1566 h 25922"/>
                <a:gd name="connsiteX4" fmla="*/ 1457 w 2671"/>
                <a:gd name="connsiteY4" fmla="*/ 109 h 25922"/>
                <a:gd name="connsiteX5" fmla="*/ 2602 w 2671"/>
                <a:gd name="connsiteY5" fmla="*/ 109 h 25922"/>
                <a:gd name="connsiteX6" fmla="*/ 2602 w 2671"/>
                <a:gd name="connsiteY6" fmla="*/ 1150 h 25922"/>
                <a:gd name="connsiteX7" fmla="*/ 2602 w 2671"/>
                <a:gd name="connsiteY7" fmla="*/ 24981 h 25922"/>
                <a:gd name="connsiteX8" fmla="*/ 2602 w 2671"/>
                <a:gd name="connsiteY8" fmla="*/ 25813 h 25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71" h="25922">
                  <a:moveTo>
                    <a:pt x="2602" y="25813"/>
                  </a:moveTo>
                  <a:cubicBezTo>
                    <a:pt x="2238" y="25959"/>
                    <a:pt x="1821" y="25959"/>
                    <a:pt x="1457" y="25813"/>
                  </a:cubicBezTo>
                  <a:cubicBezTo>
                    <a:pt x="656" y="25813"/>
                    <a:pt x="0" y="25157"/>
                    <a:pt x="0" y="24356"/>
                  </a:cubicBezTo>
                  <a:lnTo>
                    <a:pt x="0" y="1566"/>
                  </a:lnTo>
                  <a:cubicBezTo>
                    <a:pt x="0" y="765"/>
                    <a:pt x="656" y="109"/>
                    <a:pt x="1457" y="109"/>
                  </a:cubicBezTo>
                  <a:cubicBezTo>
                    <a:pt x="1821" y="-36"/>
                    <a:pt x="2238" y="-36"/>
                    <a:pt x="2602" y="109"/>
                  </a:cubicBezTo>
                  <a:cubicBezTo>
                    <a:pt x="2695" y="453"/>
                    <a:pt x="2695" y="806"/>
                    <a:pt x="2602" y="1150"/>
                  </a:cubicBezTo>
                  <a:lnTo>
                    <a:pt x="2602" y="24981"/>
                  </a:lnTo>
                  <a:cubicBezTo>
                    <a:pt x="2664" y="25251"/>
                    <a:pt x="2664" y="25542"/>
                    <a:pt x="2602" y="25813"/>
                  </a:cubicBezTo>
                  <a:close/>
                </a:path>
              </a:pathLst>
            </a:custGeom>
            <a:solidFill>
              <a:srgbClr val="FF42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" name="Freeform 155">
              <a:extLst>
                <a:ext uri="{FF2B5EF4-FFF2-40B4-BE49-F238E27FC236}">
                  <a16:creationId xmlns:a16="http://schemas.microsoft.com/office/drawing/2014/main" id="{038A4379-45A5-334D-BD6A-7AEE4CACD681}"/>
                </a:ext>
              </a:extLst>
            </p:cNvPr>
            <p:cNvSpPr/>
            <p:nvPr/>
          </p:nvSpPr>
          <p:spPr>
            <a:xfrm>
              <a:off x="8450728" y="5398433"/>
              <a:ext cx="13020" cy="12170"/>
            </a:xfrm>
            <a:custGeom>
              <a:avLst/>
              <a:gdLst>
                <a:gd name="connsiteX0" fmla="*/ 13021 w 13020"/>
                <a:gd name="connsiteY0" fmla="*/ 1558 h 12170"/>
                <a:gd name="connsiteX1" fmla="*/ 11564 w 13020"/>
                <a:gd name="connsiteY1" fmla="*/ 101 h 12170"/>
                <a:gd name="connsiteX2" fmla="*/ 1158 w 13020"/>
                <a:gd name="connsiteY2" fmla="*/ 101 h 12170"/>
                <a:gd name="connsiteX3" fmla="*/ 117 w 13020"/>
                <a:gd name="connsiteY3" fmla="*/ 101 h 12170"/>
                <a:gd name="connsiteX4" fmla="*/ 117 w 13020"/>
                <a:gd name="connsiteY4" fmla="*/ 1142 h 12170"/>
                <a:gd name="connsiteX5" fmla="*/ 1574 w 13020"/>
                <a:gd name="connsiteY5" fmla="*/ 2599 h 12170"/>
                <a:gd name="connsiteX6" fmla="*/ 10419 w 13020"/>
                <a:gd name="connsiteY6" fmla="*/ 2599 h 12170"/>
                <a:gd name="connsiteX7" fmla="*/ 10419 w 13020"/>
                <a:gd name="connsiteY7" fmla="*/ 11028 h 12170"/>
                <a:gd name="connsiteX8" fmla="*/ 10419 w 13020"/>
                <a:gd name="connsiteY8" fmla="*/ 12069 h 12170"/>
                <a:gd name="connsiteX9" fmla="*/ 11460 w 13020"/>
                <a:gd name="connsiteY9" fmla="*/ 12069 h 12170"/>
                <a:gd name="connsiteX10" fmla="*/ 12917 w 13020"/>
                <a:gd name="connsiteY10" fmla="*/ 10612 h 12170"/>
                <a:gd name="connsiteX11" fmla="*/ 12917 w 13020"/>
                <a:gd name="connsiteY11" fmla="*/ 726 h 12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020" h="12170">
                  <a:moveTo>
                    <a:pt x="13021" y="1558"/>
                  </a:moveTo>
                  <a:cubicBezTo>
                    <a:pt x="13021" y="757"/>
                    <a:pt x="12365" y="101"/>
                    <a:pt x="11564" y="101"/>
                  </a:cubicBezTo>
                  <a:lnTo>
                    <a:pt x="1158" y="101"/>
                  </a:lnTo>
                  <a:cubicBezTo>
                    <a:pt x="825" y="-34"/>
                    <a:pt x="450" y="-34"/>
                    <a:pt x="117" y="101"/>
                  </a:cubicBezTo>
                  <a:cubicBezTo>
                    <a:pt x="-39" y="434"/>
                    <a:pt x="-39" y="809"/>
                    <a:pt x="117" y="1142"/>
                  </a:cubicBezTo>
                  <a:cubicBezTo>
                    <a:pt x="117" y="1943"/>
                    <a:pt x="773" y="2599"/>
                    <a:pt x="1574" y="2599"/>
                  </a:cubicBezTo>
                  <a:lnTo>
                    <a:pt x="10419" y="2599"/>
                  </a:lnTo>
                  <a:lnTo>
                    <a:pt x="10419" y="11028"/>
                  </a:lnTo>
                  <a:cubicBezTo>
                    <a:pt x="10263" y="11361"/>
                    <a:pt x="10263" y="11736"/>
                    <a:pt x="10419" y="12069"/>
                  </a:cubicBezTo>
                  <a:cubicBezTo>
                    <a:pt x="10752" y="12204"/>
                    <a:pt x="11127" y="12204"/>
                    <a:pt x="11460" y="12069"/>
                  </a:cubicBezTo>
                  <a:cubicBezTo>
                    <a:pt x="12261" y="12069"/>
                    <a:pt x="12917" y="11413"/>
                    <a:pt x="12917" y="10612"/>
                  </a:cubicBezTo>
                  <a:lnTo>
                    <a:pt x="12917" y="726"/>
                  </a:lnTo>
                  <a:close/>
                </a:path>
              </a:pathLst>
            </a:custGeom>
            <a:solidFill>
              <a:srgbClr val="FF42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" name="Freeform 156">
              <a:extLst>
                <a:ext uri="{FF2B5EF4-FFF2-40B4-BE49-F238E27FC236}">
                  <a16:creationId xmlns:a16="http://schemas.microsoft.com/office/drawing/2014/main" id="{D9996B27-ADC1-F54C-A497-C0C1FBEC331B}"/>
                </a:ext>
              </a:extLst>
            </p:cNvPr>
            <p:cNvSpPr/>
            <p:nvPr/>
          </p:nvSpPr>
          <p:spPr>
            <a:xfrm>
              <a:off x="8462807" y="5410605"/>
              <a:ext cx="23003" cy="26330"/>
            </a:xfrm>
            <a:custGeom>
              <a:avLst/>
              <a:gdLst>
                <a:gd name="connsiteX0" fmla="*/ 22170 w 23003"/>
                <a:gd name="connsiteY0" fmla="*/ 12697 h 26330"/>
                <a:gd name="connsiteX1" fmla="*/ 21129 w 23003"/>
                <a:gd name="connsiteY1" fmla="*/ 12697 h 26330"/>
                <a:gd name="connsiteX2" fmla="*/ 2398 w 23003"/>
                <a:gd name="connsiteY2" fmla="*/ 12697 h 26330"/>
                <a:gd name="connsiteX3" fmla="*/ 3647 w 23003"/>
                <a:gd name="connsiteY3" fmla="*/ 18004 h 26330"/>
                <a:gd name="connsiteX4" fmla="*/ 7081 w 23003"/>
                <a:gd name="connsiteY4" fmla="*/ 21751 h 26330"/>
                <a:gd name="connsiteX5" fmla="*/ 12388 w 23003"/>
                <a:gd name="connsiteY5" fmla="*/ 23103 h 26330"/>
                <a:gd name="connsiteX6" fmla="*/ 16655 w 23003"/>
                <a:gd name="connsiteY6" fmla="*/ 22167 h 26330"/>
                <a:gd name="connsiteX7" fmla="*/ 19672 w 23003"/>
                <a:gd name="connsiteY7" fmla="*/ 19565 h 26330"/>
                <a:gd name="connsiteX8" fmla="*/ 20713 w 23003"/>
                <a:gd name="connsiteY8" fmla="*/ 19565 h 26330"/>
                <a:gd name="connsiteX9" fmla="*/ 21962 w 23003"/>
                <a:gd name="connsiteY9" fmla="*/ 20814 h 26330"/>
                <a:gd name="connsiteX10" fmla="*/ 21962 w 23003"/>
                <a:gd name="connsiteY10" fmla="*/ 21855 h 26330"/>
                <a:gd name="connsiteX11" fmla="*/ 17904 w 23003"/>
                <a:gd name="connsiteY11" fmla="*/ 25081 h 26330"/>
                <a:gd name="connsiteX12" fmla="*/ 12908 w 23003"/>
                <a:gd name="connsiteY12" fmla="*/ 26330 h 26330"/>
                <a:gd name="connsiteX13" fmla="*/ 6145 w 23003"/>
                <a:gd name="connsiteY13" fmla="*/ 24665 h 26330"/>
                <a:gd name="connsiteX14" fmla="*/ 1566 w 23003"/>
                <a:gd name="connsiteY14" fmla="*/ 20086 h 26330"/>
                <a:gd name="connsiteX15" fmla="*/ 5 w 23003"/>
                <a:gd name="connsiteY15" fmla="*/ 13322 h 26330"/>
                <a:gd name="connsiteX16" fmla="*/ 1566 w 23003"/>
                <a:gd name="connsiteY16" fmla="*/ 6245 h 26330"/>
                <a:gd name="connsiteX17" fmla="*/ 5832 w 23003"/>
                <a:gd name="connsiteY17" fmla="*/ 1562 h 26330"/>
                <a:gd name="connsiteX18" fmla="*/ 11556 w 23003"/>
                <a:gd name="connsiteY18" fmla="*/ 1 h 26330"/>
                <a:gd name="connsiteX19" fmla="*/ 17071 w 23003"/>
                <a:gd name="connsiteY19" fmla="*/ 1354 h 26330"/>
                <a:gd name="connsiteX20" fmla="*/ 21337 w 23003"/>
                <a:gd name="connsiteY20" fmla="*/ 5413 h 26330"/>
                <a:gd name="connsiteX21" fmla="*/ 23002 w 23003"/>
                <a:gd name="connsiteY21" fmla="*/ 11760 h 26330"/>
                <a:gd name="connsiteX22" fmla="*/ 22170 w 23003"/>
                <a:gd name="connsiteY22" fmla="*/ 12697 h 26330"/>
                <a:gd name="connsiteX23" fmla="*/ 5832 w 23003"/>
                <a:gd name="connsiteY23" fmla="*/ 4788 h 26330"/>
                <a:gd name="connsiteX24" fmla="*/ 2710 w 23003"/>
                <a:gd name="connsiteY24" fmla="*/ 10512 h 26330"/>
                <a:gd name="connsiteX25" fmla="*/ 19568 w 23003"/>
                <a:gd name="connsiteY25" fmla="*/ 10512 h 26330"/>
                <a:gd name="connsiteX26" fmla="*/ 19568 w 23003"/>
                <a:gd name="connsiteY26" fmla="*/ 10512 h 26330"/>
                <a:gd name="connsiteX27" fmla="*/ 18007 w 23003"/>
                <a:gd name="connsiteY27" fmla="*/ 6661 h 26330"/>
                <a:gd name="connsiteX28" fmla="*/ 14990 w 23003"/>
                <a:gd name="connsiteY28" fmla="*/ 4060 h 26330"/>
                <a:gd name="connsiteX29" fmla="*/ 11139 w 23003"/>
                <a:gd name="connsiteY29" fmla="*/ 3227 h 26330"/>
                <a:gd name="connsiteX30" fmla="*/ 5832 w 23003"/>
                <a:gd name="connsiteY30" fmla="*/ 4788 h 26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3003" h="26330">
                  <a:moveTo>
                    <a:pt x="22170" y="12697"/>
                  </a:moveTo>
                  <a:cubicBezTo>
                    <a:pt x="21837" y="12832"/>
                    <a:pt x="21462" y="12832"/>
                    <a:pt x="21129" y="12697"/>
                  </a:cubicBezTo>
                  <a:lnTo>
                    <a:pt x="2398" y="12697"/>
                  </a:lnTo>
                  <a:cubicBezTo>
                    <a:pt x="2367" y="14539"/>
                    <a:pt x="2794" y="16371"/>
                    <a:pt x="3647" y="18004"/>
                  </a:cubicBezTo>
                  <a:cubicBezTo>
                    <a:pt x="4469" y="19513"/>
                    <a:pt x="5645" y="20804"/>
                    <a:pt x="7081" y="21751"/>
                  </a:cubicBezTo>
                  <a:cubicBezTo>
                    <a:pt x="8694" y="22666"/>
                    <a:pt x="10525" y="23135"/>
                    <a:pt x="12388" y="23103"/>
                  </a:cubicBezTo>
                  <a:cubicBezTo>
                    <a:pt x="13866" y="23124"/>
                    <a:pt x="15323" y="22812"/>
                    <a:pt x="16655" y="22167"/>
                  </a:cubicBezTo>
                  <a:cubicBezTo>
                    <a:pt x="17841" y="21532"/>
                    <a:pt x="18871" y="20637"/>
                    <a:pt x="19672" y="19565"/>
                  </a:cubicBezTo>
                  <a:cubicBezTo>
                    <a:pt x="20016" y="19482"/>
                    <a:pt x="20370" y="19482"/>
                    <a:pt x="20713" y="19565"/>
                  </a:cubicBezTo>
                  <a:cubicBezTo>
                    <a:pt x="21358" y="19649"/>
                    <a:pt x="21879" y="20169"/>
                    <a:pt x="21962" y="20814"/>
                  </a:cubicBezTo>
                  <a:cubicBezTo>
                    <a:pt x="22097" y="21147"/>
                    <a:pt x="22097" y="21522"/>
                    <a:pt x="21962" y="21855"/>
                  </a:cubicBezTo>
                  <a:cubicBezTo>
                    <a:pt x="20848" y="23208"/>
                    <a:pt x="19464" y="24300"/>
                    <a:pt x="17904" y="25081"/>
                  </a:cubicBezTo>
                  <a:cubicBezTo>
                    <a:pt x="16374" y="25913"/>
                    <a:pt x="14657" y="26340"/>
                    <a:pt x="12908" y="26330"/>
                  </a:cubicBezTo>
                  <a:cubicBezTo>
                    <a:pt x="10546" y="26350"/>
                    <a:pt x="8226" y="25778"/>
                    <a:pt x="6145" y="24665"/>
                  </a:cubicBezTo>
                  <a:cubicBezTo>
                    <a:pt x="4209" y="23613"/>
                    <a:pt x="2617" y="22021"/>
                    <a:pt x="1566" y="20086"/>
                  </a:cubicBezTo>
                  <a:cubicBezTo>
                    <a:pt x="504" y="17994"/>
                    <a:pt x="-37" y="15673"/>
                    <a:pt x="5" y="13322"/>
                  </a:cubicBezTo>
                  <a:cubicBezTo>
                    <a:pt x="-58" y="10876"/>
                    <a:pt x="473" y="8441"/>
                    <a:pt x="1566" y="6245"/>
                  </a:cubicBezTo>
                  <a:cubicBezTo>
                    <a:pt x="2502" y="4299"/>
                    <a:pt x="3980" y="2676"/>
                    <a:pt x="5832" y="1562"/>
                  </a:cubicBezTo>
                  <a:cubicBezTo>
                    <a:pt x="7570" y="542"/>
                    <a:pt x="9547" y="1"/>
                    <a:pt x="11556" y="1"/>
                  </a:cubicBezTo>
                  <a:cubicBezTo>
                    <a:pt x="13481" y="-30"/>
                    <a:pt x="15385" y="438"/>
                    <a:pt x="17071" y="1354"/>
                  </a:cubicBezTo>
                  <a:cubicBezTo>
                    <a:pt x="18830" y="2312"/>
                    <a:pt x="20297" y="3706"/>
                    <a:pt x="21337" y="5413"/>
                  </a:cubicBezTo>
                  <a:cubicBezTo>
                    <a:pt x="22461" y="7338"/>
                    <a:pt x="23034" y="9534"/>
                    <a:pt x="23002" y="11760"/>
                  </a:cubicBezTo>
                  <a:cubicBezTo>
                    <a:pt x="22940" y="12208"/>
                    <a:pt x="22607" y="12583"/>
                    <a:pt x="22170" y="12697"/>
                  </a:cubicBezTo>
                  <a:close/>
                  <a:moveTo>
                    <a:pt x="5832" y="4788"/>
                  </a:moveTo>
                  <a:cubicBezTo>
                    <a:pt x="4105" y="6235"/>
                    <a:pt x="2991" y="8274"/>
                    <a:pt x="2710" y="10512"/>
                  </a:cubicBezTo>
                  <a:lnTo>
                    <a:pt x="19568" y="10512"/>
                  </a:lnTo>
                  <a:lnTo>
                    <a:pt x="19568" y="10512"/>
                  </a:lnTo>
                  <a:cubicBezTo>
                    <a:pt x="19402" y="9117"/>
                    <a:pt x="18861" y="7785"/>
                    <a:pt x="18007" y="6661"/>
                  </a:cubicBezTo>
                  <a:cubicBezTo>
                    <a:pt x="17237" y="5558"/>
                    <a:pt x="16197" y="4664"/>
                    <a:pt x="14990" y="4060"/>
                  </a:cubicBezTo>
                  <a:cubicBezTo>
                    <a:pt x="13772" y="3540"/>
                    <a:pt x="12461" y="3259"/>
                    <a:pt x="11139" y="3227"/>
                  </a:cubicBezTo>
                  <a:cubicBezTo>
                    <a:pt x="9246" y="3123"/>
                    <a:pt x="7372" y="3675"/>
                    <a:pt x="5832" y="4788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" name="Freeform 157">
              <a:extLst>
                <a:ext uri="{FF2B5EF4-FFF2-40B4-BE49-F238E27FC236}">
                  <a16:creationId xmlns:a16="http://schemas.microsoft.com/office/drawing/2014/main" id="{065184EE-C69E-CB4F-89F3-91ABB139A469}"/>
                </a:ext>
              </a:extLst>
            </p:cNvPr>
            <p:cNvSpPr/>
            <p:nvPr/>
          </p:nvSpPr>
          <p:spPr>
            <a:xfrm>
              <a:off x="8492886" y="5409981"/>
              <a:ext cx="19553" cy="26341"/>
            </a:xfrm>
            <a:custGeom>
              <a:avLst/>
              <a:gdLst>
                <a:gd name="connsiteX0" fmla="*/ 17274 w 19553"/>
                <a:gd name="connsiteY0" fmla="*/ 3330 h 26341"/>
                <a:gd name="connsiteX1" fmla="*/ 19459 w 19553"/>
                <a:gd name="connsiteY1" fmla="*/ 10406 h 26341"/>
                <a:gd name="connsiteX2" fmla="*/ 19459 w 19553"/>
                <a:gd name="connsiteY2" fmla="*/ 25184 h 26341"/>
                <a:gd name="connsiteX3" fmla="*/ 19459 w 19553"/>
                <a:gd name="connsiteY3" fmla="*/ 26224 h 26341"/>
                <a:gd name="connsiteX4" fmla="*/ 18419 w 19553"/>
                <a:gd name="connsiteY4" fmla="*/ 26224 h 26341"/>
                <a:gd name="connsiteX5" fmla="*/ 17378 w 19553"/>
                <a:gd name="connsiteY5" fmla="*/ 26224 h 26341"/>
                <a:gd name="connsiteX6" fmla="*/ 17378 w 19553"/>
                <a:gd name="connsiteY6" fmla="*/ 25184 h 26341"/>
                <a:gd name="connsiteX7" fmla="*/ 17378 w 19553"/>
                <a:gd name="connsiteY7" fmla="*/ 10615 h 26341"/>
                <a:gd name="connsiteX8" fmla="*/ 15817 w 19553"/>
                <a:gd name="connsiteY8" fmla="*/ 5307 h 26341"/>
                <a:gd name="connsiteX9" fmla="*/ 10823 w 19553"/>
                <a:gd name="connsiteY9" fmla="*/ 3330 h 26341"/>
                <a:gd name="connsiteX10" fmla="*/ 3746 w 19553"/>
                <a:gd name="connsiteY10" fmla="*/ 6972 h 26341"/>
                <a:gd name="connsiteX11" fmla="*/ 2497 w 19553"/>
                <a:gd name="connsiteY11" fmla="*/ 10615 h 26341"/>
                <a:gd name="connsiteX12" fmla="*/ 2497 w 19553"/>
                <a:gd name="connsiteY12" fmla="*/ 25184 h 26341"/>
                <a:gd name="connsiteX13" fmla="*/ 2497 w 19553"/>
                <a:gd name="connsiteY13" fmla="*/ 26224 h 26341"/>
                <a:gd name="connsiteX14" fmla="*/ 1457 w 19553"/>
                <a:gd name="connsiteY14" fmla="*/ 26224 h 26341"/>
                <a:gd name="connsiteX15" fmla="*/ 0 w 19553"/>
                <a:gd name="connsiteY15" fmla="*/ 24767 h 26341"/>
                <a:gd name="connsiteX16" fmla="*/ 0 w 19553"/>
                <a:gd name="connsiteY16" fmla="*/ 2602 h 26341"/>
                <a:gd name="connsiteX17" fmla="*/ 1457 w 19553"/>
                <a:gd name="connsiteY17" fmla="*/ 1145 h 26341"/>
                <a:gd name="connsiteX18" fmla="*/ 2497 w 19553"/>
                <a:gd name="connsiteY18" fmla="*/ 1145 h 26341"/>
                <a:gd name="connsiteX19" fmla="*/ 2497 w 19553"/>
                <a:gd name="connsiteY19" fmla="*/ 2186 h 26341"/>
                <a:gd name="connsiteX20" fmla="*/ 2497 w 19553"/>
                <a:gd name="connsiteY20" fmla="*/ 4891 h 26341"/>
                <a:gd name="connsiteX21" fmla="*/ 6348 w 19553"/>
                <a:gd name="connsiteY21" fmla="*/ 1353 h 26341"/>
                <a:gd name="connsiteX22" fmla="*/ 11447 w 19553"/>
                <a:gd name="connsiteY22" fmla="*/ 0 h 26341"/>
                <a:gd name="connsiteX23" fmla="*/ 17274 w 19553"/>
                <a:gd name="connsiteY23" fmla="*/ 3330 h 26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9553" h="26341">
                  <a:moveTo>
                    <a:pt x="17274" y="3330"/>
                  </a:moveTo>
                  <a:cubicBezTo>
                    <a:pt x="18846" y="5338"/>
                    <a:pt x="19626" y="7857"/>
                    <a:pt x="19459" y="10406"/>
                  </a:cubicBezTo>
                  <a:lnTo>
                    <a:pt x="19459" y="25184"/>
                  </a:lnTo>
                  <a:cubicBezTo>
                    <a:pt x="19584" y="25517"/>
                    <a:pt x="19584" y="25891"/>
                    <a:pt x="19459" y="26224"/>
                  </a:cubicBezTo>
                  <a:cubicBezTo>
                    <a:pt x="19127" y="26380"/>
                    <a:pt x="18752" y="26380"/>
                    <a:pt x="18419" y="26224"/>
                  </a:cubicBezTo>
                  <a:cubicBezTo>
                    <a:pt x="18086" y="26360"/>
                    <a:pt x="17711" y="26360"/>
                    <a:pt x="17378" y="26224"/>
                  </a:cubicBezTo>
                  <a:cubicBezTo>
                    <a:pt x="17285" y="25881"/>
                    <a:pt x="17285" y="25527"/>
                    <a:pt x="17378" y="25184"/>
                  </a:cubicBezTo>
                  <a:lnTo>
                    <a:pt x="17378" y="10615"/>
                  </a:lnTo>
                  <a:cubicBezTo>
                    <a:pt x="17472" y="8721"/>
                    <a:pt x="16920" y="6848"/>
                    <a:pt x="15817" y="5307"/>
                  </a:cubicBezTo>
                  <a:cubicBezTo>
                    <a:pt x="14527" y="3944"/>
                    <a:pt x="12696" y="3216"/>
                    <a:pt x="10823" y="3330"/>
                  </a:cubicBezTo>
                  <a:cubicBezTo>
                    <a:pt x="8023" y="3372"/>
                    <a:pt x="5401" y="4714"/>
                    <a:pt x="3746" y="6972"/>
                  </a:cubicBezTo>
                  <a:cubicBezTo>
                    <a:pt x="2935" y="8013"/>
                    <a:pt x="2497" y="9293"/>
                    <a:pt x="2497" y="10615"/>
                  </a:cubicBezTo>
                  <a:lnTo>
                    <a:pt x="2497" y="25184"/>
                  </a:lnTo>
                  <a:cubicBezTo>
                    <a:pt x="2633" y="25517"/>
                    <a:pt x="2633" y="25891"/>
                    <a:pt x="2497" y="26224"/>
                  </a:cubicBezTo>
                  <a:cubicBezTo>
                    <a:pt x="2165" y="26380"/>
                    <a:pt x="1790" y="26380"/>
                    <a:pt x="1457" y="26224"/>
                  </a:cubicBezTo>
                  <a:cubicBezTo>
                    <a:pt x="656" y="26224"/>
                    <a:pt x="0" y="25569"/>
                    <a:pt x="0" y="24767"/>
                  </a:cubicBezTo>
                  <a:lnTo>
                    <a:pt x="0" y="2602"/>
                  </a:lnTo>
                  <a:cubicBezTo>
                    <a:pt x="0" y="1800"/>
                    <a:pt x="656" y="1145"/>
                    <a:pt x="1457" y="1145"/>
                  </a:cubicBezTo>
                  <a:cubicBezTo>
                    <a:pt x="1790" y="989"/>
                    <a:pt x="2165" y="989"/>
                    <a:pt x="2497" y="1145"/>
                  </a:cubicBezTo>
                  <a:cubicBezTo>
                    <a:pt x="2633" y="1478"/>
                    <a:pt x="2633" y="1852"/>
                    <a:pt x="2497" y="2186"/>
                  </a:cubicBezTo>
                  <a:lnTo>
                    <a:pt x="2497" y="4891"/>
                  </a:lnTo>
                  <a:cubicBezTo>
                    <a:pt x="3496" y="3434"/>
                    <a:pt x="4808" y="2227"/>
                    <a:pt x="6348" y="1353"/>
                  </a:cubicBezTo>
                  <a:cubicBezTo>
                    <a:pt x="7898" y="468"/>
                    <a:pt x="9657" y="10"/>
                    <a:pt x="11447" y="0"/>
                  </a:cubicBezTo>
                  <a:cubicBezTo>
                    <a:pt x="13788" y="187"/>
                    <a:pt x="15921" y="1405"/>
                    <a:pt x="17274" y="3330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9" name="Freeform 158">
              <a:extLst>
                <a:ext uri="{FF2B5EF4-FFF2-40B4-BE49-F238E27FC236}">
                  <a16:creationId xmlns:a16="http://schemas.microsoft.com/office/drawing/2014/main" id="{B823C943-8980-FC49-9BB4-5FC879B6D7F2}"/>
                </a:ext>
              </a:extLst>
            </p:cNvPr>
            <p:cNvSpPr/>
            <p:nvPr/>
          </p:nvSpPr>
          <p:spPr>
            <a:xfrm>
              <a:off x="8517447" y="5405733"/>
              <a:ext cx="12458" cy="30888"/>
            </a:xfrm>
            <a:custGeom>
              <a:avLst/>
              <a:gdLst>
                <a:gd name="connsiteX0" fmla="*/ 7594 w 12458"/>
                <a:gd name="connsiteY0" fmla="*/ 8619 h 30888"/>
                <a:gd name="connsiteX1" fmla="*/ 7594 w 12458"/>
                <a:gd name="connsiteY1" fmla="*/ 25165 h 30888"/>
                <a:gd name="connsiteX2" fmla="*/ 8218 w 12458"/>
                <a:gd name="connsiteY2" fmla="*/ 27663 h 30888"/>
                <a:gd name="connsiteX3" fmla="*/ 9779 w 12458"/>
                <a:gd name="connsiteY3" fmla="*/ 28391 h 30888"/>
                <a:gd name="connsiteX4" fmla="*/ 10924 w 12458"/>
                <a:gd name="connsiteY4" fmla="*/ 28391 h 30888"/>
                <a:gd name="connsiteX5" fmla="*/ 11652 w 12458"/>
                <a:gd name="connsiteY5" fmla="*/ 28391 h 30888"/>
                <a:gd name="connsiteX6" fmla="*/ 12381 w 12458"/>
                <a:gd name="connsiteY6" fmla="*/ 28391 h 30888"/>
                <a:gd name="connsiteX7" fmla="*/ 12381 w 12458"/>
                <a:gd name="connsiteY7" fmla="*/ 29224 h 30888"/>
                <a:gd name="connsiteX8" fmla="*/ 11652 w 12458"/>
                <a:gd name="connsiteY8" fmla="*/ 30368 h 30888"/>
                <a:gd name="connsiteX9" fmla="*/ 9779 w 12458"/>
                <a:gd name="connsiteY9" fmla="*/ 30889 h 30888"/>
                <a:gd name="connsiteX10" fmla="*/ 7698 w 12458"/>
                <a:gd name="connsiteY10" fmla="*/ 30889 h 30888"/>
                <a:gd name="connsiteX11" fmla="*/ 5617 w 12458"/>
                <a:gd name="connsiteY11" fmla="*/ 29328 h 30888"/>
                <a:gd name="connsiteX12" fmla="*/ 4680 w 12458"/>
                <a:gd name="connsiteY12" fmla="*/ 25373 h 30888"/>
                <a:gd name="connsiteX13" fmla="*/ 4680 w 12458"/>
                <a:gd name="connsiteY13" fmla="*/ 8619 h 30888"/>
                <a:gd name="connsiteX14" fmla="*/ 1142 w 12458"/>
                <a:gd name="connsiteY14" fmla="*/ 8619 h 30888"/>
                <a:gd name="connsiteX15" fmla="*/ 101 w 12458"/>
                <a:gd name="connsiteY15" fmla="*/ 8619 h 30888"/>
                <a:gd name="connsiteX16" fmla="*/ 101 w 12458"/>
                <a:gd name="connsiteY16" fmla="*/ 7683 h 30888"/>
                <a:gd name="connsiteX17" fmla="*/ 101 w 12458"/>
                <a:gd name="connsiteY17" fmla="*/ 6642 h 30888"/>
                <a:gd name="connsiteX18" fmla="*/ 1142 w 12458"/>
                <a:gd name="connsiteY18" fmla="*/ 6642 h 30888"/>
                <a:gd name="connsiteX19" fmla="*/ 4680 w 12458"/>
                <a:gd name="connsiteY19" fmla="*/ 6642 h 30888"/>
                <a:gd name="connsiteX20" fmla="*/ 4680 w 12458"/>
                <a:gd name="connsiteY20" fmla="*/ 1231 h 30888"/>
                <a:gd name="connsiteX21" fmla="*/ 4680 w 12458"/>
                <a:gd name="connsiteY21" fmla="*/ 86 h 30888"/>
                <a:gd name="connsiteX22" fmla="*/ 5721 w 12458"/>
                <a:gd name="connsiteY22" fmla="*/ 86 h 30888"/>
                <a:gd name="connsiteX23" fmla="*/ 6865 w 12458"/>
                <a:gd name="connsiteY23" fmla="*/ 86 h 30888"/>
                <a:gd name="connsiteX24" fmla="*/ 6865 w 12458"/>
                <a:gd name="connsiteY24" fmla="*/ 1231 h 30888"/>
                <a:gd name="connsiteX25" fmla="*/ 6865 w 12458"/>
                <a:gd name="connsiteY25" fmla="*/ 6642 h 30888"/>
                <a:gd name="connsiteX26" fmla="*/ 10924 w 12458"/>
                <a:gd name="connsiteY26" fmla="*/ 6642 h 30888"/>
                <a:gd name="connsiteX27" fmla="*/ 11860 w 12458"/>
                <a:gd name="connsiteY27" fmla="*/ 7162 h 30888"/>
                <a:gd name="connsiteX28" fmla="*/ 11860 w 12458"/>
                <a:gd name="connsiteY28" fmla="*/ 8099 h 30888"/>
                <a:gd name="connsiteX29" fmla="*/ 11860 w 12458"/>
                <a:gd name="connsiteY29" fmla="*/ 9035 h 30888"/>
                <a:gd name="connsiteX30" fmla="*/ 10820 w 12458"/>
                <a:gd name="connsiteY30" fmla="*/ 9035 h 30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2458" h="30888">
                  <a:moveTo>
                    <a:pt x="7594" y="8619"/>
                  </a:moveTo>
                  <a:lnTo>
                    <a:pt x="7594" y="25165"/>
                  </a:lnTo>
                  <a:cubicBezTo>
                    <a:pt x="7490" y="26050"/>
                    <a:pt x="7709" y="26934"/>
                    <a:pt x="8218" y="27663"/>
                  </a:cubicBezTo>
                  <a:cubicBezTo>
                    <a:pt x="8593" y="28142"/>
                    <a:pt x="9176" y="28412"/>
                    <a:pt x="9779" y="28391"/>
                  </a:cubicBezTo>
                  <a:lnTo>
                    <a:pt x="10924" y="28391"/>
                  </a:lnTo>
                  <a:lnTo>
                    <a:pt x="11652" y="28391"/>
                  </a:lnTo>
                  <a:cubicBezTo>
                    <a:pt x="11892" y="28308"/>
                    <a:pt x="12142" y="28308"/>
                    <a:pt x="12381" y="28391"/>
                  </a:cubicBezTo>
                  <a:cubicBezTo>
                    <a:pt x="12485" y="28662"/>
                    <a:pt x="12485" y="28953"/>
                    <a:pt x="12381" y="29224"/>
                  </a:cubicBezTo>
                  <a:cubicBezTo>
                    <a:pt x="12381" y="29713"/>
                    <a:pt x="12100" y="30160"/>
                    <a:pt x="11652" y="30368"/>
                  </a:cubicBezTo>
                  <a:cubicBezTo>
                    <a:pt x="11080" y="30702"/>
                    <a:pt x="10435" y="30878"/>
                    <a:pt x="9779" y="30889"/>
                  </a:cubicBezTo>
                  <a:lnTo>
                    <a:pt x="7698" y="30889"/>
                  </a:lnTo>
                  <a:cubicBezTo>
                    <a:pt x="6865" y="30576"/>
                    <a:pt x="6147" y="30036"/>
                    <a:pt x="5617" y="29328"/>
                  </a:cubicBezTo>
                  <a:cubicBezTo>
                    <a:pt x="4889" y="28142"/>
                    <a:pt x="4555" y="26758"/>
                    <a:pt x="4680" y="25373"/>
                  </a:cubicBezTo>
                  <a:lnTo>
                    <a:pt x="4680" y="8619"/>
                  </a:lnTo>
                  <a:lnTo>
                    <a:pt x="1142" y="8619"/>
                  </a:lnTo>
                  <a:cubicBezTo>
                    <a:pt x="809" y="8775"/>
                    <a:pt x="435" y="8775"/>
                    <a:pt x="101" y="8619"/>
                  </a:cubicBezTo>
                  <a:cubicBezTo>
                    <a:pt x="-34" y="8317"/>
                    <a:pt x="-34" y="7984"/>
                    <a:pt x="101" y="7683"/>
                  </a:cubicBezTo>
                  <a:cubicBezTo>
                    <a:pt x="-34" y="7349"/>
                    <a:pt x="-34" y="6975"/>
                    <a:pt x="101" y="6642"/>
                  </a:cubicBezTo>
                  <a:cubicBezTo>
                    <a:pt x="435" y="6527"/>
                    <a:pt x="809" y="6527"/>
                    <a:pt x="1142" y="6642"/>
                  </a:cubicBezTo>
                  <a:lnTo>
                    <a:pt x="4680" y="6642"/>
                  </a:lnTo>
                  <a:lnTo>
                    <a:pt x="4680" y="1231"/>
                  </a:lnTo>
                  <a:cubicBezTo>
                    <a:pt x="4576" y="856"/>
                    <a:pt x="4576" y="460"/>
                    <a:pt x="4680" y="86"/>
                  </a:cubicBezTo>
                  <a:cubicBezTo>
                    <a:pt x="5024" y="-8"/>
                    <a:pt x="5378" y="-8"/>
                    <a:pt x="5721" y="86"/>
                  </a:cubicBezTo>
                  <a:cubicBezTo>
                    <a:pt x="6096" y="-29"/>
                    <a:pt x="6491" y="-29"/>
                    <a:pt x="6865" y="86"/>
                  </a:cubicBezTo>
                  <a:cubicBezTo>
                    <a:pt x="6970" y="460"/>
                    <a:pt x="6970" y="856"/>
                    <a:pt x="6865" y="1231"/>
                  </a:cubicBezTo>
                  <a:lnTo>
                    <a:pt x="6865" y="6642"/>
                  </a:lnTo>
                  <a:lnTo>
                    <a:pt x="10924" y="6642"/>
                  </a:lnTo>
                  <a:cubicBezTo>
                    <a:pt x="11299" y="6652"/>
                    <a:pt x="11652" y="6840"/>
                    <a:pt x="11860" y="7162"/>
                  </a:cubicBezTo>
                  <a:cubicBezTo>
                    <a:pt x="11996" y="7464"/>
                    <a:pt x="11996" y="7797"/>
                    <a:pt x="11860" y="8099"/>
                  </a:cubicBezTo>
                  <a:cubicBezTo>
                    <a:pt x="11985" y="8401"/>
                    <a:pt x="11985" y="8733"/>
                    <a:pt x="11860" y="9035"/>
                  </a:cubicBezTo>
                  <a:cubicBezTo>
                    <a:pt x="11528" y="9171"/>
                    <a:pt x="11153" y="9171"/>
                    <a:pt x="10820" y="9035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0" name="Freeform 159">
              <a:extLst>
                <a:ext uri="{FF2B5EF4-FFF2-40B4-BE49-F238E27FC236}">
                  <a16:creationId xmlns:a16="http://schemas.microsoft.com/office/drawing/2014/main" id="{0ADAD5C8-B2E1-1E4B-A511-2D7A3C06AFB5}"/>
                </a:ext>
              </a:extLst>
            </p:cNvPr>
            <p:cNvSpPr/>
            <p:nvPr/>
          </p:nvSpPr>
          <p:spPr>
            <a:xfrm>
              <a:off x="4678090" y="3419552"/>
              <a:ext cx="769848" cy="802750"/>
            </a:xfrm>
            <a:custGeom>
              <a:avLst/>
              <a:gdLst>
                <a:gd name="connsiteX0" fmla="*/ 712510 w 769848"/>
                <a:gd name="connsiteY0" fmla="*/ 792342 h 802750"/>
                <a:gd name="connsiteX1" fmla="*/ 712510 w 769848"/>
                <a:gd name="connsiteY1" fmla="*/ 748115 h 802750"/>
                <a:gd name="connsiteX2" fmla="*/ 769848 w 769848"/>
                <a:gd name="connsiteY2" fmla="*/ 675271 h 802750"/>
                <a:gd name="connsiteX3" fmla="*/ 769848 w 769848"/>
                <a:gd name="connsiteY3" fmla="*/ 75238 h 802750"/>
                <a:gd name="connsiteX4" fmla="*/ 694612 w 769848"/>
                <a:gd name="connsiteY4" fmla="*/ 0 h 802750"/>
                <a:gd name="connsiteX5" fmla="*/ 74716 w 769848"/>
                <a:gd name="connsiteY5" fmla="*/ 0 h 802750"/>
                <a:gd name="connsiteX6" fmla="*/ 0 w 769848"/>
                <a:gd name="connsiteY6" fmla="*/ 75238 h 802750"/>
                <a:gd name="connsiteX7" fmla="*/ 0 w 769848"/>
                <a:gd name="connsiteY7" fmla="*/ 675166 h 802750"/>
                <a:gd name="connsiteX8" fmla="*/ 45787 w 769848"/>
                <a:gd name="connsiteY8" fmla="*/ 744369 h 802750"/>
                <a:gd name="connsiteX9" fmla="*/ 45787 w 769848"/>
                <a:gd name="connsiteY9" fmla="*/ 792342 h 802750"/>
                <a:gd name="connsiteX10" fmla="*/ 56193 w 769848"/>
                <a:gd name="connsiteY10" fmla="*/ 802749 h 802750"/>
                <a:gd name="connsiteX11" fmla="*/ 701896 w 769848"/>
                <a:gd name="connsiteY11" fmla="*/ 802749 h 802750"/>
                <a:gd name="connsiteX12" fmla="*/ 712510 w 769848"/>
                <a:gd name="connsiteY12" fmla="*/ 792550 h 802750"/>
                <a:gd name="connsiteX13" fmla="*/ 712510 w 769848"/>
                <a:gd name="connsiteY13" fmla="*/ 792342 h 802750"/>
                <a:gd name="connsiteX14" fmla="*/ 490234 w 769848"/>
                <a:gd name="connsiteY14" fmla="*/ 21333 h 802750"/>
                <a:gd name="connsiteX15" fmla="*/ 694612 w 769848"/>
                <a:gd name="connsiteY15" fmla="*/ 21333 h 802750"/>
                <a:gd name="connsiteX16" fmla="*/ 748515 w 769848"/>
                <a:gd name="connsiteY16" fmla="*/ 75238 h 802750"/>
                <a:gd name="connsiteX17" fmla="*/ 748515 w 769848"/>
                <a:gd name="connsiteY17" fmla="*/ 242677 h 802750"/>
                <a:gd name="connsiteX18" fmla="*/ 490234 w 769848"/>
                <a:gd name="connsiteY18" fmla="*/ 242677 h 802750"/>
                <a:gd name="connsiteX19" fmla="*/ 490234 w 769848"/>
                <a:gd name="connsiteY19" fmla="*/ 264010 h 802750"/>
                <a:gd name="connsiteX20" fmla="*/ 748515 w 769848"/>
                <a:gd name="connsiteY20" fmla="*/ 264010 h 802750"/>
                <a:gd name="connsiteX21" fmla="*/ 748515 w 769848"/>
                <a:gd name="connsiteY21" fmla="*/ 492950 h 802750"/>
                <a:gd name="connsiteX22" fmla="*/ 490234 w 769848"/>
                <a:gd name="connsiteY22" fmla="*/ 492950 h 802750"/>
                <a:gd name="connsiteX23" fmla="*/ 490234 w 769848"/>
                <a:gd name="connsiteY23" fmla="*/ 513763 h 802750"/>
                <a:gd name="connsiteX24" fmla="*/ 748515 w 769848"/>
                <a:gd name="connsiteY24" fmla="*/ 513763 h 802750"/>
                <a:gd name="connsiteX25" fmla="*/ 748515 w 769848"/>
                <a:gd name="connsiteY25" fmla="*/ 674854 h 802750"/>
                <a:gd name="connsiteX26" fmla="*/ 703249 w 769848"/>
                <a:gd name="connsiteY26" fmla="*/ 727927 h 802750"/>
                <a:gd name="connsiteX27" fmla="*/ 490234 w 769848"/>
                <a:gd name="connsiteY27" fmla="*/ 727927 h 802750"/>
                <a:gd name="connsiteX28" fmla="*/ 340490 w 769848"/>
                <a:gd name="connsiteY28" fmla="*/ 21021 h 802750"/>
                <a:gd name="connsiteX29" fmla="*/ 468902 w 769848"/>
                <a:gd name="connsiteY29" fmla="*/ 21021 h 802750"/>
                <a:gd name="connsiteX30" fmla="*/ 468902 w 769848"/>
                <a:gd name="connsiteY30" fmla="*/ 727823 h 802750"/>
                <a:gd name="connsiteX31" fmla="*/ 340490 w 769848"/>
                <a:gd name="connsiteY31" fmla="*/ 727823 h 802750"/>
                <a:gd name="connsiteX32" fmla="*/ 20812 w 769848"/>
                <a:gd name="connsiteY32" fmla="*/ 75238 h 802750"/>
                <a:gd name="connsiteX33" fmla="*/ 74612 w 769848"/>
                <a:gd name="connsiteY33" fmla="*/ 21333 h 802750"/>
                <a:gd name="connsiteX34" fmla="*/ 318949 w 769848"/>
                <a:gd name="connsiteY34" fmla="*/ 21333 h 802750"/>
                <a:gd name="connsiteX35" fmla="*/ 318949 w 769848"/>
                <a:gd name="connsiteY35" fmla="*/ 124148 h 802750"/>
                <a:gd name="connsiteX36" fmla="*/ 20812 w 769848"/>
                <a:gd name="connsiteY36" fmla="*/ 124148 h 802750"/>
                <a:gd name="connsiteX37" fmla="*/ 20812 w 769848"/>
                <a:gd name="connsiteY37" fmla="*/ 145481 h 802750"/>
                <a:gd name="connsiteX38" fmla="*/ 318949 w 769848"/>
                <a:gd name="connsiteY38" fmla="*/ 145481 h 802750"/>
                <a:gd name="connsiteX39" fmla="*/ 318949 w 769848"/>
                <a:gd name="connsiteY39" fmla="*/ 247048 h 802750"/>
                <a:gd name="connsiteX40" fmla="*/ 20812 w 769848"/>
                <a:gd name="connsiteY40" fmla="*/ 247048 h 802750"/>
                <a:gd name="connsiteX41" fmla="*/ 20812 w 769848"/>
                <a:gd name="connsiteY41" fmla="*/ 268381 h 802750"/>
                <a:gd name="connsiteX42" fmla="*/ 318949 w 769848"/>
                <a:gd name="connsiteY42" fmla="*/ 268381 h 802750"/>
                <a:gd name="connsiteX43" fmla="*/ 318949 w 769848"/>
                <a:gd name="connsiteY43" fmla="*/ 369843 h 802750"/>
                <a:gd name="connsiteX44" fmla="*/ 20812 w 769848"/>
                <a:gd name="connsiteY44" fmla="*/ 369843 h 802750"/>
                <a:gd name="connsiteX45" fmla="*/ 20812 w 769848"/>
                <a:gd name="connsiteY45" fmla="*/ 391176 h 802750"/>
                <a:gd name="connsiteX46" fmla="*/ 318949 w 769848"/>
                <a:gd name="connsiteY46" fmla="*/ 391176 h 802750"/>
                <a:gd name="connsiteX47" fmla="*/ 318949 w 769848"/>
                <a:gd name="connsiteY47" fmla="*/ 492742 h 802750"/>
                <a:gd name="connsiteX48" fmla="*/ 20812 w 769848"/>
                <a:gd name="connsiteY48" fmla="*/ 492742 h 802750"/>
                <a:gd name="connsiteX49" fmla="*/ 20812 w 769848"/>
                <a:gd name="connsiteY49" fmla="*/ 514075 h 802750"/>
                <a:gd name="connsiteX50" fmla="*/ 318949 w 769848"/>
                <a:gd name="connsiteY50" fmla="*/ 514075 h 802750"/>
                <a:gd name="connsiteX51" fmla="*/ 318949 w 769848"/>
                <a:gd name="connsiteY51" fmla="*/ 615538 h 802750"/>
                <a:gd name="connsiteX52" fmla="*/ 20812 w 769848"/>
                <a:gd name="connsiteY52" fmla="*/ 615538 h 802750"/>
                <a:gd name="connsiteX53" fmla="*/ 20812 w 769848"/>
                <a:gd name="connsiteY53" fmla="*/ 675166 h 802750"/>
                <a:gd name="connsiteX54" fmla="*/ 20812 w 769848"/>
                <a:gd name="connsiteY54" fmla="*/ 636871 h 802750"/>
                <a:gd name="connsiteX55" fmla="*/ 318949 w 769848"/>
                <a:gd name="connsiteY55" fmla="*/ 636871 h 802750"/>
                <a:gd name="connsiteX56" fmla="*/ 318949 w 769848"/>
                <a:gd name="connsiteY56" fmla="*/ 728135 h 802750"/>
                <a:gd name="connsiteX57" fmla="*/ 65247 w 769848"/>
                <a:gd name="connsiteY57" fmla="*/ 728135 h 802750"/>
                <a:gd name="connsiteX58" fmla="*/ 20812 w 769848"/>
                <a:gd name="connsiteY58" fmla="*/ 675166 h 802750"/>
                <a:gd name="connsiteX59" fmla="*/ 691074 w 769848"/>
                <a:gd name="connsiteY59" fmla="*/ 781624 h 802750"/>
                <a:gd name="connsiteX60" fmla="*/ 66704 w 769848"/>
                <a:gd name="connsiteY60" fmla="*/ 781624 h 802750"/>
                <a:gd name="connsiteX61" fmla="*/ 66704 w 769848"/>
                <a:gd name="connsiteY61" fmla="*/ 749884 h 802750"/>
                <a:gd name="connsiteX62" fmla="*/ 74612 w 769848"/>
                <a:gd name="connsiteY62" fmla="*/ 749884 h 802750"/>
                <a:gd name="connsiteX63" fmla="*/ 691074 w 769848"/>
                <a:gd name="connsiteY63" fmla="*/ 749884 h 802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769848" h="802750">
                  <a:moveTo>
                    <a:pt x="712510" y="792342"/>
                  </a:moveTo>
                  <a:lnTo>
                    <a:pt x="712510" y="748115"/>
                  </a:lnTo>
                  <a:cubicBezTo>
                    <a:pt x="746091" y="739894"/>
                    <a:pt x="769744" y="709841"/>
                    <a:pt x="769848" y="675271"/>
                  </a:cubicBezTo>
                  <a:lnTo>
                    <a:pt x="769848" y="75238"/>
                  </a:lnTo>
                  <a:cubicBezTo>
                    <a:pt x="769848" y="33685"/>
                    <a:pt x="736163" y="0"/>
                    <a:pt x="694612" y="0"/>
                  </a:cubicBezTo>
                  <a:lnTo>
                    <a:pt x="74716" y="0"/>
                  </a:lnTo>
                  <a:cubicBezTo>
                    <a:pt x="33367" y="281"/>
                    <a:pt x="-1" y="33883"/>
                    <a:pt x="0" y="75238"/>
                  </a:cubicBezTo>
                  <a:lnTo>
                    <a:pt x="0" y="675166"/>
                  </a:lnTo>
                  <a:cubicBezTo>
                    <a:pt x="41" y="705314"/>
                    <a:pt x="18053" y="732537"/>
                    <a:pt x="45787" y="744369"/>
                  </a:cubicBezTo>
                  <a:lnTo>
                    <a:pt x="45787" y="792342"/>
                  </a:lnTo>
                  <a:cubicBezTo>
                    <a:pt x="45787" y="798087"/>
                    <a:pt x="50446" y="802749"/>
                    <a:pt x="56193" y="802749"/>
                  </a:cubicBezTo>
                  <a:lnTo>
                    <a:pt x="701896" y="802749"/>
                  </a:lnTo>
                  <a:cubicBezTo>
                    <a:pt x="707640" y="802863"/>
                    <a:pt x="712396" y="798295"/>
                    <a:pt x="712510" y="792550"/>
                  </a:cubicBezTo>
                  <a:cubicBezTo>
                    <a:pt x="712510" y="792478"/>
                    <a:pt x="712510" y="792415"/>
                    <a:pt x="712510" y="792342"/>
                  </a:cubicBezTo>
                  <a:close/>
                  <a:moveTo>
                    <a:pt x="490234" y="21333"/>
                  </a:moveTo>
                  <a:lnTo>
                    <a:pt x="694612" y="21333"/>
                  </a:lnTo>
                  <a:cubicBezTo>
                    <a:pt x="724384" y="21333"/>
                    <a:pt x="748515" y="45466"/>
                    <a:pt x="748515" y="75238"/>
                  </a:cubicBezTo>
                  <a:lnTo>
                    <a:pt x="748515" y="242677"/>
                  </a:lnTo>
                  <a:lnTo>
                    <a:pt x="490234" y="242677"/>
                  </a:lnTo>
                  <a:close/>
                  <a:moveTo>
                    <a:pt x="490234" y="264010"/>
                  </a:moveTo>
                  <a:lnTo>
                    <a:pt x="748515" y="264010"/>
                  </a:lnTo>
                  <a:lnTo>
                    <a:pt x="748515" y="492950"/>
                  </a:lnTo>
                  <a:lnTo>
                    <a:pt x="490234" y="492950"/>
                  </a:lnTo>
                  <a:close/>
                  <a:moveTo>
                    <a:pt x="490234" y="513763"/>
                  </a:moveTo>
                  <a:lnTo>
                    <a:pt x="748515" y="513763"/>
                  </a:lnTo>
                  <a:lnTo>
                    <a:pt x="748515" y="674854"/>
                  </a:lnTo>
                  <a:cubicBezTo>
                    <a:pt x="748453" y="701245"/>
                    <a:pt x="729295" y="723702"/>
                    <a:pt x="703249" y="727927"/>
                  </a:cubicBezTo>
                  <a:lnTo>
                    <a:pt x="490234" y="727927"/>
                  </a:lnTo>
                  <a:close/>
                  <a:moveTo>
                    <a:pt x="340490" y="21021"/>
                  </a:moveTo>
                  <a:lnTo>
                    <a:pt x="468902" y="21021"/>
                  </a:lnTo>
                  <a:lnTo>
                    <a:pt x="468902" y="727823"/>
                  </a:lnTo>
                  <a:lnTo>
                    <a:pt x="340490" y="727823"/>
                  </a:lnTo>
                  <a:close/>
                  <a:moveTo>
                    <a:pt x="20812" y="75238"/>
                  </a:moveTo>
                  <a:cubicBezTo>
                    <a:pt x="20812" y="45507"/>
                    <a:pt x="44883" y="21396"/>
                    <a:pt x="74612" y="21333"/>
                  </a:cubicBezTo>
                  <a:lnTo>
                    <a:pt x="318949" y="21333"/>
                  </a:lnTo>
                  <a:lnTo>
                    <a:pt x="318949" y="124148"/>
                  </a:lnTo>
                  <a:lnTo>
                    <a:pt x="20812" y="124148"/>
                  </a:lnTo>
                  <a:close/>
                  <a:moveTo>
                    <a:pt x="20812" y="145481"/>
                  </a:moveTo>
                  <a:lnTo>
                    <a:pt x="318949" y="145481"/>
                  </a:lnTo>
                  <a:lnTo>
                    <a:pt x="318949" y="247048"/>
                  </a:lnTo>
                  <a:lnTo>
                    <a:pt x="20812" y="247048"/>
                  </a:lnTo>
                  <a:close/>
                  <a:moveTo>
                    <a:pt x="20812" y="268381"/>
                  </a:moveTo>
                  <a:lnTo>
                    <a:pt x="318949" y="268381"/>
                  </a:lnTo>
                  <a:lnTo>
                    <a:pt x="318949" y="369843"/>
                  </a:lnTo>
                  <a:lnTo>
                    <a:pt x="20812" y="369843"/>
                  </a:lnTo>
                  <a:close/>
                  <a:moveTo>
                    <a:pt x="20812" y="391176"/>
                  </a:moveTo>
                  <a:lnTo>
                    <a:pt x="318949" y="391176"/>
                  </a:lnTo>
                  <a:lnTo>
                    <a:pt x="318949" y="492742"/>
                  </a:lnTo>
                  <a:lnTo>
                    <a:pt x="20812" y="492742"/>
                  </a:lnTo>
                  <a:close/>
                  <a:moveTo>
                    <a:pt x="20812" y="514075"/>
                  </a:moveTo>
                  <a:lnTo>
                    <a:pt x="318949" y="514075"/>
                  </a:lnTo>
                  <a:lnTo>
                    <a:pt x="318949" y="615538"/>
                  </a:lnTo>
                  <a:lnTo>
                    <a:pt x="20812" y="615538"/>
                  </a:lnTo>
                  <a:close/>
                  <a:moveTo>
                    <a:pt x="20812" y="675166"/>
                  </a:moveTo>
                  <a:lnTo>
                    <a:pt x="20812" y="636871"/>
                  </a:lnTo>
                  <a:lnTo>
                    <a:pt x="318949" y="636871"/>
                  </a:lnTo>
                  <a:lnTo>
                    <a:pt x="318949" y="728135"/>
                  </a:lnTo>
                  <a:lnTo>
                    <a:pt x="65247" y="728135"/>
                  </a:lnTo>
                  <a:cubicBezTo>
                    <a:pt x="39571" y="723556"/>
                    <a:pt x="20860" y="701245"/>
                    <a:pt x="20812" y="675166"/>
                  </a:cubicBezTo>
                  <a:close/>
                  <a:moveTo>
                    <a:pt x="691074" y="781624"/>
                  </a:moveTo>
                  <a:lnTo>
                    <a:pt x="66704" y="781624"/>
                  </a:lnTo>
                  <a:lnTo>
                    <a:pt x="66704" y="749884"/>
                  </a:lnTo>
                  <a:cubicBezTo>
                    <a:pt x="69337" y="750040"/>
                    <a:pt x="71978" y="750040"/>
                    <a:pt x="74612" y="749884"/>
                  </a:cubicBezTo>
                  <a:lnTo>
                    <a:pt x="691074" y="749884"/>
                  </a:ln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1" name="Freeform 160">
              <a:extLst>
                <a:ext uri="{FF2B5EF4-FFF2-40B4-BE49-F238E27FC236}">
                  <a16:creationId xmlns:a16="http://schemas.microsoft.com/office/drawing/2014/main" id="{7CEF7929-2F77-D242-98B0-D615206D1FD0}"/>
                </a:ext>
              </a:extLst>
            </p:cNvPr>
            <p:cNvSpPr/>
            <p:nvPr/>
          </p:nvSpPr>
          <p:spPr>
            <a:xfrm>
              <a:off x="5061973" y="3480117"/>
              <a:ext cx="39127" cy="39127"/>
            </a:xfrm>
            <a:custGeom>
              <a:avLst/>
              <a:gdLst>
                <a:gd name="connsiteX0" fmla="*/ 19564 w 39127"/>
                <a:gd name="connsiteY0" fmla="*/ 0 h 39127"/>
                <a:gd name="connsiteX1" fmla="*/ 0 w 39127"/>
                <a:gd name="connsiteY1" fmla="*/ 19564 h 39127"/>
                <a:gd name="connsiteX2" fmla="*/ 19564 w 39127"/>
                <a:gd name="connsiteY2" fmla="*/ 39128 h 39127"/>
                <a:gd name="connsiteX3" fmla="*/ 39127 w 39127"/>
                <a:gd name="connsiteY3" fmla="*/ 19564 h 39127"/>
                <a:gd name="connsiteX4" fmla="*/ 19564 w 39127"/>
                <a:gd name="connsiteY4" fmla="*/ 0 h 39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127" h="39127">
                  <a:moveTo>
                    <a:pt x="19564" y="0"/>
                  </a:moveTo>
                  <a:cubicBezTo>
                    <a:pt x="8762" y="0"/>
                    <a:pt x="0" y="8762"/>
                    <a:pt x="0" y="19564"/>
                  </a:cubicBezTo>
                  <a:cubicBezTo>
                    <a:pt x="0" y="30366"/>
                    <a:pt x="8762" y="39128"/>
                    <a:pt x="19564" y="39128"/>
                  </a:cubicBezTo>
                  <a:cubicBezTo>
                    <a:pt x="30365" y="39128"/>
                    <a:pt x="39127" y="30366"/>
                    <a:pt x="39127" y="19564"/>
                  </a:cubicBezTo>
                  <a:cubicBezTo>
                    <a:pt x="39127" y="8762"/>
                    <a:pt x="30365" y="0"/>
                    <a:pt x="19564" y="0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2" name="Freeform 161">
              <a:extLst>
                <a:ext uri="{FF2B5EF4-FFF2-40B4-BE49-F238E27FC236}">
                  <a16:creationId xmlns:a16="http://schemas.microsoft.com/office/drawing/2014/main" id="{FB940FCB-24EE-A543-BF1D-A1287E504013}"/>
                </a:ext>
              </a:extLst>
            </p:cNvPr>
            <p:cNvSpPr/>
            <p:nvPr/>
          </p:nvSpPr>
          <p:spPr>
            <a:xfrm>
              <a:off x="5258233" y="3760361"/>
              <a:ext cx="40896" cy="16233"/>
            </a:xfrm>
            <a:custGeom>
              <a:avLst/>
              <a:gdLst>
                <a:gd name="connsiteX0" fmla="*/ 35069 w 40896"/>
                <a:gd name="connsiteY0" fmla="*/ 0 h 16233"/>
                <a:gd name="connsiteX1" fmla="*/ 40896 w 40896"/>
                <a:gd name="connsiteY1" fmla="*/ 0 h 16233"/>
                <a:gd name="connsiteX2" fmla="*/ 40896 w 40896"/>
                <a:gd name="connsiteY2" fmla="*/ 16234 h 16233"/>
                <a:gd name="connsiteX3" fmla="*/ 35069 w 40896"/>
                <a:gd name="connsiteY3" fmla="*/ 16234 h 16233"/>
                <a:gd name="connsiteX4" fmla="*/ 5827 w 40896"/>
                <a:gd name="connsiteY4" fmla="*/ 16234 h 16233"/>
                <a:gd name="connsiteX5" fmla="*/ 5827 w 40896"/>
                <a:gd name="connsiteY5" fmla="*/ 0 h 16233"/>
                <a:gd name="connsiteX6" fmla="*/ 0 w 40896"/>
                <a:gd name="connsiteY6" fmla="*/ 0 h 16233"/>
                <a:gd name="connsiteX7" fmla="*/ 5827 w 40896"/>
                <a:gd name="connsiteY7" fmla="*/ 0 h 16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896" h="16233">
                  <a:moveTo>
                    <a:pt x="35069" y="0"/>
                  </a:moveTo>
                  <a:cubicBezTo>
                    <a:pt x="38287" y="0"/>
                    <a:pt x="40896" y="0"/>
                    <a:pt x="40896" y="0"/>
                  </a:cubicBezTo>
                  <a:lnTo>
                    <a:pt x="40896" y="16234"/>
                  </a:lnTo>
                  <a:cubicBezTo>
                    <a:pt x="40896" y="16234"/>
                    <a:pt x="38287" y="16234"/>
                    <a:pt x="35069" y="16234"/>
                  </a:cubicBezTo>
                  <a:lnTo>
                    <a:pt x="5827" y="16234"/>
                  </a:lnTo>
                  <a:lnTo>
                    <a:pt x="5827" y="0"/>
                  </a:lnTo>
                  <a:cubicBezTo>
                    <a:pt x="2609" y="0"/>
                    <a:pt x="0" y="0"/>
                    <a:pt x="0" y="0"/>
                  </a:cubicBezTo>
                  <a:cubicBezTo>
                    <a:pt x="0" y="0"/>
                    <a:pt x="2609" y="0"/>
                    <a:pt x="5827" y="0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" name="Freeform 162">
              <a:extLst>
                <a:ext uri="{FF2B5EF4-FFF2-40B4-BE49-F238E27FC236}">
                  <a16:creationId xmlns:a16="http://schemas.microsoft.com/office/drawing/2014/main" id="{50B706F4-DEB2-EB4A-B122-CC0AA8EB8CE1}"/>
                </a:ext>
              </a:extLst>
            </p:cNvPr>
            <p:cNvSpPr/>
            <p:nvPr/>
          </p:nvSpPr>
          <p:spPr>
            <a:xfrm>
              <a:off x="5305998" y="3760361"/>
              <a:ext cx="40896" cy="16233"/>
            </a:xfrm>
            <a:custGeom>
              <a:avLst/>
              <a:gdLst>
                <a:gd name="connsiteX0" fmla="*/ 35069 w 40896"/>
                <a:gd name="connsiteY0" fmla="*/ 0 h 16233"/>
                <a:gd name="connsiteX1" fmla="*/ 40896 w 40896"/>
                <a:gd name="connsiteY1" fmla="*/ 0 h 16233"/>
                <a:gd name="connsiteX2" fmla="*/ 40896 w 40896"/>
                <a:gd name="connsiteY2" fmla="*/ 16234 h 16233"/>
                <a:gd name="connsiteX3" fmla="*/ 35069 w 40896"/>
                <a:gd name="connsiteY3" fmla="*/ 16234 h 16233"/>
                <a:gd name="connsiteX4" fmla="*/ 5828 w 40896"/>
                <a:gd name="connsiteY4" fmla="*/ 16234 h 16233"/>
                <a:gd name="connsiteX5" fmla="*/ 5828 w 40896"/>
                <a:gd name="connsiteY5" fmla="*/ 0 h 16233"/>
                <a:gd name="connsiteX6" fmla="*/ 0 w 40896"/>
                <a:gd name="connsiteY6" fmla="*/ 0 h 16233"/>
                <a:gd name="connsiteX7" fmla="*/ 5828 w 40896"/>
                <a:gd name="connsiteY7" fmla="*/ 0 h 16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896" h="16233">
                  <a:moveTo>
                    <a:pt x="35069" y="0"/>
                  </a:moveTo>
                  <a:cubicBezTo>
                    <a:pt x="38287" y="0"/>
                    <a:pt x="40896" y="0"/>
                    <a:pt x="40896" y="0"/>
                  </a:cubicBezTo>
                  <a:lnTo>
                    <a:pt x="40896" y="16234"/>
                  </a:lnTo>
                  <a:cubicBezTo>
                    <a:pt x="40896" y="16234"/>
                    <a:pt x="38287" y="16234"/>
                    <a:pt x="35069" y="16234"/>
                  </a:cubicBezTo>
                  <a:lnTo>
                    <a:pt x="5828" y="16234"/>
                  </a:lnTo>
                  <a:lnTo>
                    <a:pt x="5828" y="0"/>
                  </a:lnTo>
                  <a:cubicBezTo>
                    <a:pt x="2609" y="0"/>
                    <a:pt x="0" y="0"/>
                    <a:pt x="0" y="0"/>
                  </a:cubicBezTo>
                  <a:cubicBezTo>
                    <a:pt x="0" y="0"/>
                    <a:pt x="2609" y="0"/>
                    <a:pt x="5828" y="0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" name="Freeform 163">
              <a:extLst>
                <a:ext uri="{FF2B5EF4-FFF2-40B4-BE49-F238E27FC236}">
                  <a16:creationId xmlns:a16="http://schemas.microsoft.com/office/drawing/2014/main" id="{86928802-EA43-FC41-B3AA-72D778C5D905}"/>
                </a:ext>
              </a:extLst>
            </p:cNvPr>
            <p:cNvSpPr/>
            <p:nvPr/>
          </p:nvSpPr>
          <p:spPr>
            <a:xfrm>
              <a:off x="5352097" y="3760361"/>
              <a:ext cx="40896" cy="16233"/>
            </a:xfrm>
            <a:custGeom>
              <a:avLst/>
              <a:gdLst>
                <a:gd name="connsiteX0" fmla="*/ 35069 w 40896"/>
                <a:gd name="connsiteY0" fmla="*/ 0 h 16233"/>
                <a:gd name="connsiteX1" fmla="*/ 40896 w 40896"/>
                <a:gd name="connsiteY1" fmla="*/ 0 h 16233"/>
                <a:gd name="connsiteX2" fmla="*/ 40896 w 40896"/>
                <a:gd name="connsiteY2" fmla="*/ 16234 h 16233"/>
                <a:gd name="connsiteX3" fmla="*/ 35069 w 40896"/>
                <a:gd name="connsiteY3" fmla="*/ 16234 h 16233"/>
                <a:gd name="connsiteX4" fmla="*/ 5827 w 40896"/>
                <a:gd name="connsiteY4" fmla="*/ 16234 h 16233"/>
                <a:gd name="connsiteX5" fmla="*/ 5827 w 40896"/>
                <a:gd name="connsiteY5" fmla="*/ 0 h 16233"/>
                <a:gd name="connsiteX6" fmla="*/ 0 w 40896"/>
                <a:gd name="connsiteY6" fmla="*/ 0 h 16233"/>
                <a:gd name="connsiteX7" fmla="*/ 5827 w 40896"/>
                <a:gd name="connsiteY7" fmla="*/ 0 h 16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896" h="16233">
                  <a:moveTo>
                    <a:pt x="35069" y="0"/>
                  </a:moveTo>
                  <a:cubicBezTo>
                    <a:pt x="38287" y="0"/>
                    <a:pt x="40896" y="0"/>
                    <a:pt x="40896" y="0"/>
                  </a:cubicBezTo>
                  <a:lnTo>
                    <a:pt x="40896" y="16234"/>
                  </a:lnTo>
                  <a:cubicBezTo>
                    <a:pt x="40896" y="16234"/>
                    <a:pt x="38287" y="16234"/>
                    <a:pt x="35069" y="16234"/>
                  </a:cubicBezTo>
                  <a:lnTo>
                    <a:pt x="5827" y="16234"/>
                  </a:lnTo>
                  <a:lnTo>
                    <a:pt x="5827" y="0"/>
                  </a:lnTo>
                  <a:cubicBezTo>
                    <a:pt x="2609" y="0"/>
                    <a:pt x="0" y="0"/>
                    <a:pt x="0" y="0"/>
                  </a:cubicBezTo>
                  <a:cubicBezTo>
                    <a:pt x="0" y="0"/>
                    <a:pt x="2609" y="0"/>
                    <a:pt x="5827" y="0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" name="Freeform 164">
              <a:extLst>
                <a:ext uri="{FF2B5EF4-FFF2-40B4-BE49-F238E27FC236}">
                  <a16:creationId xmlns:a16="http://schemas.microsoft.com/office/drawing/2014/main" id="{52093B4B-E49E-A24A-AA4C-3560A0F8F649}"/>
                </a:ext>
              </a:extLst>
            </p:cNvPr>
            <p:cNvSpPr/>
            <p:nvPr/>
          </p:nvSpPr>
          <p:spPr>
            <a:xfrm>
              <a:off x="5258233" y="3783984"/>
              <a:ext cx="40896" cy="16233"/>
            </a:xfrm>
            <a:custGeom>
              <a:avLst/>
              <a:gdLst>
                <a:gd name="connsiteX0" fmla="*/ 35069 w 40896"/>
                <a:gd name="connsiteY0" fmla="*/ 0 h 16233"/>
                <a:gd name="connsiteX1" fmla="*/ 40896 w 40896"/>
                <a:gd name="connsiteY1" fmla="*/ 0 h 16233"/>
                <a:gd name="connsiteX2" fmla="*/ 40896 w 40896"/>
                <a:gd name="connsiteY2" fmla="*/ 16234 h 16233"/>
                <a:gd name="connsiteX3" fmla="*/ 35069 w 40896"/>
                <a:gd name="connsiteY3" fmla="*/ 16234 h 16233"/>
                <a:gd name="connsiteX4" fmla="*/ 5827 w 40896"/>
                <a:gd name="connsiteY4" fmla="*/ 16234 h 16233"/>
                <a:gd name="connsiteX5" fmla="*/ 5827 w 40896"/>
                <a:gd name="connsiteY5" fmla="*/ 0 h 16233"/>
                <a:gd name="connsiteX6" fmla="*/ 0 w 40896"/>
                <a:gd name="connsiteY6" fmla="*/ 0 h 16233"/>
                <a:gd name="connsiteX7" fmla="*/ 5827 w 40896"/>
                <a:gd name="connsiteY7" fmla="*/ 0 h 16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896" h="16233">
                  <a:moveTo>
                    <a:pt x="35069" y="0"/>
                  </a:moveTo>
                  <a:cubicBezTo>
                    <a:pt x="38287" y="0"/>
                    <a:pt x="40896" y="0"/>
                    <a:pt x="40896" y="0"/>
                  </a:cubicBezTo>
                  <a:lnTo>
                    <a:pt x="40896" y="16234"/>
                  </a:lnTo>
                  <a:cubicBezTo>
                    <a:pt x="40896" y="16234"/>
                    <a:pt x="38287" y="16234"/>
                    <a:pt x="35069" y="16234"/>
                  </a:cubicBezTo>
                  <a:lnTo>
                    <a:pt x="5827" y="16234"/>
                  </a:lnTo>
                  <a:lnTo>
                    <a:pt x="5827" y="0"/>
                  </a:lnTo>
                  <a:cubicBezTo>
                    <a:pt x="2609" y="0"/>
                    <a:pt x="0" y="0"/>
                    <a:pt x="0" y="0"/>
                  </a:cubicBezTo>
                  <a:cubicBezTo>
                    <a:pt x="0" y="0"/>
                    <a:pt x="2609" y="0"/>
                    <a:pt x="5827" y="0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" name="Freeform 165">
              <a:extLst>
                <a:ext uri="{FF2B5EF4-FFF2-40B4-BE49-F238E27FC236}">
                  <a16:creationId xmlns:a16="http://schemas.microsoft.com/office/drawing/2014/main" id="{90A010F5-030E-1541-953A-FE498701DB92}"/>
                </a:ext>
              </a:extLst>
            </p:cNvPr>
            <p:cNvSpPr/>
            <p:nvPr/>
          </p:nvSpPr>
          <p:spPr>
            <a:xfrm>
              <a:off x="5305998" y="3783984"/>
              <a:ext cx="40896" cy="16233"/>
            </a:xfrm>
            <a:custGeom>
              <a:avLst/>
              <a:gdLst>
                <a:gd name="connsiteX0" fmla="*/ 35069 w 40896"/>
                <a:gd name="connsiteY0" fmla="*/ 0 h 16233"/>
                <a:gd name="connsiteX1" fmla="*/ 40896 w 40896"/>
                <a:gd name="connsiteY1" fmla="*/ 0 h 16233"/>
                <a:gd name="connsiteX2" fmla="*/ 40896 w 40896"/>
                <a:gd name="connsiteY2" fmla="*/ 16234 h 16233"/>
                <a:gd name="connsiteX3" fmla="*/ 35069 w 40896"/>
                <a:gd name="connsiteY3" fmla="*/ 16234 h 16233"/>
                <a:gd name="connsiteX4" fmla="*/ 5828 w 40896"/>
                <a:gd name="connsiteY4" fmla="*/ 16234 h 16233"/>
                <a:gd name="connsiteX5" fmla="*/ 5828 w 40896"/>
                <a:gd name="connsiteY5" fmla="*/ 0 h 16233"/>
                <a:gd name="connsiteX6" fmla="*/ 0 w 40896"/>
                <a:gd name="connsiteY6" fmla="*/ 0 h 16233"/>
                <a:gd name="connsiteX7" fmla="*/ 5828 w 40896"/>
                <a:gd name="connsiteY7" fmla="*/ 0 h 16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896" h="16233">
                  <a:moveTo>
                    <a:pt x="35069" y="0"/>
                  </a:moveTo>
                  <a:cubicBezTo>
                    <a:pt x="38287" y="0"/>
                    <a:pt x="40896" y="0"/>
                    <a:pt x="40896" y="0"/>
                  </a:cubicBezTo>
                  <a:lnTo>
                    <a:pt x="40896" y="16234"/>
                  </a:lnTo>
                  <a:cubicBezTo>
                    <a:pt x="40896" y="16234"/>
                    <a:pt x="38287" y="16234"/>
                    <a:pt x="35069" y="16234"/>
                  </a:cubicBezTo>
                  <a:lnTo>
                    <a:pt x="5828" y="16234"/>
                  </a:lnTo>
                  <a:lnTo>
                    <a:pt x="5828" y="0"/>
                  </a:lnTo>
                  <a:cubicBezTo>
                    <a:pt x="2609" y="0"/>
                    <a:pt x="0" y="0"/>
                    <a:pt x="0" y="0"/>
                  </a:cubicBezTo>
                  <a:cubicBezTo>
                    <a:pt x="0" y="0"/>
                    <a:pt x="2609" y="0"/>
                    <a:pt x="5828" y="0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" name="Freeform 166">
              <a:extLst>
                <a:ext uri="{FF2B5EF4-FFF2-40B4-BE49-F238E27FC236}">
                  <a16:creationId xmlns:a16="http://schemas.microsoft.com/office/drawing/2014/main" id="{ED166E0C-1A3F-BC45-8F09-98007F124B18}"/>
                </a:ext>
              </a:extLst>
            </p:cNvPr>
            <p:cNvSpPr/>
            <p:nvPr/>
          </p:nvSpPr>
          <p:spPr>
            <a:xfrm>
              <a:off x="5352097" y="3783984"/>
              <a:ext cx="40896" cy="16233"/>
            </a:xfrm>
            <a:custGeom>
              <a:avLst/>
              <a:gdLst>
                <a:gd name="connsiteX0" fmla="*/ 35069 w 40896"/>
                <a:gd name="connsiteY0" fmla="*/ 0 h 16233"/>
                <a:gd name="connsiteX1" fmla="*/ 40896 w 40896"/>
                <a:gd name="connsiteY1" fmla="*/ 0 h 16233"/>
                <a:gd name="connsiteX2" fmla="*/ 40896 w 40896"/>
                <a:gd name="connsiteY2" fmla="*/ 16234 h 16233"/>
                <a:gd name="connsiteX3" fmla="*/ 35069 w 40896"/>
                <a:gd name="connsiteY3" fmla="*/ 16234 h 16233"/>
                <a:gd name="connsiteX4" fmla="*/ 5827 w 40896"/>
                <a:gd name="connsiteY4" fmla="*/ 16234 h 16233"/>
                <a:gd name="connsiteX5" fmla="*/ 5827 w 40896"/>
                <a:gd name="connsiteY5" fmla="*/ 0 h 16233"/>
                <a:gd name="connsiteX6" fmla="*/ 0 w 40896"/>
                <a:gd name="connsiteY6" fmla="*/ 0 h 16233"/>
                <a:gd name="connsiteX7" fmla="*/ 5827 w 40896"/>
                <a:gd name="connsiteY7" fmla="*/ 0 h 16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896" h="16233">
                  <a:moveTo>
                    <a:pt x="35069" y="0"/>
                  </a:moveTo>
                  <a:cubicBezTo>
                    <a:pt x="38287" y="0"/>
                    <a:pt x="40896" y="0"/>
                    <a:pt x="40896" y="0"/>
                  </a:cubicBezTo>
                  <a:lnTo>
                    <a:pt x="40896" y="16234"/>
                  </a:lnTo>
                  <a:cubicBezTo>
                    <a:pt x="40896" y="16234"/>
                    <a:pt x="38287" y="16234"/>
                    <a:pt x="35069" y="16234"/>
                  </a:cubicBezTo>
                  <a:lnTo>
                    <a:pt x="5827" y="16234"/>
                  </a:lnTo>
                  <a:lnTo>
                    <a:pt x="5827" y="0"/>
                  </a:lnTo>
                  <a:cubicBezTo>
                    <a:pt x="2609" y="0"/>
                    <a:pt x="0" y="0"/>
                    <a:pt x="0" y="0"/>
                  </a:cubicBezTo>
                  <a:cubicBezTo>
                    <a:pt x="0" y="0"/>
                    <a:pt x="2609" y="0"/>
                    <a:pt x="5827" y="0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" name="Freeform 167">
              <a:extLst>
                <a:ext uri="{FF2B5EF4-FFF2-40B4-BE49-F238E27FC236}">
                  <a16:creationId xmlns:a16="http://schemas.microsoft.com/office/drawing/2014/main" id="{433F0B66-46C2-2F49-A529-217ACC63198F}"/>
                </a:ext>
              </a:extLst>
            </p:cNvPr>
            <p:cNvSpPr/>
            <p:nvPr/>
          </p:nvSpPr>
          <p:spPr>
            <a:xfrm>
              <a:off x="5258233" y="3806462"/>
              <a:ext cx="40896" cy="16233"/>
            </a:xfrm>
            <a:custGeom>
              <a:avLst/>
              <a:gdLst>
                <a:gd name="connsiteX0" fmla="*/ 35069 w 40896"/>
                <a:gd name="connsiteY0" fmla="*/ 0 h 16233"/>
                <a:gd name="connsiteX1" fmla="*/ 40896 w 40896"/>
                <a:gd name="connsiteY1" fmla="*/ 0 h 16233"/>
                <a:gd name="connsiteX2" fmla="*/ 40896 w 40896"/>
                <a:gd name="connsiteY2" fmla="*/ 16234 h 16233"/>
                <a:gd name="connsiteX3" fmla="*/ 35069 w 40896"/>
                <a:gd name="connsiteY3" fmla="*/ 16234 h 16233"/>
                <a:gd name="connsiteX4" fmla="*/ 5827 w 40896"/>
                <a:gd name="connsiteY4" fmla="*/ 16234 h 16233"/>
                <a:gd name="connsiteX5" fmla="*/ 5827 w 40896"/>
                <a:gd name="connsiteY5" fmla="*/ 0 h 16233"/>
                <a:gd name="connsiteX6" fmla="*/ 0 w 40896"/>
                <a:gd name="connsiteY6" fmla="*/ 0 h 16233"/>
                <a:gd name="connsiteX7" fmla="*/ 5827 w 40896"/>
                <a:gd name="connsiteY7" fmla="*/ 0 h 16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896" h="16233">
                  <a:moveTo>
                    <a:pt x="35069" y="0"/>
                  </a:moveTo>
                  <a:cubicBezTo>
                    <a:pt x="38287" y="0"/>
                    <a:pt x="40896" y="0"/>
                    <a:pt x="40896" y="0"/>
                  </a:cubicBezTo>
                  <a:lnTo>
                    <a:pt x="40896" y="16234"/>
                  </a:lnTo>
                  <a:cubicBezTo>
                    <a:pt x="40896" y="16234"/>
                    <a:pt x="38287" y="16234"/>
                    <a:pt x="35069" y="16234"/>
                  </a:cubicBezTo>
                  <a:lnTo>
                    <a:pt x="5827" y="16234"/>
                  </a:lnTo>
                  <a:lnTo>
                    <a:pt x="5827" y="0"/>
                  </a:lnTo>
                  <a:cubicBezTo>
                    <a:pt x="2609" y="0"/>
                    <a:pt x="0" y="0"/>
                    <a:pt x="0" y="0"/>
                  </a:cubicBezTo>
                  <a:cubicBezTo>
                    <a:pt x="0" y="0"/>
                    <a:pt x="2609" y="0"/>
                    <a:pt x="5827" y="0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9" name="Freeform 168">
              <a:extLst>
                <a:ext uri="{FF2B5EF4-FFF2-40B4-BE49-F238E27FC236}">
                  <a16:creationId xmlns:a16="http://schemas.microsoft.com/office/drawing/2014/main" id="{7D5445A0-FAEA-7048-918F-F6E262380803}"/>
                </a:ext>
              </a:extLst>
            </p:cNvPr>
            <p:cNvSpPr/>
            <p:nvPr/>
          </p:nvSpPr>
          <p:spPr>
            <a:xfrm>
              <a:off x="5305998" y="3806462"/>
              <a:ext cx="40896" cy="16233"/>
            </a:xfrm>
            <a:custGeom>
              <a:avLst/>
              <a:gdLst>
                <a:gd name="connsiteX0" fmla="*/ 35069 w 40896"/>
                <a:gd name="connsiteY0" fmla="*/ 0 h 16233"/>
                <a:gd name="connsiteX1" fmla="*/ 40896 w 40896"/>
                <a:gd name="connsiteY1" fmla="*/ 0 h 16233"/>
                <a:gd name="connsiteX2" fmla="*/ 40896 w 40896"/>
                <a:gd name="connsiteY2" fmla="*/ 16234 h 16233"/>
                <a:gd name="connsiteX3" fmla="*/ 35069 w 40896"/>
                <a:gd name="connsiteY3" fmla="*/ 16234 h 16233"/>
                <a:gd name="connsiteX4" fmla="*/ 5828 w 40896"/>
                <a:gd name="connsiteY4" fmla="*/ 16234 h 16233"/>
                <a:gd name="connsiteX5" fmla="*/ 5828 w 40896"/>
                <a:gd name="connsiteY5" fmla="*/ 0 h 16233"/>
                <a:gd name="connsiteX6" fmla="*/ 0 w 40896"/>
                <a:gd name="connsiteY6" fmla="*/ 0 h 16233"/>
                <a:gd name="connsiteX7" fmla="*/ 5828 w 40896"/>
                <a:gd name="connsiteY7" fmla="*/ 0 h 16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896" h="16233">
                  <a:moveTo>
                    <a:pt x="35069" y="0"/>
                  </a:moveTo>
                  <a:cubicBezTo>
                    <a:pt x="38287" y="0"/>
                    <a:pt x="40896" y="0"/>
                    <a:pt x="40896" y="0"/>
                  </a:cubicBezTo>
                  <a:lnTo>
                    <a:pt x="40896" y="16234"/>
                  </a:lnTo>
                  <a:cubicBezTo>
                    <a:pt x="40896" y="16234"/>
                    <a:pt x="38287" y="16234"/>
                    <a:pt x="35069" y="16234"/>
                  </a:cubicBezTo>
                  <a:lnTo>
                    <a:pt x="5828" y="16234"/>
                  </a:lnTo>
                  <a:lnTo>
                    <a:pt x="5828" y="0"/>
                  </a:lnTo>
                  <a:cubicBezTo>
                    <a:pt x="2609" y="0"/>
                    <a:pt x="0" y="0"/>
                    <a:pt x="0" y="0"/>
                  </a:cubicBezTo>
                  <a:cubicBezTo>
                    <a:pt x="0" y="0"/>
                    <a:pt x="2609" y="0"/>
                    <a:pt x="5828" y="0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" name="Freeform 169">
              <a:extLst>
                <a:ext uri="{FF2B5EF4-FFF2-40B4-BE49-F238E27FC236}">
                  <a16:creationId xmlns:a16="http://schemas.microsoft.com/office/drawing/2014/main" id="{F361B1B7-7690-5C48-9CE8-3CACC9CAF3C6}"/>
                </a:ext>
              </a:extLst>
            </p:cNvPr>
            <p:cNvSpPr/>
            <p:nvPr/>
          </p:nvSpPr>
          <p:spPr>
            <a:xfrm>
              <a:off x="5352097" y="3806462"/>
              <a:ext cx="40896" cy="16233"/>
            </a:xfrm>
            <a:custGeom>
              <a:avLst/>
              <a:gdLst>
                <a:gd name="connsiteX0" fmla="*/ 35069 w 40896"/>
                <a:gd name="connsiteY0" fmla="*/ 0 h 16233"/>
                <a:gd name="connsiteX1" fmla="*/ 40896 w 40896"/>
                <a:gd name="connsiteY1" fmla="*/ 0 h 16233"/>
                <a:gd name="connsiteX2" fmla="*/ 40896 w 40896"/>
                <a:gd name="connsiteY2" fmla="*/ 16234 h 16233"/>
                <a:gd name="connsiteX3" fmla="*/ 35069 w 40896"/>
                <a:gd name="connsiteY3" fmla="*/ 16234 h 16233"/>
                <a:gd name="connsiteX4" fmla="*/ 5827 w 40896"/>
                <a:gd name="connsiteY4" fmla="*/ 16234 h 16233"/>
                <a:gd name="connsiteX5" fmla="*/ 5827 w 40896"/>
                <a:gd name="connsiteY5" fmla="*/ 0 h 16233"/>
                <a:gd name="connsiteX6" fmla="*/ 0 w 40896"/>
                <a:gd name="connsiteY6" fmla="*/ 0 h 16233"/>
                <a:gd name="connsiteX7" fmla="*/ 5827 w 40896"/>
                <a:gd name="connsiteY7" fmla="*/ 0 h 16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896" h="16233">
                  <a:moveTo>
                    <a:pt x="35069" y="0"/>
                  </a:moveTo>
                  <a:cubicBezTo>
                    <a:pt x="38287" y="0"/>
                    <a:pt x="40896" y="0"/>
                    <a:pt x="40896" y="0"/>
                  </a:cubicBezTo>
                  <a:lnTo>
                    <a:pt x="40896" y="16234"/>
                  </a:lnTo>
                  <a:cubicBezTo>
                    <a:pt x="40896" y="16234"/>
                    <a:pt x="38287" y="16234"/>
                    <a:pt x="35069" y="16234"/>
                  </a:cubicBezTo>
                  <a:lnTo>
                    <a:pt x="5827" y="16234"/>
                  </a:lnTo>
                  <a:lnTo>
                    <a:pt x="5827" y="0"/>
                  </a:lnTo>
                  <a:cubicBezTo>
                    <a:pt x="2609" y="0"/>
                    <a:pt x="0" y="0"/>
                    <a:pt x="0" y="0"/>
                  </a:cubicBezTo>
                  <a:cubicBezTo>
                    <a:pt x="0" y="0"/>
                    <a:pt x="2609" y="0"/>
                    <a:pt x="5827" y="0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" name="Freeform 170">
              <a:extLst>
                <a:ext uri="{FF2B5EF4-FFF2-40B4-BE49-F238E27FC236}">
                  <a16:creationId xmlns:a16="http://schemas.microsoft.com/office/drawing/2014/main" id="{0CB5DB40-D369-9541-8622-69786BFC1BC2}"/>
                </a:ext>
              </a:extLst>
            </p:cNvPr>
            <p:cNvSpPr/>
            <p:nvPr/>
          </p:nvSpPr>
          <p:spPr>
            <a:xfrm>
              <a:off x="5258233" y="3829980"/>
              <a:ext cx="40896" cy="16233"/>
            </a:xfrm>
            <a:custGeom>
              <a:avLst/>
              <a:gdLst>
                <a:gd name="connsiteX0" fmla="*/ 35069 w 40896"/>
                <a:gd name="connsiteY0" fmla="*/ 0 h 16233"/>
                <a:gd name="connsiteX1" fmla="*/ 40896 w 40896"/>
                <a:gd name="connsiteY1" fmla="*/ 0 h 16233"/>
                <a:gd name="connsiteX2" fmla="*/ 40896 w 40896"/>
                <a:gd name="connsiteY2" fmla="*/ 16234 h 16233"/>
                <a:gd name="connsiteX3" fmla="*/ 35069 w 40896"/>
                <a:gd name="connsiteY3" fmla="*/ 16234 h 16233"/>
                <a:gd name="connsiteX4" fmla="*/ 5827 w 40896"/>
                <a:gd name="connsiteY4" fmla="*/ 16234 h 16233"/>
                <a:gd name="connsiteX5" fmla="*/ 5827 w 40896"/>
                <a:gd name="connsiteY5" fmla="*/ 0 h 16233"/>
                <a:gd name="connsiteX6" fmla="*/ 0 w 40896"/>
                <a:gd name="connsiteY6" fmla="*/ 0 h 16233"/>
                <a:gd name="connsiteX7" fmla="*/ 5827 w 40896"/>
                <a:gd name="connsiteY7" fmla="*/ 0 h 16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896" h="16233">
                  <a:moveTo>
                    <a:pt x="35069" y="0"/>
                  </a:moveTo>
                  <a:cubicBezTo>
                    <a:pt x="38287" y="0"/>
                    <a:pt x="40896" y="0"/>
                    <a:pt x="40896" y="0"/>
                  </a:cubicBezTo>
                  <a:lnTo>
                    <a:pt x="40896" y="16234"/>
                  </a:lnTo>
                  <a:cubicBezTo>
                    <a:pt x="40896" y="16234"/>
                    <a:pt x="38287" y="16234"/>
                    <a:pt x="35069" y="16234"/>
                  </a:cubicBezTo>
                  <a:lnTo>
                    <a:pt x="5827" y="16234"/>
                  </a:lnTo>
                  <a:lnTo>
                    <a:pt x="5827" y="0"/>
                  </a:lnTo>
                  <a:cubicBezTo>
                    <a:pt x="2609" y="0"/>
                    <a:pt x="0" y="0"/>
                    <a:pt x="0" y="0"/>
                  </a:cubicBezTo>
                  <a:cubicBezTo>
                    <a:pt x="0" y="0"/>
                    <a:pt x="2609" y="0"/>
                    <a:pt x="5827" y="0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" name="Freeform 171">
              <a:extLst>
                <a:ext uri="{FF2B5EF4-FFF2-40B4-BE49-F238E27FC236}">
                  <a16:creationId xmlns:a16="http://schemas.microsoft.com/office/drawing/2014/main" id="{86EDC8FA-FF60-4A40-A11B-11F113B51C8C}"/>
                </a:ext>
              </a:extLst>
            </p:cNvPr>
            <p:cNvSpPr/>
            <p:nvPr/>
          </p:nvSpPr>
          <p:spPr>
            <a:xfrm>
              <a:off x="5305998" y="3829980"/>
              <a:ext cx="40896" cy="16233"/>
            </a:xfrm>
            <a:custGeom>
              <a:avLst/>
              <a:gdLst>
                <a:gd name="connsiteX0" fmla="*/ 35069 w 40896"/>
                <a:gd name="connsiteY0" fmla="*/ 0 h 16233"/>
                <a:gd name="connsiteX1" fmla="*/ 40896 w 40896"/>
                <a:gd name="connsiteY1" fmla="*/ 0 h 16233"/>
                <a:gd name="connsiteX2" fmla="*/ 40896 w 40896"/>
                <a:gd name="connsiteY2" fmla="*/ 16234 h 16233"/>
                <a:gd name="connsiteX3" fmla="*/ 35069 w 40896"/>
                <a:gd name="connsiteY3" fmla="*/ 16234 h 16233"/>
                <a:gd name="connsiteX4" fmla="*/ 5828 w 40896"/>
                <a:gd name="connsiteY4" fmla="*/ 16234 h 16233"/>
                <a:gd name="connsiteX5" fmla="*/ 5828 w 40896"/>
                <a:gd name="connsiteY5" fmla="*/ 0 h 16233"/>
                <a:gd name="connsiteX6" fmla="*/ 0 w 40896"/>
                <a:gd name="connsiteY6" fmla="*/ 0 h 16233"/>
                <a:gd name="connsiteX7" fmla="*/ 5828 w 40896"/>
                <a:gd name="connsiteY7" fmla="*/ 0 h 16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896" h="16233">
                  <a:moveTo>
                    <a:pt x="35069" y="0"/>
                  </a:moveTo>
                  <a:cubicBezTo>
                    <a:pt x="38287" y="0"/>
                    <a:pt x="40896" y="0"/>
                    <a:pt x="40896" y="0"/>
                  </a:cubicBezTo>
                  <a:lnTo>
                    <a:pt x="40896" y="16234"/>
                  </a:lnTo>
                  <a:cubicBezTo>
                    <a:pt x="40896" y="16234"/>
                    <a:pt x="38287" y="16234"/>
                    <a:pt x="35069" y="16234"/>
                  </a:cubicBezTo>
                  <a:lnTo>
                    <a:pt x="5828" y="16234"/>
                  </a:lnTo>
                  <a:lnTo>
                    <a:pt x="5828" y="0"/>
                  </a:lnTo>
                  <a:cubicBezTo>
                    <a:pt x="2609" y="0"/>
                    <a:pt x="0" y="0"/>
                    <a:pt x="0" y="0"/>
                  </a:cubicBezTo>
                  <a:cubicBezTo>
                    <a:pt x="0" y="0"/>
                    <a:pt x="2609" y="0"/>
                    <a:pt x="5828" y="0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" name="Freeform 172">
              <a:extLst>
                <a:ext uri="{FF2B5EF4-FFF2-40B4-BE49-F238E27FC236}">
                  <a16:creationId xmlns:a16="http://schemas.microsoft.com/office/drawing/2014/main" id="{D40DF1F8-C8F1-2641-A1B7-46260A40026D}"/>
                </a:ext>
              </a:extLst>
            </p:cNvPr>
            <p:cNvSpPr/>
            <p:nvPr/>
          </p:nvSpPr>
          <p:spPr>
            <a:xfrm>
              <a:off x="5352097" y="3829980"/>
              <a:ext cx="40896" cy="16233"/>
            </a:xfrm>
            <a:custGeom>
              <a:avLst/>
              <a:gdLst>
                <a:gd name="connsiteX0" fmla="*/ 35069 w 40896"/>
                <a:gd name="connsiteY0" fmla="*/ 0 h 16233"/>
                <a:gd name="connsiteX1" fmla="*/ 40896 w 40896"/>
                <a:gd name="connsiteY1" fmla="*/ 0 h 16233"/>
                <a:gd name="connsiteX2" fmla="*/ 40896 w 40896"/>
                <a:gd name="connsiteY2" fmla="*/ 16234 h 16233"/>
                <a:gd name="connsiteX3" fmla="*/ 35069 w 40896"/>
                <a:gd name="connsiteY3" fmla="*/ 16234 h 16233"/>
                <a:gd name="connsiteX4" fmla="*/ 5827 w 40896"/>
                <a:gd name="connsiteY4" fmla="*/ 16234 h 16233"/>
                <a:gd name="connsiteX5" fmla="*/ 5827 w 40896"/>
                <a:gd name="connsiteY5" fmla="*/ 0 h 16233"/>
                <a:gd name="connsiteX6" fmla="*/ 0 w 40896"/>
                <a:gd name="connsiteY6" fmla="*/ 0 h 16233"/>
                <a:gd name="connsiteX7" fmla="*/ 5827 w 40896"/>
                <a:gd name="connsiteY7" fmla="*/ 0 h 16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896" h="16233">
                  <a:moveTo>
                    <a:pt x="35069" y="0"/>
                  </a:moveTo>
                  <a:cubicBezTo>
                    <a:pt x="38287" y="0"/>
                    <a:pt x="40896" y="0"/>
                    <a:pt x="40896" y="0"/>
                  </a:cubicBezTo>
                  <a:lnTo>
                    <a:pt x="40896" y="16234"/>
                  </a:lnTo>
                  <a:cubicBezTo>
                    <a:pt x="40896" y="16234"/>
                    <a:pt x="38287" y="16234"/>
                    <a:pt x="35069" y="16234"/>
                  </a:cubicBezTo>
                  <a:lnTo>
                    <a:pt x="5827" y="16234"/>
                  </a:lnTo>
                  <a:lnTo>
                    <a:pt x="5827" y="0"/>
                  </a:lnTo>
                  <a:cubicBezTo>
                    <a:pt x="2609" y="0"/>
                    <a:pt x="0" y="0"/>
                    <a:pt x="0" y="0"/>
                  </a:cubicBezTo>
                  <a:cubicBezTo>
                    <a:pt x="0" y="0"/>
                    <a:pt x="2609" y="0"/>
                    <a:pt x="5827" y="0"/>
                  </a:cubicBez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4" name="Freeform 173">
              <a:extLst>
                <a:ext uri="{FF2B5EF4-FFF2-40B4-BE49-F238E27FC236}">
                  <a16:creationId xmlns:a16="http://schemas.microsoft.com/office/drawing/2014/main" id="{3DA8D2AA-124C-1649-A352-A9EC00A5435C}"/>
                </a:ext>
              </a:extLst>
            </p:cNvPr>
            <p:cNvSpPr/>
            <p:nvPr/>
          </p:nvSpPr>
          <p:spPr>
            <a:xfrm>
              <a:off x="4829187" y="4760822"/>
              <a:ext cx="385548" cy="399619"/>
            </a:xfrm>
            <a:custGeom>
              <a:avLst/>
              <a:gdLst>
                <a:gd name="connsiteX0" fmla="*/ 356203 w 385548"/>
                <a:gd name="connsiteY0" fmla="*/ 383484 h 399619"/>
                <a:gd name="connsiteX1" fmla="*/ 356203 w 385548"/>
                <a:gd name="connsiteY1" fmla="*/ 238315 h 399619"/>
                <a:gd name="connsiteX2" fmla="*/ 369211 w 385548"/>
                <a:gd name="connsiteY2" fmla="*/ 238315 h 399619"/>
                <a:gd name="connsiteX3" fmla="*/ 385549 w 385548"/>
                <a:gd name="connsiteY3" fmla="*/ 221977 h 399619"/>
                <a:gd name="connsiteX4" fmla="*/ 385549 w 385548"/>
                <a:gd name="connsiteY4" fmla="*/ 119162 h 399619"/>
                <a:gd name="connsiteX5" fmla="*/ 369211 w 385548"/>
                <a:gd name="connsiteY5" fmla="*/ 102824 h 399619"/>
                <a:gd name="connsiteX6" fmla="*/ 295639 w 385548"/>
                <a:gd name="connsiteY6" fmla="*/ 102824 h 399619"/>
                <a:gd name="connsiteX7" fmla="*/ 300218 w 385548"/>
                <a:gd name="connsiteY7" fmla="*/ 100222 h 399619"/>
                <a:gd name="connsiteX8" fmla="*/ 319261 w 385548"/>
                <a:gd name="connsiteY8" fmla="*/ 25088 h 399619"/>
                <a:gd name="connsiteX9" fmla="*/ 286586 w 385548"/>
                <a:gd name="connsiteY9" fmla="*/ 1466 h 399619"/>
                <a:gd name="connsiteX10" fmla="*/ 244233 w 385548"/>
                <a:gd name="connsiteY10" fmla="*/ 8750 h 399619"/>
                <a:gd name="connsiteX11" fmla="*/ 192930 w 385548"/>
                <a:gd name="connsiteY11" fmla="*/ 71189 h 399619"/>
                <a:gd name="connsiteX12" fmla="*/ 141732 w 385548"/>
                <a:gd name="connsiteY12" fmla="*/ 8750 h 399619"/>
                <a:gd name="connsiteX13" fmla="*/ 99379 w 385548"/>
                <a:gd name="connsiteY13" fmla="*/ 1466 h 399619"/>
                <a:gd name="connsiteX14" fmla="*/ 66704 w 385548"/>
                <a:gd name="connsiteY14" fmla="*/ 25088 h 399619"/>
                <a:gd name="connsiteX15" fmla="*/ 85747 w 385548"/>
                <a:gd name="connsiteY15" fmla="*/ 100222 h 399619"/>
                <a:gd name="connsiteX16" fmla="*/ 85747 w 385548"/>
                <a:gd name="connsiteY16" fmla="*/ 100222 h 399619"/>
                <a:gd name="connsiteX17" fmla="*/ 89909 w 385548"/>
                <a:gd name="connsiteY17" fmla="*/ 102616 h 399619"/>
                <a:gd name="connsiteX18" fmla="*/ 16338 w 385548"/>
                <a:gd name="connsiteY18" fmla="*/ 102616 h 399619"/>
                <a:gd name="connsiteX19" fmla="*/ 0 w 385548"/>
                <a:gd name="connsiteY19" fmla="*/ 118954 h 399619"/>
                <a:gd name="connsiteX20" fmla="*/ 0 w 385548"/>
                <a:gd name="connsiteY20" fmla="*/ 221769 h 399619"/>
                <a:gd name="connsiteX21" fmla="*/ 16338 w 385548"/>
                <a:gd name="connsiteY21" fmla="*/ 238107 h 399619"/>
                <a:gd name="connsiteX22" fmla="*/ 29345 w 385548"/>
                <a:gd name="connsiteY22" fmla="*/ 238107 h 399619"/>
                <a:gd name="connsiteX23" fmla="*/ 29345 w 385548"/>
                <a:gd name="connsiteY23" fmla="*/ 383276 h 399619"/>
                <a:gd name="connsiteX24" fmla="*/ 45683 w 385548"/>
                <a:gd name="connsiteY24" fmla="*/ 399614 h 399619"/>
                <a:gd name="connsiteX25" fmla="*/ 339345 w 385548"/>
                <a:gd name="connsiteY25" fmla="*/ 399614 h 399619"/>
                <a:gd name="connsiteX26" fmla="*/ 356203 w 385548"/>
                <a:gd name="connsiteY26" fmla="*/ 383599 h 399619"/>
                <a:gd name="connsiteX27" fmla="*/ 356203 w 385548"/>
                <a:gd name="connsiteY27" fmla="*/ 383484 h 399619"/>
                <a:gd name="connsiteX28" fmla="*/ 352769 w 385548"/>
                <a:gd name="connsiteY28" fmla="*/ 135500 h 399619"/>
                <a:gd name="connsiteX29" fmla="*/ 352769 w 385548"/>
                <a:gd name="connsiteY29" fmla="*/ 206055 h 399619"/>
                <a:gd name="connsiteX30" fmla="*/ 238301 w 385548"/>
                <a:gd name="connsiteY30" fmla="*/ 206055 h 399619"/>
                <a:gd name="connsiteX31" fmla="*/ 238301 w 385548"/>
                <a:gd name="connsiteY31" fmla="*/ 136020 h 399619"/>
                <a:gd name="connsiteX32" fmla="*/ 147247 w 385548"/>
                <a:gd name="connsiteY32" fmla="*/ 367042 h 399619"/>
                <a:gd name="connsiteX33" fmla="*/ 62541 w 385548"/>
                <a:gd name="connsiteY33" fmla="*/ 367042 h 399619"/>
                <a:gd name="connsiteX34" fmla="*/ 62541 w 385548"/>
                <a:gd name="connsiteY34" fmla="*/ 238315 h 399619"/>
                <a:gd name="connsiteX35" fmla="*/ 147247 w 385548"/>
                <a:gd name="connsiteY35" fmla="*/ 238315 h 399619"/>
                <a:gd name="connsiteX36" fmla="*/ 147247 w 385548"/>
                <a:gd name="connsiteY36" fmla="*/ 205535 h 399619"/>
                <a:gd name="connsiteX37" fmla="*/ 32779 w 385548"/>
                <a:gd name="connsiteY37" fmla="*/ 205535 h 399619"/>
                <a:gd name="connsiteX38" fmla="*/ 32779 w 385548"/>
                <a:gd name="connsiteY38" fmla="*/ 135500 h 399619"/>
                <a:gd name="connsiteX39" fmla="*/ 147247 w 385548"/>
                <a:gd name="connsiteY39" fmla="*/ 135500 h 399619"/>
                <a:gd name="connsiteX40" fmla="*/ 103125 w 385548"/>
                <a:gd name="connsiteY40" fmla="*/ 72542 h 399619"/>
                <a:gd name="connsiteX41" fmla="*/ 94696 w 385548"/>
                <a:gd name="connsiteY41" fmla="*/ 42051 h 399619"/>
                <a:gd name="connsiteX42" fmla="*/ 106975 w 385548"/>
                <a:gd name="connsiteY42" fmla="*/ 33309 h 399619"/>
                <a:gd name="connsiteX43" fmla="*/ 124250 w 385548"/>
                <a:gd name="connsiteY43" fmla="*/ 36431 h 399619"/>
                <a:gd name="connsiteX44" fmla="*/ 163897 w 385548"/>
                <a:gd name="connsiteY44" fmla="*/ 86278 h 399619"/>
                <a:gd name="connsiteX45" fmla="*/ 103125 w 385548"/>
                <a:gd name="connsiteY45" fmla="*/ 72542 h 399619"/>
                <a:gd name="connsiteX46" fmla="*/ 205938 w 385548"/>
                <a:gd name="connsiteY46" fmla="*/ 367042 h 399619"/>
                <a:gd name="connsiteX47" fmla="*/ 179923 w 385548"/>
                <a:gd name="connsiteY47" fmla="*/ 367042 h 399619"/>
                <a:gd name="connsiteX48" fmla="*/ 179923 w 385548"/>
                <a:gd name="connsiteY48" fmla="*/ 135500 h 399619"/>
                <a:gd name="connsiteX49" fmla="*/ 205938 w 385548"/>
                <a:gd name="connsiteY49" fmla="*/ 135500 h 399619"/>
                <a:gd name="connsiteX50" fmla="*/ 261611 w 385548"/>
                <a:gd name="connsiteY50" fmla="*/ 36431 h 399619"/>
                <a:gd name="connsiteX51" fmla="*/ 278989 w 385548"/>
                <a:gd name="connsiteY51" fmla="*/ 33309 h 399619"/>
                <a:gd name="connsiteX52" fmla="*/ 291269 w 385548"/>
                <a:gd name="connsiteY52" fmla="*/ 42051 h 399619"/>
                <a:gd name="connsiteX53" fmla="*/ 283152 w 385548"/>
                <a:gd name="connsiteY53" fmla="*/ 72229 h 399619"/>
                <a:gd name="connsiteX54" fmla="*/ 283152 w 385548"/>
                <a:gd name="connsiteY54" fmla="*/ 72229 h 399619"/>
                <a:gd name="connsiteX55" fmla="*/ 222380 w 385548"/>
                <a:gd name="connsiteY55" fmla="*/ 85966 h 399619"/>
                <a:gd name="connsiteX56" fmla="*/ 261611 w 385548"/>
                <a:gd name="connsiteY56" fmla="*/ 36431 h 399619"/>
                <a:gd name="connsiteX57" fmla="*/ 323424 w 385548"/>
                <a:gd name="connsiteY57" fmla="*/ 367042 h 399619"/>
                <a:gd name="connsiteX58" fmla="*/ 238718 w 385548"/>
                <a:gd name="connsiteY58" fmla="*/ 367042 h 399619"/>
                <a:gd name="connsiteX59" fmla="*/ 238718 w 385548"/>
                <a:gd name="connsiteY59" fmla="*/ 238315 h 399619"/>
                <a:gd name="connsiteX60" fmla="*/ 323424 w 385548"/>
                <a:gd name="connsiteY60" fmla="*/ 238315 h 399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385548" h="399619">
                  <a:moveTo>
                    <a:pt x="356203" y="383484"/>
                  </a:moveTo>
                  <a:lnTo>
                    <a:pt x="356203" y="238315"/>
                  </a:lnTo>
                  <a:lnTo>
                    <a:pt x="369211" y="238315"/>
                  </a:lnTo>
                  <a:cubicBezTo>
                    <a:pt x="378212" y="238263"/>
                    <a:pt x="385496" y="230979"/>
                    <a:pt x="385549" y="221977"/>
                  </a:cubicBezTo>
                  <a:lnTo>
                    <a:pt x="385549" y="119162"/>
                  </a:lnTo>
                  <a:cubicBezTo>
                    <a:pt x="385549" y="110140"/>
                    <a:pt x="378233" y="102824"/>
                    <a:pt x="369211" y="102824"/>
                  </a:cubicBezTo>
                  <a:lnTo>
                    <a:pt x="295639" y="102824"/>
                  </a:lnTo>
                  <a:lnTo>
                    <a:pt x="300218" y="100222"/>
                  </a:lnTo>
                  <a:cubicBezTo>
                    <a:pt x="325817" y="84436"/>
                    <a:pt x="334246" y="51167"/>
                    <a:pt x="319261" y="25088"/>
                  </a:cubicBezTo>
                  <a:cubicBezTo>
                    <a:pt x="311987" y="13142"/>
                    <a:pt x="300208" y="4629"/>
                    <a:pt x="286586" y="1466"/>
                  </a:cubicBezTo>
                  <a:cubicBezTo>
                    <a:pt x="272069" y="-1958"/>
                    <a:pt x="256772" y="675"/>
                    <a:pt x="244233" y="8750"/>
                  </a:cubicBezTo>
                  <a:cubicBezTo>
                    <a:pt x="226022" y="20197"/>
                    <a:pt x="206562" y="48399"/>
                    <a:pt x="192930" y="71189"/>
                  </a:cubicBezTo>
                  <a:cubicBezTo>
                    <a:pt x="179402" y="48502"/>
                    <a:pt x="159943" y="20301"/>
                    <a:pt x="141732" y="8750"/>
                  </a:cubicBezTo>
                  <a:cubicBezTo>
                    <a:pt x="129182" y="685"/>
                    <a:pt x="113895" y="-1948"/>
                    <a:pt x="99379" y="1466"/>
                  </a:cubicBezTo>
                  <a:cubicBezTo>
                    <a:pt x="85757" y="4629"/>
                    <a:pt x="73977" y="13142"/>
                    <a:pt x="66704" y="25088"/>
                  </a:cubicBezTo>
                  <a:cubicBezTo>
                    <a:pt x="51719" y="51167"/>
                    <a:pt x="60148" y="84436"/>
                    <a:pt x="85747" y="100222"/>
                  </a:cubicBezTo>
                  <a:lnTo>
                    <a:pt x="85747" y="100222"/>
                  </a:lnTo>
                  <a:cubicBezTo>
                    <a:pt x="86996" y="101055"/>
                    <a:pt x="88348" y="101783"/>
                    <a:pt x="89909" y="102616"/>
                  </a:cubicBezTo>
                  <a:lnTo>
                    <a:pt x="16338" y="102616"/>
                  </a:lnTo>
                  <a:cubicBezTo>
                    <a:pt x="7316" y="102616"/>
                    <a:pt x="0" y="109932"/>
                    <a:pt x="0" y="118954"/>
                  </a:cubicBezTo>
                  <a:lnTo>
                    <a:pt x="0" y="221769"/>
                  </a:lnTo>
                  <a:cubicBezTo>
                    <a:pt x="0" y="230791"/>
                    <a:pt x="7316" y="238107"/>
                    <a:pt x="16338" y="238107"/>
                  </a:cubicBezTo>
                  <a:lnTo>
                    <a:pt x="29345" y="238107"/>
                  </a:lnTo>
                  <a:lnTo>
                    <a:pt x="29345" y="383276"/>
                  </a:lnTo>
                  <a:cubicBezTo>
                    <a:pt x="29397" y="392278"/>
                    <a:pt x="36682" y="399562"/>
                    <a:pt x="45683" y="399614"/>
                  </a:cubicBezTo>
                  <a:lnTo>
                    <a:pt x="339345" y="399614"/>
                  </a:lnTo>
                  <a:cubicBezTo>
                    <a:pt x="348419" y="399843"/>
                    <a:pt x="355974" y="392673"/>
                    <a:pt x="356203" y="383599"/>
                  </a:cubicBezTo>
                  <a:cubicBezTo>
                    <a:pt x="356203" y="383557"/>
                    <a:pt x="356203" y="383526"/>
                    <a:pt x="356203" y="383484"/>
                  </a:cubicBezTo>
                  <a:close/>
                  <a:moveTo>
                    <a:pt x="352769" y="135500"/>
                  </a:moveTo>
                  <a:lnTo>
                    <a:pt x="352769" y="206055"/>
                  </a:lnTo>
                  <a:lnTo>
                    <a:pt x="238301" y="206055"/>
                  </a:lnTo>
                  <a:lnTo>
                    <a:pt x="238301" y="136020"/>
                  </a:lnTo>
                  <a:close/>
                  <a:moveTo>
                    <a:pt x="147247" y="367042"/>
                  </a:moveTo>
                  <a:lnTo>
                    <a:pt x="62541" y="367042"/>
                  </a:lnTo>
                  <a:lnTo>
                    <a:pt x="62541" y="238315"/>
                  </a:lnTo>
                  <a:lnTo>
                    <a:pt x="147247" y="238315"/>
                  </a:lnTo>
                  <a:close/>
                  <a:moveTo>
                    <a:pt x="147247" y="205535"/>
                  </a:moveTo>
                  <a:lnTo>
                    <a:pt x="32779" y="205535"/>
                  </a:lnTo>
                  <a:lnTo>
                    <a:pt x="32779" y="135500"/>
                  </a:lnTo>
                  <a:lnTo>
                    <a:pt x="147247" y="135500"/>
                  </a:lnTo>
                  <a:close/>
                  <a:moveTo>
                    <a:pt x="103125" y="72542"/>
                  </a:moveTo>
                  <a:cubicBezTo>
                    <a:pt x="92573" y="66298"/>
                    <a:pt x="88848" y="52832"/>
                    <a:pt x="94696" y="42051"/>
                  </a:cubicBezTo>
                  <a:cubicBezTo>
                    <a:pt x="97402" y="37565"/>
                    <a:pt x="101845" y="34402"/>
                    <a:pt x="106975" y="33309"/>
                  </a:cubicBezTo>
                  <a:cubicBezTo>
                    <a:pt x="112917" y="31905"/>
                    <a:pt x="119171" y="33039"/>
                    <a:pt x="124250" y="36431"/>
                  </a:cubicBezTo>
                  <a:cubicBezTo>
                    <a:pt x="137466" y="44756"/>
                    <a:pt x="155468" y="72125"/>
                    <a:pt x="163897" y="86278"/>
                  </a:cubicBezTo>
                  <a:cubicBezTo>
                    <a:pt x="147872" y="84717"/>
                    <a:pt x="116237" y="81179"/>
                    <a:pt x="103125" y="72542"/>
                  </a:cubicBezTo>
                  <a:close/>
                  <a:moveTo>
                    <a:pt x="205938" y="367042"/>
                  </a:moveTo>
                  <a:lnTo>
                    <a:pt x="179923" y="367042"/>
                  </a:lnTo>
                  <a:lnTo>
                    <a:pt x="179923" y="135500"/>
                  </a:lnTo>
                  <a:lnTo>
                    <a:pt x="205938" y="135500"/>
                  </a:lnTo>
                  <a:close/>
                  <a:moveTo>
                    <a:pt x="261611" y="36431"/>
                  </a:moveTo>
                  <a:cubicBezTo>
                    <a:pt x="266752" y="33101"/>
                    <a:pt x="273016" y="31977"/>
                    <a:pt x="278989" y="33309"/>
                  </a:cubicBezTo>
                  <a:cubicBezTo>
                    <a:pt x="284120" y="34402"/>
                    <a:pt x="288563" y="37565"/>
                    <a:pt x="291269" y="42051"/>
                  </a:cubicBezTo>
                  <a:cubicBezTo>
                    <a:pt x="296971" y="52675"/>
                    <a:pt x="293412" y="65902"/>
                    <a:pt x="283152" y="72229"/>
                  </a:cubicBezTo>
                  <a:lnTo>
                    <a:pt x="283152" y="72229"/>
                  </a:lnTo>
                  <a:cubicBezTo>
                    <a:pt x="263932" y="80565"/>
                    <a:pt x="243317" y="85227"/>
                    <a:pt x="222380" y="85966"/>
                  </a:cubicBezTo>
                  <a:cubicBezTo>
                    <a:pt x="230601" y="72125"/>
                    <a:pt x="248499" y="44652"/>
                    <a:pt x="261611" y="36431"/>
                  </a:cubicBezTo>
                  <a:close/>
                  <a:moveTo>
                    <a:pt x="323424" y="367042"/>
                  </a:moveTo>
                  <a:lnTo>
                    <a:pt x="238718" y="367042"/>
                  </a:lnTo>
                  <a:lnTo>
                    <a:pt x="238718" y="238315"/>
                  </a:lnTo>
                  <a:lnTo>
                    <a:pt x="323424" y="238315"/>
                  </a:lnTo>
                  <a:close/>
                </a:path>
              </a:pathLst>
            </a:custGeom>
            <a:solidFill>
              <a:srgbClr val="00000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5" name="Freeform 174">
              <a:extLst>
                <a:ext uri="{FF2B5EF4-FFF2-40B4-BE49-F238E27FC236}">
                  <a16:creationId xmlns:a16="http://schemas.microsoft.com/office/drawing/2014/main" id="{09875CB9-453D-7C4E-913D-7AEE3135FCED}"/>
                </a:ext>
              </a:extLst>
            </p:cNvPr>
            <p:cNvSpPr/>
            <p:nvPr/>
          </p:nvSpPr>
          <p:spPr>
            <a:xfrm>
              <a:off x="10409701" y="3528020"/>
              <a:ext cx="408519" cy="173649"/>
            </a:xfrm>
            <a:custGeom>
              <a:avLst/>
              <a:gdLst>
                <a:gd name="connsiteX0" fmla="*/ 380866 w 408519"/>
                <a:gd name="connsiteY0" fmla="*/ 127029 h 173649"/>
                <a:gd name="connsiteX1" fmla="*/ 51406 w 408519"/>
                <a:gd name="connsiteY1" fmla="*/ 2776 h 173649"/>
                <a:gd name="connsiteX2" fmla="*/ 0 w 408519"/>
                <a:gd name="connsiteY2" fmla="*/ 19843 h 173649"/>
                <a:gd name="connsiteX3" fmla="*/ 408026 w 408519"/>
                <a:gd name="connsiteY3" fmla="*/ 173649 h 173649"/>
                <a:gd name="connsiteX4" fmla="*/ 380866 w 408519"/>
                <a:gd name="connsiteY4" fmla="*/ 127029 h 173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8519" h="173649">
                  <a:moveTo>
                    <a:pt x="380866" y="127029"/>
                  </a:moveTo>
                  <a:lnTo>
                    <a:pt x="51406" y="2776"/>
                  </a:lnTo>
                  <a:cubicBezTo>
                    <a:pt x="32395" y="-4404"/>
                    <a:pt x="10947" y="2714"/>
                    <a:pt x="0" y="19843"/>
                  </a:cubicBezTo>
                  <a:lnTo>
                    <a:pt x="408026" y="173649"/>
                  </a:lnTo>
                  <a:cubicBezTo>
                    <a:pt x="411075" y="153659"/>
                    <a:pt x="399763" y="134240"/>
                    <a:pt x="380866" y="127029"/>
                  </a:cubicBezTo>
                  <a:close/>
                </a:path>
              </a:pathLst>
            </a:custGeom>
            <a:noFill/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6" name="Freeform 175">
              <a:extLst>
                <a:ext uri="{FF2B5EF4-FFF2-40B4-BE49-F238E27FC236}">
                  <a16:creationId xmlns:a16="http://schemas.microsoft.com/office/drawing/2014/main" id="{A04B4EE0-C538-ED45-9B2D-0A00C5D95D96}"/>
                </a:ext>
              </a:extLst>
            </p:cNvPr>
            <p:cNvSpPr/>
            <p:nvPr/>
          </p:nvSpPr>
          <p:spPr>
            <a:xfrm>
              <a:off x="10409701" y="3528020"/>
              <a:ext cx="408519" cy="173649"/>
            </a:xfrm>
            <a:custGeom>
              <a:avLst/>
              <a:gdLst>
                <a:gd name="connsiteX0" fmla="*/ 380866 w 408519"/>
                <a:gd name="connsiteY0" fmla="*/ 127029 h 173649"/>
                <a:gd name="connsiteX1" fmla="*/ 51406 w 408519"/>
                <a:gd name="connsiteY1" fmla="*/ 2776 h 173649"/>
                <a:gd name="connsiteX2" fmla="*/ 0 w 408519"/>
                <a:gd name="connsiteY2" fmla="*/ 19843 h 173649"/>
                <a:gd name="connsiteX3" fmla="*/ 408026 w 408519"/>
                <a:gd name="connsiteY3" fmla="*/ 173649 h 173649"/>
                <a:gd name="connsiteX4" fmla="*/ 380866 w 408519"/>
                <a:gd name="connsiteY4" fmla="*/ 127029 h 173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8519" h="173649">
                  <a:moveTo>
                    <a:pt x="380866" y="127029"/>
                  </a:moveTo>
                  <a:lnTo>
                    <a:pt x="51406" y="2776"/>
                  </a:lnTo>
                  <a:cubicBezTo>
                    <a:pt x="32395" y="-4404"/>
                    <a:pt x="10947" y="2714"/>
                    <a:pt x="0" y="19843"/>
                  </a:cubicBezTo>
                  <a:lnTo>
                    <a:pt x="408026" y="173649"/>
                  </a:lnTo>
                  <a:cubicBezTo>
                    <a:pt x="411075" y="153659"/>
                    <a:pt x="399763" y="134240"/>
                    <a:pt x="380866" y="127029"/>
                  </a:cubicBezTo>
                  <a:close/>
                </a:path>
              </a:pathLst>
            </a:custGeom>
            <a:noFill/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" name="Freeform 176">
              <a:extLst>
                <a:ext uri="{FF2B5EF4-FFF2-40B4-BE49-F238E27FC236}">
                  <a16:creationId xmlns:a16="http://schemas.microsoft.com/office/drawing/2014/main" id="{37F26B48-97B0-AD4D-965E-DC7789A9C0D3}"/>
                </a:ext>
              </a:extLst>
            </p:cNvPr>
            <p:cNvSpPr/>
            <p:nvPr/>
          </p:nvSpPr>
          <p:spPr>
            <a:xfrm>
              <a:off x="10216459" y="3506941"/>
              <a:ext cx="623891" cy="494536"/>
            </a:xfrm>
            <a:custGeom>
              <a:avLst/>
              <a:gdLst>
                <a:gd name="connsiteX0" fmla="*/ 581705 w 623891"/>
                <a:gd name="connsiteY0" fmla="*/ 127919 h 494536"/>
                <a:gd name="connsiteX1" fmla="*/ 252246 w 623891"/>
                <a:gd name="connsiteY1" fmla="*/ 3979 h 494536"/>
                <a:gd name="connsiteX2" fmla="*/ 168997 w 623891"/>
                <a:gd name="connsiteY2" fmla="*/ 41963 h 494536"/>
                <a:gd name="connsiteX3" fmla="*/ 0 w 623891"/>
                <a:gd name="connsiteY3" fmla="*/ 491519 h 494536"/>
                <a:gd name="connsiteX4" fmla="*/ 22062 w 623891"/>
                <a:gd name="connsiteY4" fmla="*/ 494536 h 494536"/>
                <a:gd name="connsiteX5" fmla="*/ 185022 w 623891"/>
                <a:gd name="connsiteY5" fmla="*/ 60902 h 494536"/>
                <a:gd name="connsiteX6" fmla="*/ 595233 w 623891"/>
                <a:gd name="connsiteY6" fmla="*/ 215229 h 494536"/>
                <a:gd name="connsiteX7" fmla="*/ 543930 w 623891"/>
                <a:gd name="connsiteY7" fmla="*/ 351657 h 494536"/>
                <a:gd name="connsiteX8" fmla="*/ 480036 w 623891"/>
                <a:gd name="connsiteY8" fmla="*/ 346870 h 494536"/>
                <a:gd name="connsiteX9" fmla="*/ 473273 w 623891"/>
                <a:gd name="connsiteY9" fmla="*/ 349159 h 494536"/>
                <a:gd name="connsiteX10" fmla="*/ 470151 w 623891"/>
                <a:gd name="connsiteY10" fmla="*/ 355507 h 494536"/>
                <a:gd name="connsiteX11" fmla="*/ 471087 w 623891"/>
                <a:gd name="connsiteY11" fmla="*/ 360294 h 494536"/>
                <a:gd name="connsiteX12" fmla="*/ 473793 w 623891"/>
                <a:gd name="connsiteY12" fmla="*/ 363624 h 494536"/>
                <a:gd name="connsiteX13" fmla="*/ 478684 w 623891"/>
                <a:gd name="connsiteY13" fmla="*/ 365497 h 494536"/>
                <a:gd name="connsiteX14" fmla="*/ 537063 w 623891"/>
                <a:gd name="connsiteY14" fmla="*/ 369764 h 494536"/>
                <a:gd name="connsiteX15" fmla="*/ 496791 w 623891"/>
                <a:gd name="connsiteY15" fmla="*/ 476950 h 494536"/>
                <a:gd name="connsiteX16" fmla="*/ 517603 w 623891"/>
                <a:gd name="connsiteY16" fmla="*/ 482673 h 494536"/>
                <a:gd name="connsiteX17" fmla="*/ 560372 w 623891"/>
                <a:gd name="connsiteY17" fmla="*/ 368931 h 494536"/>
                <a:gd name="connsiteX18" fmla="*/ 560372 w 623891"/>
                <a:gd name="connsiteY18" fmla="*/ 368931 h 494536"/>
                <a:gd name="connsiteX19" fmla="*/ 563598 w 623891"/>
                <a:gd name="connsiteY19" fmla="*/ 362583 h 494536"/>
                <a:gd name="connsiteX20" fmla="*/ 563598 w 623891"/>
                <a:gd name="connsiteY20" fmla="*/ 360710 h 494536"/>
                <a:gd name="connsiteX21" fmla="*/ 619792 w 623891"/>
                <a:gd name="connsiteY21" fmla="*/ 211483 h 494536"/>
                <a:gd name="connsiteX22" fmla="*/ 581705 w 623891"/>
                <a:gd name="connsiteY22" fmla="*/ 127919 h 494536"/>
                <a:gd name="connsiteX23" fmla="*/ 601581 w 623891"/>
                <a:gd name="connsiteY23" fmla="*/ 194937 h 494536"/>
                <a:gd name="connsiteX24" fmla="*/ 193243 w 623891"/>
                <a:gd name="connsiteY24" fmla="*/ 41442 h 494536"/>
                <a:gd name="connsiteX25" fmla="*/ 244649 w 623891"/>
                <a:gd name="connsiteY25" fmla="*/ 24376 h 494536"/>
                <a:gd name="connsiteX26" fmla="*/ 574109 w 623891"/>
                <a:gd name="connsiteY26" fmla="*/ 148316 h 494536"/>
                <a:gd name="connsiteX27" fmla="*/ 601269 w 623891"/>
                <a:gd name="connsiteY27" fmla="*/ 194729 h 494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623891" h="494536">
                  <a:moveTo>
                    <a:pt x="581705" y="127919"/>
                  </a:moveTo>
                  <a:lnTo>
                    <a:pt x="252246" y="3979"/>
                  </a:lnTo>
                  <a:cubicBezTo>
                    <a:pt x="218780" y="-8259"/>
                    <a:pt x="181682" y="8662"/>
                    <a:pt x="168997" y="41963"/>
                  </a:cubicBezTo>
                  <a:lnTo>
                    <a:pt x="0" y="491519"/>
                  </a:lnTo>
                  <a:cubicBezTo>
                    <a:pt x="7410" y="492039"/>
                    <a:pt x="14787" y="493038"/>
                    <a:pt x="22062" y="494536"/>
                  </a:cubicBezTo>
                  <a:lnTo>
                    <a:pt x="185022" y="60902"/>
                  </a:lnTo>
                  <a:lnTo>
                    <a:pt x="595233" y="215229"/>
                  </a:lnTo>
                  <a:lnTo>
                    <a:pt x="543930" y="351657"/>
                  </a:lnTo>
                  <a:lnTo>
                    <a:pt x="480036" y="346870"/>
                  </a:lnTo>
                  <a:cubicBezTo>
                    <a:pt x="477570" y="346693"/>
                    <a:pt x="475136" y="347525"/>
                    <a:pt x="473273" y="349159"/>
                  </a:cubicBezTo>
                  <a:cubicBezTo>
                    <a:pt x="471379" y="350741"/>
                    <a:pt x="470255" y="353041"/>
                    <a:pt x="470151" y="355507"/>
                  </a:cubicBezTo>
                  <a:cubicBezTo>
                    <a:pt x="469943" y="357162"/>
                    <a:pt x="470276" y="358837"/>
                    <a:pt x="471087" y="360294"/>
                  </a:cubicBezTo>
                  <a:cubicBezTo>
                    <a:pt x="471691" y="361616"/>
                    <a:pt x="472628" y="362760"/>
                    <a:pt x="473793" y="363624"/>
                  </a:cubicBezTo>
                  <a:cubicBezTo>
                    <a:pt x="475239" y="364654"/>
                    <a:pt x="476926" y="365299"/>
                    <a:pt x="478684" y="365497"/>
                  </a:cubicBezTo>
                  <a:lnTo>
                    <a:pt x="537063" y="369764"/>
                  </a:lnTo>
                  <a:lnTo>
                    <a:pt x="496791" y="476950"/>
                  </a:lnTo>
                  <a:cubicBezTo>
                    <a:pt x="503867" y="478323"/>
                    <a:pt x="510818" y="480238"/>
                    <a:pt x="517603" y="482673"/>
                  </a:cubicBezTo>
                  <a:lnTo>
                    <a:pt x="560372" y="368931"/>
                  </a:lnTo>
                  <a:lnTo>
                    <a:pt x="560372" y="368931"/>
                  </a:lnTo>
                  <a:cubicBezTo>
                    <a:pt x="562245" y="367329"/>
                    <a:pt x="563411" y="365050"/>
                    <a:pt x="563598" y="362583"/>
                  </a:cubicBezTo>
                  <a:cubicBezTo>
                    <a:pt x="563650" y="361959"/>
                    <a:pt x="563650" y="361335"/>
                    <a:pt x="563598" y="360710"/>
                  </a:cubicBezTo>
                  <a:lnTo>
                    <a:pt x="619792" y="211483"/>
                  </a:lnTo>
                  <a:cubicBezTo>
                    <a:pt x="632290" y="177891"/>
                    <a:pt x="615254" y="140521"/>
                    <a:pt x="581705" y="127919"/>
                  </a:cubicBezTo>
                  <a:close/>
                  <a:moveTo>
                    <a:pt x="601581" y="194937"/>
                  </a:moveTo>
                  <a:lnTo>
                    <a:pt x="193243" y="41442"/>
                  </a:lnTo>
                  <a:cubicBezTo>
                    <a:pt x="204190" y="24313"/>
                    <a:pt x="225637" y="17195"/>
                    <a:pt x="244649" y="24376"/>
                  </a:cubicBezTo>
                  <a:lnTo>
                    <a:pt x="574109" y="148316"/>
                  </a:lnTo>
                  <a:cubicBezTo>
                    <a:pt x="592923" y="155517"/>
                    <a:pt x="604203" y="174800"/>
                    <a:pt x="601269" y="194729"/>
                  </a:cubicBezTo>
                  <a:close/>
                </a:path>
              </a:pathLst>
            </a:custGeom>
            <a:solidFill>
              <a:srgbClr val="050505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" name="Freeform 177">
              <a:extLst>
                <a:ext uri="{FF2B5EF4-FFF2-40B4-BE49-F238E27FC236}">
                  <a16:creationId xmlns:a16="http://schemas.microsoft.com/office/drawing/2014/main" id="{81F608E4-95C2-9444-99B3-7A74747D583A}"/>
                </a:ext>
              </a:extLst>
            </p:cNvPr>
            <p:cNvSpPr/>
            <p:nvPr/>
          </p:nvSpPr>
          <p:spPr>
            <a:xfrm>
              <a:off x="10376932" y="4168870"/>
              <a:ext cx="53905" cy="53908"/>
            </a:xfrm>
            <a:custGeom>
              <a:avLst/>
              <a:gdLst>
                <a:gd name="connsiteX0" fmla="*/ 48587 w 53905"/>
                <a:gd name="connsiteY0" fmla="*/ 43024 h 53908"/>
                <a:gd name="connsiteX1" fmla="*/ 43020 w 53905"/>
                <a:gd name="connsiteY1" fmla="*/ 5311 h 53908"/>
                <a:gd name="connsiteX2" fmla="*/ 5318 w 53905"/>
                <a:gd name="connsiteY2" fmla="*/ 10879 h 53908"/>
                <a:gd name="connsiteX3" fmla="*/ 10812 w 53905"/>
                <a:gd name="connsiteY3" fmla="*/ 48540 h 53908"/>
                <a:gd name="connsiteX4" fmla="*/ 48535 w 53905"/>
                <a:gd name="connsiteY4" fmla="*/ 43087 h 53908"/>
                <a:gd name="connsiteX5" fmla="*/ 48587 w 53905"/>
                <a:gd name="connsiteY5" fmla="*/ 43024 h 53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3905" h="53908">
                  <a:moveTo>
                    <a:pt x="48587" y="43024"/>
                  </a:moveTo>
                  <a:cubicBezTo>
                    <a:pt x="57463" y="31078"/>
                    <a:pt x="54976" y="14188"/>
                    <a:pt x="43020" y="5311"/>
                  </a:cubicBezTo>
                  <a:cubicBezTo>
                    <a:pt x="31073" y="-3555"/>
                    <a:pt x="14194" y="-1067"/>
                    <a:pt x="5318" y="10879"/>
                  </a:cubicBezTo>
                  <a:cubicBezTo>
                    <a:pt x="-3537" y="22805"/>
                    <a:pt x="-1082" y="39642"/>
                    <a:pt x="10812" y="48540"/>
                  </a:cubicBezTo>
                  <a:cubicBezTo>
                    <a:pt x="22738" y="57458"/>
                    <a:pt x="39627" y="55012"/>
                    <a:pt x="48535" y="43087"/>
                  </a:cubicBezTo>
                  <a:cubicBezTo>
                    <a:pt x="48556" y="43066"/>
                    <a:pt x="48566" y="43045"/>
                    <a:pt x="48587" y="43024"/>
                  </a:cubicBezTo>
                  <a:close/>
                </a:path>
              </a:pathLst>
            </a:custGeom>
            <a:solidFill>
              <a:srgbClr val="050505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" name="Freeform 178">
              <a:extLst>
                <a:ext uri="{FF2B5EF4-FFF2-40B4-BE49-F238E27FC236}">
                  <a16:creationId xmlns:a16="http://schemas.microsoft.com/office/drawing/2014/main" id="{36215529-2A7A-A642-96F4-EBCB11ADB5E2}"/>
                </a:ext>
              </a:extLst>
            </p:cNvPr>
            <p:cNvSpPr/>
            <p:nvPr/>
          </p:nvSpPr>
          <p:spPr>
            <a:xfrm>
              <a:off x="10517548" y="4007562"/>
              <a:ext cx="48018" cy="22399"/>
            </a:xfrm>
            <a:custGeom>
              <a:avLst/>
              <a:gdLst>
                <a:gd name="connsiteX0" fmla="*/ 44395 w 48018"/>
                <a:gd name="connsiteY0" fmla="*/ 20452 h 22399"/>
                <a:gd name="connsiteX1" fmla="*/ 46060 w 48018"/>
                <a:gd name="connsiteY1" fmla="*/ 7236 h 22399"/>
                <a:gd name="connsiteX2" fmla="*/ 39816 w 48018"/>
                <a:gd name="connsiteY2" fmla="*/ 3801 h 22399"/>
                <a:gd name="connsiteX3" fmla="*/ 10471 w 48018"/>
                <a:gd name="connsiteY3" fmla="*/ 55 h 22399"/>
                <a:gd name="connsiteX4" fmla="*/ 65 w 48018"/>
                <a:gd name="connsiteY4" fmla="*/ 8276 h 22399"/>
                <a:gd name="connsiteX5" fmla="*/ 65 w 48018"/>
                <a:gd name="connsiteY5" fmla="*/ 8276 h 22399"/>
                <a:gd name="connsiteX6" fmla="*/ 3811 w 48018"/>
                <a:gd name="connsiteY6" fmla="*/ 16913 h 22399"/>
                <a:gd name="connsiteX7" fmla="*/ 8286 w 48018"/>
                <a:gd name="connsiteY7" fmla="*/ 18682 h 22399"/>
                <a:gd name="connsiteX8" fmla="*/ 37631 w 48018"/>
                <a:gd name="connsiteY8" fmla="*/ 22325 h 22399"/>
                <a:gd name="connsiteX9" fmla="*/ 44395 w 48018"/>
                <a:gd name="connsiteY9" fmla="*/ 20452 h 22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018" h="22399">
                  <a:moveTo>
                    <a:pt x="44395" y="20452"/>
                  </a:moveTo>
                  <a:cubicBezTo>
                    <a:pt x="48475" y="17246"/>
                    <a:pt x="49223" y="11356"/>
                    <a:pt x="46060" y="7236"/>
                  </a:cubicBezTo>
                  <a:cubicBezTo>
                    <a:pt x="44520" y="5300"/>
                    <a:pt x="42272" y="4072"/>
                    <a:pt x="39816" y="3801"/>
                  </a:cubicBezTo>
                  <a:lnTo>
                    <a:pt x="10471" y="55"/>
                  </a:lnTo>
                  <a:cubicBezTo>
                    <a:pt x="5341" y="-497"/>
                    <a:pt x="710" y="3156"/>
                    <a:pt x="65" y="8276"/>
                  </a:cubicBezTo>
                  <a:lnTo>
                    <a:pt x="65" y="8276"/>
                  </a:lnTo>
                  <a:cubicBezTo>
                    <a:pt x="-330" y="11616"/>
                    <a:pt x="1106" y="14915"/>
                    <a:pt x="3811" y="16913"/>
                  </a:cubicBezTo>
                  <a:cubicBezTo>
                    <a:pt x="5122" y="17881"/>
                    <a:pt x="6663" y="18485"/>
                    <a:pt x="8286" y="18682"/>
                  </a:cubicBezTo>
                  <a:lnTo>
                    <a:pt x="37631" y="22325"/>
                  </a:lnTo>
                  <a:cubicBezTo>
                    <a:pt x="40046" y="22637"/>
                    <a:pt x="42481" y="21960"/>
                    <a:pt x="44395" y="20452"/>
                  </a:cubicBezTo>
                  <a:close/>
                </a:path>
              </a:pathLst>
            </a:custGeom>
            <a:solidFill>
              <a:srgbClr val="050505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" name="Freeform 179">
              <a:extLst>
                <a:ext uri="{FF2B5EF4-FFF2-40B4-BE49-F238E27FC236}">
                  <a16:creationId xmlns:a16="http://schemas.microsoft.com/office/drawing/2014/main" id="{988F735B-8BCD-0041-B6B4-938D26F81829}"/>
                </a:ext>
              </a:extLst>
            </p:cNvPr>
            <p:cNvSpPr/>
            <p:nvPr/>
          </p:nvSpPr>
          <p:spPr>
            <a:xfrm>
              <a:off x="10311077" y="3729096"/>
              <a:ext cx="367993" cy="340724"/>
            </a:xfrm>
            <a:custGeom>
              <a:avLst/>
              <a:gdLst>
                <a:gd name="connsiteX0" fmla="*/ 297174 w 367993"/>
                <a:gd name="connsiteY0" fmla="*/ 25958 h 340724"/>
                <a:gd name="connsiteX1" fmla="*/ 289578 w 367993"/>
                <a:gd name="connsiteY1" fmla="*/ 20338 h 340724"/>
                <a:gd name="connsiteX2" fmla="*/ 114754 w 367993"/>
                <a:gd name="connsiteY2" fmla="*/ 46 h 340724"/>
                <a:gd name="connsiteX3" fmla="*/ 105909 w 367993"/>
                <a:gd name="connsiteY3" fmla="*/ 4000 h 340724"/>
                <a:gd name="connsiteX4" fmla="*/ 1847 w 367993"/>
                <a:gd name="connsiteY4" fmla="*/ 142717 h 340724"/>
                <a:gd name="connsiteX5" fmla="*/ 702 w 367993"/>
                <a:gd name="connsiteY5" fmla="*/ 152083 h 340724"/>
                <a:gd name="connsiteX6" fmla="*/ 70528 w 367993"/>
                <a:gd name="connsiteY6" fmla="*/ 314735 h 340724"/>
                <a:gd name="connsiteX7" fmla="*/ 73546 w 367993"/>
                <a:gd name="connsiteY7" fmla="*/ 318481 h 340724"/>
                <a:gd name="connsiteX8" fmla="*/ 78020 w 367993"/>
                <a:gd name="connsiteY8" fmla="*/ 320354 h 340724"/>
                <a:gd name="connsiteX9" fmla="*/ 80413 w 367993"/>
                <a:gd name="connsiteY9" fmla="*/ 320354 h 340724"/>
                <a:gd name="connsiteX10" fmla="*/ 253260 w 367993"/>
                <a:gd name="connsiteY10" fmla="*/ 340647 h 340724"/>
                <a:gd name="connsiteX11" fmla="*/ 255653 w 367993"/>
                <a:gd name="connsiteY11" fmla="*/ 340647 h 340724"/>
                <a:gd name="connsiteX12" fmla="*/ 258047 w 367993"/>
                <a:gd name="connsiteY12" fmla="*/ 339814 h 340724"/>
                <a:gd name="connsiteX13" fmla="*/ 260024 w 367993"/>
                <a:gd name="connsiteY13" fmla="*/ 338566 h 340724"/>
                <a:gd name="connsiteX14" fmla="*/ 261585 w 367993"/>
                <a:gd name="connsiteY14" fmla="*/ 337005 h 340724"/>
                <a:gd name="connsiteX15" fmla="*/ 365647 w 367993"/>
                <a:gd name="connsiteY15" fmla="*/ 199120 h 340724"/>
                <a:gd name="connsiteX16" fmla="*/ 365647 w 367993"/>
                <a:gd name="connsiteY16" fmla="*/ 198496 h 340724"/>
                <a:gd name="connsiteX17" fmla="*/ 366167 w 367993"/>
                <a:gd name="connsiteY17" fmla="*/ 197975 h 340724"/>
                <a:gd name="connsiteX18" fmla="*/ 367207 w 367993"/>
                <a:gd name="connsiteY18" fmla="*/ 188714 h 340724"/>
                <a:gd name="connsiteX19" fmla="*/ 272927 w 367993"/>
                <a:gd name="connsiteY19" fmla="*/ 192772 h 340724"/>
                <a:gd name="connsiteX20" fmla="*/ 244727 w 367993"/>
                <a:gd name="connsiteY20" fmla="*/ 231068 h 340724"/>
                <a:gd name="connsiteX21" fmla="*/ 236090 w 367993"/>
                <a:gd name="connsiteY21" fmla="*/ 231068 h 340724"/>
                <a:gd name="connsiteX22" fmla="*/ 264603 w 367993"/>
                <a:gd name="connsiteY22" fmla="*/ 191835 h 340724"/>
                <a:gd name="connsiteX23" fmla="*/ 187077 w 367993"/>
                <a:gd name="connsiteY23" fmla="*/ 182366 h 340724"/>
                <a:gd name="connsiteX24" fmla="*/ 242854 w 367993"/>
                <a:gd name="connsiteY24" fmla="*/ 188922 h 340724"/>
                <a:gd name="connsiteX25" fmla="*/ 209970 w 367993"/>
                <a:gd name="connsiteY25" fmla="*/ 234189 h 340724"/>
                <a:gd name="connsiteX26" fmla="*/ 209138 w 367993"/>
                <a:gd name="connsiteY26" fmla="*/ 243764 h 340724"/>
                <a:gd name="connsiteX27" fmla="*/ 217255 w 367993"/>
                <a:gd name="connsiteY27" fmla="*/ 249071 h 340724"/>
                <a:gd name="connsiteX28" fmla="*/ 257318 w 367993"/>
                <a:gd name="connsiteY28" fmla="*/ 245429 h 340724"/>
                <a:gd name="connsiteX29" fmla="*/ 294364 w 367993"/>
                <a:gd name="connsiteY29" fmla="*/ 195061 h 340724"/>
                <a:gd name="connsiteX30" fmla="*/ 340256 w 367993"/>
                <a:gd name="connsiteY30" fmla="*/ 200473 h 340724"/>
                <a:gd name="connsiteX31" fmla="*/ 249618 w 367993"/>
                <a:gd name="connsiteY31" fmla="*/ 320979 h 340724"/>
                <a:gd name="connsiteX32" fmla="*/ 96439 w 367993"/>
                <a:gd name="connsiteY32" fmla="*/ 302976 h 340724"/>
                <a:gd name="connsiteX33" fmla="*/ 267621 w 367993"/>
                <a:gd name="connsiteY33" fmla="*/ 171959 h 340724"/>
                <a:gd name="connsiteX34" fmla="*/ 208201 w 367993"/>
                <a:gd name="connsiteY34" fmla="*/ 29496 h 340724"/>
                <a:gd name="connsiteX35" fmla="*/ 216735 w 367993"/>
                <a:gd name="connsiteY35" fmla="*/ 30433 h 340724"/>
                <a:gd name="connsiteX36" fmla="*/ 275633 w 367993"/>
                <a:gd name="connsiteY36" fmla="*/ 172896 h 340724"/>
                <a:gd name="connsiteX37" fmla="*/ 189886 w 367993"/>
                <a:gd name="connsiteY37" fmla="*/ 163010 h 340724"/>
                <a:gd name="connsiteX38" fmla="*/ 128594 w 367993"/>
                <a:gd name="connsiteY38" fmla="*/ 20234 h 340724"/>
                <a:gd name="connsiteX39" fmla="*/ 186869 w 367993"/>
                <a:gd name="connsiteY39" fmla="*/ 26998 h 340724"/>
                <a:gd name="connsiteX40" fmla="*/ 246288 w 367993"/>
                <a:gd name="connsiteY40" fmla="*/ 169566 h 340724"/>
                <a:gd name="connsiteX41" fmla="*/ 343377 w 367993"/>
                <a:gd name="connsiteY41" fmla="*/ 180805 h 340724"/>
                <a:gd name="connsiteX42" fmla="*/ 296966 w 367993"/>
                <a:gd name="connsiteY42" fmla="*/ 175393 h 340724"/>
                <a:gd name="connsiteX43" fmla="*/ 296966 w 367993"/>
                <a:gd name="connsiteY43" fmla="*/ 175393 h 340724"/>
                <a:gd name="connsiteX44" fmla="*/ 238171 w 367993"/>
                <a:gd name="connsiteY44" fmla="*/ 33242 h 340724"/>
                <a:gd name="connsiteX45" fmla="*/ 282189 w 367993"/>
                <a:gd name="connsiteY45" fmla="*/ 38341 h 340724"/>
                <a:gd name="connsiteX46" fmla="*/ 172300 w 367993"/>
                <a:gd name="connsiteY46" fmla="*/ 170919 h 340724"/>
                <a:gd name="connsiteX47" fmla="*/ 81142 w 367993"/>
                <a:gd name="connsiteY47" fmla="*/ 292153 h 340724"/>
                <a:gd name="connsiteX48" fmla="*/ 19954 w 367993"/>
                <a:gd name="connsiteY48" fmla="*/ 149377 h 340724"/>
                <a:gd name="connsiteX49" fmla="*/ 111216 w 367993"/>
                <a:gd name="connsiteY49" fmla="*/ 28559 h 340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367993" h="340724">
                  <a:moveTo>
                    <a:pt x="297174" y="25958"/>
                  </a:moveTo>
                  <a:cubicBezTo>
                    <a:pt x="295811" y="22877"/>
                    <a:pt x="292918" y="20744"/>
                    <a:pt x="289578" y="20338"/>
                  </a:cubicBezTo>
                  <a:lnTo>
                    <a:pt x="114754" y="46"/>
                  </a:lnTo>
                  <a:cubicBezTo>
                    <a:pt x="111309" y="-287"/>
                    <a:pt x="107948" y="1211"/>
                    <a:pt x="105909" y="4000"/>
                  </a:cubicBezTo>
                  <a:lnTo>
                    <a:pt x="1847" y="142717"/>
                  </a:lnTo>
                  <a:cubicBezTo>
                    <a:pt x="-109" y="145434"/>
                    <a:pt x="-546" y="148972"/>
                    <a:pt x="702" y="152083"/>
                  </a:cubicBezTo>
                  <a:lnTo>
                    <a:pt x="70528" y="314735"/>
                  </a:lnTo>
                  <a:cubicBezTo>
                    <a:pt x="71173" y="316233"/>
                    <a:pt x="72214" y="317534"/>
                    <a:pt x="73546" y="318481"/>
                  </a:cubicBezTo>
                  <a:cubicBezTo>
                    <a:pt x="74825" y="319522"/>
                    <a:pt x="76376" y="320167"/>
                    <a:pt x="78020" y="320354"/>
                  </a:cubicBezTo>
                  <a:cubicBezTo>
                    <a:pt x="78811" y="320459"/>
                    <a:pt x="79623" y="320459"/>
                    <a:pt x="80413" y="320354"/>
                  </a:cubicBezTo>
                  <a:lnTo>
                    <a:pt x="253260" y="340647"/>
                  </a:lnTo>
                  <a:cubicBezTo>
                    <a:pt x="254051" y="340751"/>
                    <a:pt x="254863" y="340751"/>
                    <a:pt x="255653" y="340647"/>
                  </a:cubicBezTo>
                  <a:lnTo>
                    <a:pt x="258047" y="339814"/>
                  </a:lnTo>
                  <a:cubicBezTo>
                    <a:pt x="258754" y="339471"/>
                    <a:pt x="259410" y="339055"/>
                    <a:pt x="260024" y="338566"/>
                  </a:cubicBezTo>
                  <a:cubicBezTo>
                    <a:pt x="260596" y="338097"/>
                    <a:pt x="261117" y="337577"/>
                    <a:pt x="261585" y="337005"/>
                  </a:cubicBezTo>
                  <a:lnTo>
                    <a:pt x="365647" y="199120"/>
                  </a:lnTo>
                  <a:cubicBezTo>
                    <a:pt x="365647" y="199120"/>
                    <a:pt x="365647" y="198496"/>
                    <a:pt x="365647" y="198496"/>
                  </a:cubicBezTo>
                  <a:lnTo>
                    <a:pt x="366167" y="197975"/>
                  </a:lnTo>
                  <a:cubicBezTo>
                    <a:pt x="368154" y="195301"/>
                    <a:pt x="368550" y="191763"/>
                    <a:pt x="367207" y="188714"/>
                  </a:cubicBezTo>
                  <a:close/>
                  <a:moveTo>
                    <a:pt x="272927" y="192772"/>
                  </a:moveTo>
                  <a:lnTo>
                    <a:pt x="244727" y="231068"/>
                  </a:lnTo>
                  <a:lnTo>
                    <a:pt x="236090" y="231068"/>
                  </a:lnTo>
                  <a:lnTo>
                    <a:pt x="264603" y="191835"/>
                  </a:lnTo>
                  <a:close/>
                  <a:moveTo>
                    <a:pt x="187077" y="182366"/>
                  </a:moveTo>
                  <a:lnTo>
                    <a:pt x="242854" y="188922"/>
                  </a:lnTo>
                  <a:lnTo>
                    <a:pt x="209970" y="234189"/>
                  </a:lnTo>
                  <a:cubicBezTo>
                    <a:pt x="207993" y="236999"/>
                    <a:pt x="207681" y="240652"/>
                    <a:pt x="209138" y="243764"/>
                  </a:cubicBezTo>
                  <a:cubicBezTo>
                    <a:pt x="210699" y="246854"/>
                    <a:pt x="213789" y="248883"/>
                    <a:pt x="217255" y="249071"/>
                  </a:cubicBezTo>
                  <a:cubicBezTo>
                    <a:pt x="252219" y="250319"/>
                    <a:pt x="253988" y="249799"/>
                    <a:pt x="257318" y="245429"/>
                  </a:cubicBezTo>
                  <a:lnTo>
                    <a:pt x="294364" y="195061"/>
                  </a:lnTo>
                  <a:lnTo>
                    <a:pt x="340256" y="200473"/>
                  </a:lnTo>
                  <a:lnTo>
                    <a:pt x="249618" y="320979"/>
                  </a:lnTo>
                  <a:lnTo>
                    <a:pt x="96439" y="302976"/>
                  </a:lnTo>
                  <a:close/>
                  <a:moveTo>
                    <a:pt x="267621" y="171959"/>
                  </a:moveTo>
                  <a:lnTo>
                    <a:pt x="208201" y="29496"/>
                  </a:lnTo>
                  <a:lnTo>
                    <a:pt x="216735" y="30433"/>
                  </a:lnTo>
                  <a:lnTo>
                    <a:pt x="275633" y="172896"/>
                  </a:lnTo>
                  <a:close/>
                  <a:moveTo>
                    <a:pt x="189886" y="163010"/>
                  </a:moveTo>
                  <a:lnTo>
                    <a:pt x="128594" y="20234"/>
                  </a:lnTo>
                  <a:lnTo>
                    <a:pt x="186869" y="26998"/>
                  </a:lnTo>
                  <a:lnTo>
                    <a:pt x="246288" y="169566"/>
                  </a:lnTo>
                  <a:close/>
                  <a:moveTo>
                    <a:pt x="343377" y="180805"/>
                  </a:moveTo>
                  <a:lnTo>
                    <a:pt x="296966" y="175393"/>
                  </a:lnTo>
                  <a:lnTo>
                    <a:pt x="296966" y="175393"/>
                  </a:lnTo>
                  <a:lnTo>
                    <a:pt x="238171" y="33242"/>
                  </a:lnTo>
                  <a:lnTo>
                    <a:pt x="282189" y="38341"/>
                  </a:lnTo>
                  <a:close/>
                  <a:moveTo>
                    <a:pt x="172300" y="170919"/>
                  </a:moveTo>
                  <a:lnTo>
                    <a:pt x="81142" y="292153"/>
                  </a:lnTo>
                  <a:lnTo>
                    <a:pt x="19954" y="149377"/>
                  </a:lnTo>
                  <a:lnTo>
                    <a:pt x="111216" y="28559"/>
                  </a:lnTo>
                  <a:close/>
                </a:path>
              </a:pathLst>
            </a:custGeom>
            <a:solidFill>
              <a:srgbClr val="050505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" name="Freeform 180">
              <a:extLst>
                <a:ext uri="{FF2B5EF4-FFF2-40B4-BE49-F238E27FC236}">
                  <a16:creationId xmlns:a16="http://schemas.microsoft.com/office/drawing/2014/main" id="{7DD48D53-EEF8-F642-A8E3-AA8D2850BEFF}"/>
                </a:ext>
              </a:extLst>
            </p:cNvPr>
            <p:cNvSpPr/>
            <p:nvPr/>
          </p:nvSpPr>
          <p:spPr>
            <a:xfrm>
              <a:off x="10216667" y="4102523"/>
              <a:ext cx="406360" cy="206477"/>
            </a:xfrm>
            <a:custGeom>
              <a:avLst/>
              <a:gdLst>
                <a:gd name="connsiteX0" fmla="*/ 0 w 406360"/>
                <a:gd name="connsiteY0" fmla="*/ 80025 h 206477"/>
                <a:gd name="connsiteX1" fmla="*/ 328939 w 406360"/>
                <a:gd name="connsiteY1" fmla="*/ 203757 h 206477"/>
                <a:gd name="connsiteX2" fmla="*/ 384508 w 406360"/>
                <a:gd name="connsiteY2" fmla="*/ 178469 h 206477"/>
                <a:gd name="connsiteX3" fmla="*/ 406361 w 406360"/>
                <a:gd name="connsiteY3" fmla="*/ 120506 h 206477"/>
                <a:gd name="connsiteX4" fmla="*/ 86059 w 406360"/>
                <a:gd name="connsiteY4" fmla="*/ 0 h 206477"/>
                <a:gd name="connsiteX5" fmla="*/ 31010 w 406360"/>
                <a:gd name="connsiteY5" fmla="*/ 52968 h 206477"/>
                <a:gd name="connsiteX6" fmla="*/ 0 w 406360"/>
                <a:gd name="connsiteY6" fmla="*/ 80025 h 206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6360" h="206477">
                  <a:moveTo>
                    <a:pt x="0" y="80025"/>
                  </a:moveTo>
                  <a:lnTo>
                    <a:pt x="328939" y="203757"/>
                  </a:lnTo>
                  <a:cubicBezTo>
                    <a:pt x="351260" y="212051"/>
                    <a:pt x="376089" y="200749"/>
                    <a:pt x="384508" y="178469"/>
                  </a:cubicBezTo>
                  <a:lnTo>
                    <a:pt x="406361" y="120506"/>
                  </a:lnTo>
                  <a:lnTo>
                    <a:pt x="86059" y="0"/>
                  </a:lnTo>
                  <a:cubicBezTo>
                    <a:pt x="69680" y="19595"/>
                    <a:pt x="51219" y="37348"/>
                    <a:pt x="31010" y="52968"/>
                  </a:cubicBezTo>
                  <a:cubicBezTo>
                    <a:pt x="20084" y="62022"/>
                    <a:pt x="9157" y="71180"/>
                    <a:pt x="0" y="80025"/>
                  </a:cubicBezTo>
                  <a:close/>
                </a:path>
              </a:pathLst>
            </a:custGeom>
            <a:noFill/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2" name="Freeform 181">
              <a:extLst>
                <a:ext uri="{FF2B5EF4-FFF2-40B4-BE49-F238E27FC236}">
                  <a16:creationId xmlns:a16="http://schemas.microsoft.com/office/drawing/2014/main" id="{CBFB4C53-FC1C-4F43-A473-A641E2BC6B3C}"/>
                </a:ext>
              </a:extLst>
            </p:cNvPr>
            <p:cNvSpPr/>
            <p:nvPr/>
          </p:nvSpPr>
          <p:spPr>
            <a:xfrm>
              <a:off x="10238104" y="3567843"/>
              <a:ext cx="573067" cy="635101"/>
            </a:xfrm>
            <a:custGeom>
              <a:avLst/>
              <a:gdLst>
                <a:gd name="connsiteX0" fmla="*/ 79503 w 573067"/>
                <a:gd name="connsiteY0" fmla="*/ 497321 h 635101"/>
                <a:gd name="connsiteX1" fmla="*/ 75549 w 573067"/>
                <a:gd name="connsiteY1" fmla="*/ 515949 h 635101"/>
                <a:gd name="connsiteX2" fmla="*/ 392313 w 573067"/>
                <a:gd name="connsiteY2" fmla="*/ 635102 h 635101"/>
                <a:gd name="connsiteX3" fmla="*/ 514898 w 573067"/>
                <a:gd name="connsiteY3" fmla="*/ 308861 h 635101"/>
                <a:gd name="connsiteX4" fmla="*/ 456518 w 573067"/>
                <a:gd name="connsiteY4" fmla="*/ 304595 h 635101"/>
                <a:gd name="connsiteX5" fmla="*/ 451628 w 573067"/>
                <a:gd name="connsiteY5" fmla="*/ 302722 h 635101"/>
                <a:gd name="connsiteX6" fmla="*/ 448922 w 573067"/>
                <a:gd name="connsiteY6" fmla="*/ 299392 h 635101"/>
                <a:gd name="connsiteX7" fmla="*/ 447985 w 573067"/>
                <a:gd name="connsiteY7" fmla="*/ 294605 h 635101"/>
                <a:gd name="connsiteX8" fmla="*/ 451108 w 573067"/>
                <a:gd name="connsiteY8" fmla="*/ 288257 h 635101"/>
                <a:gd name="connsiteX9" fmla="*/ 457871 w 573067"/>
                <a:gd name="connsiteY9" fmla="*/ 285968 h 635101"/>
                <a:gd name="connsiteX10" fmla="*/ 521765 w 573067"/>
                <a:gd name="connsiteY10" fmla="*/ 290754 h 635101"/>
                <a:gd name="connsiteX11" fmla="*/ 573068 w 573067"/>
                <a:gd name="connsiteY11" fmla="*/ 154327 h 635101"/>
                <a:gd name="connsiteX12" fmla="*/ 163377 w 573067"/>
                <a:gd name="connsiteY12" fmla="*/ 0 h 635101"/>
                <a:gd name="connsiteX13" fmla="*/ 0 w 573067"/>
                <a:gd name="connsiteY13" fmla="*/ 433426 h 635101"/>
                <a:gd name="connsiteX14" fmla="*/ 60564 w 573067"/>
                <a:gd name="connsiteY14" fmla="*/ 461211 h 635101"/>
                <a:gd name="connsiteX15" fmla="*/ 79503 w 573067"/>
                <a:gd name="connsiteY15" fmla="*/ 497321 h 635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73067" h="635101">
                  <a:moveTo>
                    <a:pt x="79503" y="497321"/>
                  </a:moveTo>
                  <a:cubicBezTo>
                    <a:pt x="79399" y="503732"/>
                    <a:pt x="78057" y="510059"/>
                    <a:pt x="75549" y="515949"/>
                  </a:cubicBezTo>
                  <a:lnTo>
                    <a:pt x="392313" y="635102"/>
                  </a:lnTo>
                  <a:lnTo>
                    <a:pt x="514898" y="308861"/>
                  </a:lnTo>
                  <a:lnTo>
                    <a:pt x="456518" y="304595"/>
                  </a:lnTo>
                  <a:cubicBezTo>
                    <a:pt x="454760" y="304397"/>
                    <a:pt x="453074" y="303752"/>
                    <a:pt x="451628" y="302722"/>
                  </a:cubicBezTo>
                  <a:cubicBezTo>
                    <a:pt x="450462" y="301858"/>
                    <a:pt x="449526" y="300713"/>
                    <a:pt x="448922" y="299392"/>
                  </a:cubicBezTo>
                  <a:cubicBezTo>
                    <a:pt x="448110" y="297935"/>
                    <a:pt x="447778" y="296259"/>
                    <a:pt x="447985" y="294605"/>
                  </a:cubicBezTo>
                  <a:cubicBezTo>
                    <a:pt x="448089" y="292138"/>
                    <a:pt x="449224" y="289839"/>
                    <a:pt x="451108" y="288257"/>
                  </a:cubicBezTo>
                  <a:cubicBezTo>
                    <a:pt x="452960" y="286623"/>
                    <a:pt x="455405" y="285791"/>
                    <a:pt x="457871" y="285968"/>
                  </a:cubicBezTo>
                  <a:lnTo>
                    <a:pt x="521765" y="290754"/>
                  </a:lnTo>
                  <a:lnTo>
                    <a:pt x="573068" y="154327"/>
                  </a:lnTo>
                  <a:lnTo>
                    <a:pt x="163377" y="0"/>
                  </a:lnTo>
                  <a:lnTo>
                    <a:pt x="0" y="433426"/>
                  </a:lnTo>
                  <a:cubicBezTo>
                    <a:pt x="22176" y="437547"/>
                    <a:pt x="42978" y="447090"/>
                    <a:pt x="60564" y="461211"/>
                  </a:cubicBezTo>
                  <a:cubicBezTo>
                    <a:pt x="72094" y="469692"/>
                    <a:pt x="79087" y="483013"/>
                    <a:pt x="79503" y="497321"/>
                  </a:cubicBezTo>
                  <a:close/>
                </a:path>
              </a:pathLst>
            </a:custGeom>
            <a:noFill/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" name="Freeform 182">
              <a:extLst>
                <a:ext uri="{FF2B5EF4-FFF2-40B4-BE49-F238E27FC236}">
                  <a16:creationId xmlns:a16="http://schemas.microsoft.com/office/drawing/2014/main" id="{8E17BC5A-1438-3644-818A-4CAA473AAFF9}"/>
                </a:ext>
              </a:extLst>
            </p:cNvPr>
            <p:cNvSpPr/>
            <p:nvPr/>
          </p:nvSpPr>
          <p:spPr>
            <a:xfrm>
              <a:off x="10227697" y="4001477"/>
              <a:ext cx="89909" cy="82522"/>
            </a:xfrm>
            <a:custGeom>
              <a:avLst/>
              <a:gdLst>
                <a:gd name="connsiteX0" fmla="*/ 52759 w 89909"/>
                <a:gd name="connsiteY0" fmla="*/ 49638 h 82522"/>
                <a:gd name="connsiteX1" fmla="*/ 61188 w 89909"/>
                <a:gd name="connsiteY1" fmla="*/ 63687 h 82522"/>
                <a:gd name="connsiteX2" fmla="*/ 59211 w 89909"/>
                <a:gd name="connsiteY2" fmla="*/ 72116 h 82522"/>
                <a:gd name="connsiteX3" fmla="*/ 85955 w 89909"/>
                <a:gd name="connsiteY3" fmla="*/ 82523 h 82522"/>
                <a:gd name="connsiteX4" fmla="*/ 89909 w 89909"/>
                <a:gd name="connsiteY4" fmla="*/ 63895 h 82522"/>
                <a:gd name="connsiteX5" fmla="*/ 70970 w 89909"/>
                <a:gd name="connsiteY5" fmla="*/ 27785 h 82522"/>
                <a:gd name="connsiteX6" fmla="*/ 10406 w 89909"/>
                <a:gd name="connsiteY6" fmla="*/ 0 h 82522"/>
                <a:gd name="connsiteX7" fmla="*/ 0 w 89909"/>
                <a:gd name="connsiteY7" fmla="*/ 27369 h 82522"/>
                <a:gd name="connsiteX8" fmla="*/ 52759 w 89909"/>
                <a:gd name="connsiteY8" fmla="*/ 49638 h 82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9909" h="82522">
                  <a:moveTo>
                    <a:pt x="52759" y="49638"/>
                  </a:moveTo>
                  <a:cubicBezTo>
                    <a:pt x="60356" y="55882"/>
                    <a:pt x="61188" y="60669"/>
                    <a:pt x="61188" y="63687"/>
                  </a:cubicBezTo>
                  <a:cubicBezTo>
                    <a:pt x="61084" y="66601"/>
                    <a:pt x="60408" y="69463"/>
                    <a:pt x="59211" y="72116"/>
                  </a:cubicBezTo>
                  <a:lnTo>
                    <a:pt x="85955" y="82523"/>
                  </a:lnTo>
                  <a:cubicBezTo>
                    <a:pt x="88463" y="76632"/>
                    <a:pt x="89805" y="70305"/>
                    <a:pt x="89909" y="63895"/>
                  </a:cubicBezTo>
                  <a:cubicBezTo>
                    <a:pt x="89493" y="49586"/>
                    <a:pt x="82500" y="36266"/>
                    <a:pt x="70970" y="27785"/>
                  </a:cubicBezTo>
                  <a:cubicBezTo>
                    <a:pt x="53384" y="13663"/>
                    <a:pt x="32582" y="4121"/>
                    <a:pt x="10406" y="0"/>
                  </a:cubicBezTo>
                  <a:lnTo>
                    <a:pt x="0" y="27369"/>
                  </a:lnTo>
                  <a:cubicBezTo>
                    <a:pt x="19241" y="30022"/>
                    <a:pt x="37442" y="37702"/>
                    <a:pt x="52759" y="49638"/>
                  </a:cubicBezTo>
                  <a:close/>
                </a:path>
              </a:pathLst>
            </a:custGeom>
            <a:solidFill>
              <a:srgbClr val="231F2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" name="Freeform 183">
              <a:extLst>
                <a:ext uri="{FF2B5EF4-FFF2-40B4-BE49-F238E27FC236}">
                  <a16:creationId xmlns:a16="http://schemas.microsoft.com/office/drawing/2014/main" id="{F072ACDC-2EEB-FB49-9F33-1D6F3C339742}"/>
                </a:ext>
              </a:extLst>
            </p:cNvPr>
            <p:cNvSpPr/>
            <p:nvPr/>
          </p:nvSpPr>
          <p:spPr>
            <a:xfrm>
              <a:off x="10697744" y="4016566"/>
              <a:ext cx="46515" cy="68265"/>
            </a:xfrm>
            <a:custGeom>
              <a:avLst/>
              <a:gdLst>
                <a:gd name="connsiteX0" fmla="*/ 46516 w 46515"/>
                <a:gd name="connsiteY0" fmla="*/ 8950 h 68265"/>
                <a:gd name="connsiteX1" fmla="*/ 25704 w 46515"/>
                <a:gd name="connsiteY1" fmla="*/ 0 h 68265"/>
                <a:gd name="connsiteX2" fmla="*/ 0 w 46515"/>
                <a:gd name="connsiteY2" fmla="*/ 68266 h 68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515" h="68265">
                  <a:moveTo>
                    <a:pt x="46516" y="8950"/>
                  </a:moveTo>
                  <a:cubicBezTo>
                    <a:pt x="39804" y="5474"/>
                    <a:pt x="32842" y="2487"/>
                    <a:pt x="25704" y="0"/>
                  </a:cubicBezTo>
                  <a:lnTo>
                    <a:pt x="0" y="68266"/>
                  </a:lnTo>
                  <a:close/>
                </a:path>
              </a:pathLst>
            </a:custGeom>
            <a:noFill/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" name="Freeform 184">
              <a:extLst>
                <a:ext uri="{FF2B5EF4-FFF2-40B4-BE49-F238E27FC236}">
                  <a16:creationId xmlns:a16="http://schemas.microsoft.com/office/drawing/2014/main" id="{0E0F039C-6552-BC41-992E-6A0BA32032C2}"/>
                </a:ext>
              </a:extLst>
            </p:cNvPr>
            <p:cNvSpPr/>
            <p:nvPr/>
          </p:nvSpPr>
          <p:spPr>
            <a:xfrm>
              <a:off x="10273946" y="4315230"/>
              <a:ext cx="261357" cy="149638"/>
            </a:xfrm>
            <a:custGeom>
              <a:avLst/>
              <a:gdLst>
                <a:gd name="connsiteX0" fmla="*/ 228058 w 261357"/>
                <a:gd name="connsiteY0" fmla="*/ 4891 h 149638"/>
                <a:gd name="connsiteX1" fmla="*/ 7551 w 261357"/>
                <a:gd name="connsiteY1" fmla="*/ 122587 h 149638"/>
                <a:gd name="connsiteX2" fmla="*/ 1724 w 261357"/>
                <a:gd name="connsiteY2" fmla="*/ 142037 h 149638"/>
                <a:gd name="connsiteX3" fmla="*/ 1724 w 261357"/>
                <a:gd name="connsiteY3" fmla="*/ 142047 h 149638"/>
                <a:gd name="connsiteX4" fmla="*/ 21080 w 261357"/>
                <a:gd name="connsiteY4" fmla="*/ 147979 h 149638"/>
                <a:gd name="connsiteX5" fmla="*/ 243876 w 261357"/>
                <a:gd name="connsiteY5" fmla="*/ 28930 h 149638"/>
                <a:gd name="connsiteX6" fmla="*/ 247934 w 261357"/>
                <a:gd name="connsiteY6" fmla="*/ 25704 h 149638"/>
                <a:gd name="connsiteX7" fmla="*/ 261358 w 261357"/>
                <a:gd name="connsiteY7" fmla="*/ 10406 h 149638"/>
                <a:gd name="connsiteX8" fmla="*/ 232741 w 261357"/>
                <a:gd name="connsiteY8" fmla="*/ 0 h 149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1357" h="149638">
                  <a:moveTo>
                    <a:pt x="228058" y="4891"/>
                  </a:moveTo>
                  <a:lnTo>
                    <a:pt x="7551" y="122587"/>
                  </a:lnTo>
                  <a:cubicBezTo>
                    <a:pt x="569" y="126354"/>
                    <a:pt x="-2043" y="135054"/>
                    <a:pt x="1724" y="142037"/>
                  </a:cubicBezTo>
                  <a:cubicBezTo>
                    <a:pt x="1724" y="142047"/>
                    <a:pt x="1724" y="142047"/>
                    <a:pt x="1724" y="142047"/>
                  </a:cubicBezTo>
                  <a:cubicBezTo>
                    <a:pt x="5450" y="149009"/>
                    <a:pt x="14097" y="151663"/>
                    <a:pt x="21080" y="147979"/>
                  </a:cubicBezTo>
                  <a:lnTo>
                    <a:pt x="243876" y="28930"/>
                  </a:lnTo>
                  <a:cubicBezTo>
                    <a:pt x="245426" y="28128"/>
                    <a:pt x="246800" y="27036"/>
                    <a:pt x="247934" y="25704"/>
                  </a:cubicBezTo>
                  <a:lnTo>
                    <a:pt x="261358" y="10406"/>
                  </a:lnTo>
                  <a:lnTo>
                    <a:pt x="232741" y="0"/>
                  </a:lnTo>
                  <a:close/>
                </a:path>
              </a:pathLst>
            </a:custGeom>
            <a:solidFill>
              <a:srgbClr val="231F2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" name="Freeform 185">
              <a:extLst>
                <a:ext uri="{FF2B5EF4-FFF2-40B4-BE49-F238E27FC236}">
                  <a16:creationId xmlns:a16="http://schemas.microsoft.com/office/drawing/2014/main" id="{1D8F45B3-201A-604A-950B-8E7B9F2A4231}"/>
                </a:ext>
              </a:extLst>
            </p:cNvPr>
            <p:cNvSpPr/>
            <p:nvPr/>
          </p:nvSpPr>
          <p:spPr>
            <a:xfrm>
              <a:off x="10664132" y="3989302"/>
              <a:ext cx="115833" cy="186690"/>
            </a:xfrm>
            <a:custGeom>
              <a:avLst/>
              <a:gdLst>
                <a:gd name="connsiteX0" fmla="*/ 80128 w 115833"/>
                <a:gd name="connsiteY0" fmla="*/ 36214 h 186690"/>
                <a:gd name="connsiteX1" fmla="*/ 34133 w 115833"/>
                <a:gd name="connsiteY1" fmla="*/ 95531 h 186690"/>
                <a:gd name="connsiteX2" fmla="*/ 0 w 115833"/>
                <a:gd name="connsiteY2" fmla="*/ 186691 h 186690"/>
                <a:gd name="connsiteX3" fmla="*/ 112699 w 115833"/>
                <a:gd name="connsiteY3" fmla="*/ 41001 h 186690"/>
                <a:gd name="connsiteX4" fmla="*/ 110430 w 115833"/>
                <a:gd name="connsiteY4" fmla="*/ 20823 h 186690"/>
                <a:gd name="connsiteX5" fmla="*/ 109577 w 115833"/>
                <a:gd name="connsiteY5" fmla="*/ 20188 h 186690"/>
                <a:gd name="connsiteX6" fmla="*/ 69930 w 115833"/>
                <a:gd name="connsiteY6" fmla="*/ 0 h 186690"/>
                <a:gd name="connsiteX7" fmla="*/ 59524 w 115833"/>
                <a:gd name="connsiteY7" fmla="*/ 26953 h 186690"/>
                <a:gd name="connsiteX8" fmla="*/ 80128 w 115833"/>
                <a:gd name="connsiteY8" fmla="*/ 36214 h 186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5833" h="186690">
                  <a:moveTo>
                    <a:pt x="80128" y="36214"/>
                  </a:moveTo>
                  <a:lnTo>
                    <a:pt x="34133" y="95531"/>
                  </a:lnTo>
                  <a:lnTo>
                    <a:pt x="0" y="186691"/>
                  </a:lnTo>
                  <a:lnTo>
                    <a:pt x="112699" y="41001"/>
                  </a:lnTo>
                  <a:cubicBezTo>
                    <a:pt x="117642" y="34799"/>
                    <a:pt x="116632" y="25766"/>
                    <a:pt x="110430" y="20823"/>
                  </a:cubicBezTo>
                  <a:cubicBezTo>
                    <a:pt x="110149" y="20594"/>
                    <a:pt x="109868" y="20386"/>
                    <a:pt x="109577" y="20188"/>
                  </a:cubicBezTo>
                  <a:cubicBezTo>
                    <a:pt x="97308" y="11738"/>
                    <a:pt x="83978" y="4954"/>
                    <a:pt x="69930" y="0"/>
                  </a:cubicBezTo>
                  <a:lnTo>
                    <a:pt x="59524" y="26953"/>
                  </a:lnTo>
                  <a:cubicBezTo>
                    <a:pt x="66600" y="29544"/>
                    <a:pt x="73488" y="32645"/>
                    <a:pt x="80128" y="36214"/>
                  </a:cubicBezTo>
                  <a:close/>
                </a:path>
              </a:pathLst>
            </a:custGeom>
            <a:solidFill>
              <a:srgbClr val="231F20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7" name="Freeform 186">
              <a:extLst>
                <a:ext uri="{FF2B5EF4-FFF2-40B4-BE49-F238E27FC236}">
                  <a16:creationId xmlns:a16="http://schemas.microsoft.com/office/drawing/2014/main" id="{27B531CB-C4E3-A64B-A288-A375A61B5ECB}"/>
                </a:ext>
              </a:extLst>
            </p:cNvPr>
            <p:cNvSpPr/>
            <p:nvPr/>
          </p:nvSpPr>
          <p:spPr>
            <a:xfrm>
              <a:off x="10010898" y="3997554"/>
              <a:ext cx="204936" cy="339956"/>
            </a:xfrm>
            <a:custGeom>
              <a:avLst/>
              <a:gdLst>
                <a:gd name="connsiteX0" fmla="*/ 135319 w 204936"/>
                <a:gd name="connsiteY0" fmla="*/ 6837 h 339956"/>
                <a:gd name="connsiteX1" fmla="*/ 125954 w 204936"/>
                <a:gd name="connsiteY1" fmla="*/ 15266 h 339956"/>
                <a:gd name="connsiteX2" fmla="*/ 1080 w 204936"/>
                <a:gd name="connsiteY2" fmla="*/ 320173 h 339956"/>
                <a:gd name="connsiteX3" fmla="*/ 8885 w 204936"/>
                <a:gd name="connsiteY3" fmla="*/ 338905 h 339956"/>
                <a:gd name="connsiteX4" fmla="*/ 16377 w 204936"/>
                <a:gd name="connsiteY4" fmla="*/ 339841 h 339956"/>
                <a:gd name="connsiteX5" fmla="*/ 27616 w 204936"/>
                <a:gd name="connsiteY5" fmla="*/ 330996 h 339956"/>
                <a:gd name="connsiteX6" fmla="*/ 149680 w 204936"/>
                <a:gd name="connsiteY6" fmla="*/ 32749 h 339956"/>
                <a:gd name="connsiteX7" fmla="*/ 194530 w 204936"/>
                <a:gd name="connsiteY7" fmla="*/ 28690 h 339956"/>
                <a:gd name="connsiteX8" fmla="*/ 204937 w 204936"/>
                <a:gd name="connsiteY8" fmla="*/ 489 h 339956"/>
                <a:gd name="connsiteX9" fmla="*/ 135319 w 204936"/>
                <a:gd name="connsiteY9" fmla="*/ 6837 h 339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4936" h="339956">
                  <a:moveTo>
                    <a:pt x="135319" y="6837"/>
                  </a:moveTo>
                  <a:cubicBezTo>
                    <a:pt x="131084" y="8086"/>
                    <a:pt x="127640" y="11187"/>
                    <a:pt x="125954" y="15266"/>
                  </a:cubicBezTo>
                  <a:lnTo>
                    <a:pt x="1080" y="320173"/>
                  </a:lnTo>
                  <a:cubicBezTo>
                    <a:pt x="-1927" y="327499"/>
                    <a:pt x="1559" y="335887"/>
                    <a:pt x="8885" y="338905"/>
                  </a:cubicBezTo>
                  <a:cubicBezTo>
                    <a:pt x="11268" y="339831"/>
                    <a:pt x="13838" y="340153"/>
                    <a:pt x="16377" y="339841"/>
                  </a:cubicBezTo>
                  <a:cubicBezTo>
                    <a:pt x="21414" y="339061"/>
                    <a:pt x="25670" y="335710"/>
                    <a:pt x="27616" y="330996"/>
                  </a:cubicBezTo>
                  <a:lnTo>
                    <a:pt x="149680" y="32749"/>
                  </a:lnTo>
                  <a:cubicBezTo>
                    <a:pt x="164426" y="29679"/>
                    <a:pt x="179473" y="28316"/>
                    <a:pt x="194530" y="28690"/>
                  </a:cubicBezTo>
                  <a:lnTo>
                    <a:pt x="204937" y="489"/>
                  </a:lnTo>
                  <a:cubicBezTo>
                    <a:pt x="181544" y="-1062"/>
                    <a:pt x="158047" y="1082"/>
                    <a:pt x="135319" y="6837"/>
                  </a:cubicBezTo>
                  <a:close/>
                </a:path>
              </a:pathLst>
            </a:custGeom>
            <a:solidFill>
              <a:srgbClr val="050505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8" name="Freeform 187">
              <a:extLst>
                <a:ext uri="{FF2B5EF4-FFF2-40B4-BE49-F238E27FC236}">
                  <a16:creationId xmlns:a16="http://schemas.microsoft.com/office/drawing/2014/main" id="{063F3B33-9E06-6247-B65C-145C82B206A3}"/>
                </a:ext>
              </a:extLst>
            </p:cNvPr>
            <p:cNvSpPr/>
            <p:nvPr/>
          </p:nvSpPr>
          <p:spPr>
            <a:xfrm>
              <a:off x="10653518" y="4011259"/>
              <a:ext cx="70449" cy="131848"/>
            </a:xfrm>
            <a:custGeom>
              <a:avLst/>
              <a:gdLst>
                <a:gd name="connsiteX0" fmla="*/ 44747 w 70449"/>
                <a:gd name="connsiteY0" fmla="*/ 73573 h 131848"/>
                <a:gd name="connsiteX1" fmla="*/ 70450 w 70449"/>
                <a:gd name="connsiteY1" fmla="*/ 5307 h 131848"/>
                <a:gd name="connsiteX2" fmla="*/ 49638 w 70449"/>
                <a:gd name="connsiteY2" fmla="*/ 0 h 131848"/>
                <a:gd name="connsiteX3" fmla="*/ 0 w 70449"/>
                <a:gd name="connsiteY3" fmla="*/ 131849 h 131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449" h="131848">
                  <a:moveTo>
                    <a:pt x="44747" y="73573"/>
                  </a:moveTo>
                  <a:lnTo>
                    <a:pt x="70450" y="5307"/>
                  </a:lnTo>
                  <a:cubicBezTo>
                    <a:pt x="63717" y="2810"/>
                    <a:pt x="56745" y="1030"/>
                    <a:pt x="49638" y="0"/>
                  </a:cubicBezTo>
                  <a:lnTo>
                    <a:pt x="0" y="131849"/>
                  </a:lnTo>
                  <a:close/>
                </a:path>
              </a:pathLst>
            </a:custGeom>
            <a:solidFill>
              <a:srgbClr val="050505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9" name="Freeform 188">
              <a:extLst>
                <a:ext uri="{FF2B5EF4-FFF2-40B4-BE49-F238E27FC236}">
                  <a16:creationId xmlns:a16="http://schemas.microsoft.com/office/drawing/2014/main" id="{644CA455-D677-F348-97AB-B28FC9C294A9}"/>
                </a:ext>
              </a:extLst>
            </p:cNvPr>
            <p:cNvSpPr/>
            <p:nvPr/>
          </p:nvSpPr>
          <p:spPr>
            <a:xfrm>
              <a:off x="10155981" y="4092117"/>
              <a:ext cx="365899" cy="223008"/>
            </a:xfrm>
            <a:custGeom>
              <a:avLst/>
              <a:gdLst>
                <a:gd name="connsiteX0" fmla="*/ 60686 w 365899"/>
                <a:gd name="connsiteY0" fmla="*/ 90432 h 223008"/>
                <a:gd name="connsiteX1" fmla="*/ 91904 w 365899"/>
                <a:gd name="connsiteY1" fmla="*/ 63375 h 223008"/>
                <a:gd name="connsiteX2" fmla="*/ 146954 w 365899"/>
                <a:gd name="connsiteY2" fmla="*/ 10406 h 223008"/>
                <a:gd name="connsiteX3" fmla="*/ 118753 w 365899"/>
                <a:gd name="connsiteY3" fmla="*/ 0 h 223008"/>
                <a:gd name="connsiteX4" fmla="*/ 73485 w 365899"/>
                <a:gd name="connsiteY4" fmla="*/ 41626 h 223008"/>
                <a:gd name="connsiteX5" fmla="*/ 38729 w 365899"/>
                <a:gd name="connsiteY5" fmla="*/ 72220 h 223008"/>
                <a:gd name="connsiteX6" fmla="*/ 23536 w 365899"/>
                <a:gd name="connsiteY6" fmla="*/ 88871 h 223008"/>
                <a:gd name="connsiteX7" fmla="*/ 18333 w 365899"/>
                <a:gd name="connsiteY7" fmla="*/ 96467 h 223008"/>
                <a:gd name="connsiteX8" fmla="*/ 7927 w 365899"/>
                <a:gd name="connsiteY8" fmla="*/ 202196 h 223008"/>
                <a:gd name="connsiteX9" fmla="*/ 27386 w 365899"/>
                <a:gd name="connsiteY9" fmla="*/ 207992 h 223008"/>
                <a:gd name="connsiteX10" fmla="*/ 34046 w 365899"/>
                <a:gd name="connsiteY10" fmla="*/ 190437 h 223008"/>
                <a:gd name="connsiteX11" fmla="*/ 42371 w 365899"/>
                <a:gd name="connsiteY11" fmla="*/ 111556 h 223008"/>
                <a:gd name="connsiteX12" fmla="*/ 45181 w 365899"/>
                <a:gd name="connsiteY12" fmla="*/ 107602 h 223008"/>
                <a:gd name="connsiteX13" fmla="*/ 52361 w 365899"/>
                <a:gd name="connsiteY13" fmla="*/ 110932 h 223008"/>
                <a:gd name="connsiteX14" fmla="*/ 350602 w 365899"/>
                <a:gd name="connsiteY14" fmla="*/ 223009 h 223008"/>
                <a:gd name="connsiteX15" fmla="*/ 365899 w 365899"/>
                <a:gd name="connsiteY15" fmla="*/ 205526 h 223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65899" h="223008">
                  <a:moveTo>
                    <a:pt x="60686" y="90432"/>
                  </a:moveTo>
                  <a:cubicBezTo>
                    <a:pt x="69843" y="81586"/>
                    <a:pt x="80770" y="72428"/>
                    <a:pt x="91904" y="63375"/>
                  </a:cubicBezTo>
                  <a:cubicBezTo>
                    <a:pt x="112113" y="47755"/>
                    <a:pt x="130574" y="30002"/>
                    <a:pt x="146954" y="10406"/>
                  </a:cubicBezTo>
                  <a:lnTo>
                    <a:pt x="118753" y="0"/>
                  </a:lnTo>
                  <a:cubicBezTo>
                    <a:pt x="104684" y="14944"/>
                    <a:pt x="89553" y="28847"/>
                    <a:pt x="73485" y="41626"/>
                  </a:cubicBezTo>
                  <a:cubicBezTo>
                    <a:pt x="60998" y="52032"/>
                    <a:pt x="48927" y="62438"/>
                    <a:pt x="38729" y="72220"/>
                  </a:cubicBezTo>
                  <a:cubicBezTo>
                    <a:pt x="33297" y="77424"/>
                    <a:pt x="28219" y="82991"/>
                    <a:pt x="23536" y="88871"/>
                  </a:cubicBezTo>
                  <a:cubicBezTo>
                    <a:pt x="21663" y="91472"/>
                    <a:pt x="19894" y="93970"/>
                    <a:pt x="18333" y="96467"/>
                  </a:cubicBezTo>
                  <a:cubicBezTo>
                    <a:pt x="-1689" y="128071"/>
                    <a:pt x="-5549" y="167293"/>
                    <a:pt x="7927" y="202196"/>
                  </a:cubicBezTo>
                  <a:cubicBezTo>
                    <a:pt x="11704" y="209168"/>
                    <a:pt x="20414" y="211770"/>
                    <a:pt x="27386" y="207992"/>
                  </a:cubicBezTo>
                  <a:cubicBezTo>
                    <a:pt x="33651" y="204600"/>
                    <a:pt x="36492" y="197128"/>
                    <a:pt x="34046" y="190437"/>
                  </a:cubicBezTo>
                  <a:cubicBezTo>
                    <a:pt x="24411" y="164275"/>
                    <a:pt x="27490" y="135127"/>
                    <a:pt x="42371" y="111556"/>
                  </a:cubicBezTo>
                  <a:cubicBezTo>
                    <a:pt x="43235" y="110193"/>
                    <a:pt x="44172" y="108872"/>
                    <a:pt x="45181" y="107602"/>
                  </a:cubicBezTo>
                  <a:cubicBezTo>
                    <a:pt x="47491" y="108882"/>
                    <a:pt x="49895" y="109996"/>
                    <a:pt x="52361" y="110932"/>
                  </a:cubicBezTo>
                  <a:lnTo>
                    <a:pt x="350602" y="223009"/>
                  </a:lnTo>
                  <a:lnTo>
                    <a:pt x="365899" y="205526"/>
                  </a:lnTo>
                  <a:close/>
                </a:path>
              </a:pathLst>
            </a:custGeom>
            <a:solidFill>
              <a:srgbClr val="050505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0" name="Freeform 189">
              <a:extLst>
                <a:ext uri="{FF2B5EF4-FFF2-40B4-BE49-F238E27FC236}">
                  <a16:creationId xmlns:a16="http://schemas.microsoft.com/office/drawing/2014/main" id="{64D3A684-7C5F-DC42-8A9E-1D224C9B9061}"/>
                </a:ext>
              </a:extLst>
            </p:cNvPr>
            <p:cNvSpPr/>
            <p:nvPr/>
          </p:nvSpPr>
          <p:spPr>
            <a:xfrm>
              <a:off x="10535304" y="4175992"/>
              <a:ext cx="128828" cy="154693"/>
            </a:xfrm>
            <a:custGeom>
              <a:avLst/>
              <a:gdLst>
                <a:gd name="connsiteX0" fmla="*/ 86163 w 128828"/>
                <a:gd name="connsiteY0" fmla="*/ 51095 h 154693"/>
                <a:gd name="connsiteX1" fmla="*/ 65871 w 128828"/>
                <a:gd name="connsiteY1" fmla="*/ 105000 h 154693"/>
                <a:gd name="connsiteX2" fmla="*/ 15713 w 128828"/>
                <a:gd name="connsiteY2" fmla="*/ 131641 h 154693"/>
                <a:gd name="connsiteX3" fmla="*/ 0 w 128828"/>
                <a:gd name="connsiteY3" fmla="*/ 149644 h 154693"/>
                <a:gd name="connsiteX4" fmla="*/ 2602 w 128828"/>
                <a:gd name="connsiteY4" fmla="*/ 150685 h 154693"/>
                <a:gd name="connsiteX5" fmla="*/ 85851 w 128828"/>
                <a:gd name="connsiteY5" fmla="*/ 112701 h 154693"/>
                <a:gd name="connsiteX6" fmla="*/ 128828 w 128828"/>
                <a:gd name="connsiteY6" fmla="*/ 0 h 154693"/>
                <a:gd name="connsiteX7" fmla="*/ 110409 w 128828"/>
                <a:gd name="connsiteY7" fmla="*/ 23831 h 154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8828" h="154693">
                  <a:moveTo>
                    <a:pt x="86163" y="51095"/>
                  </a:moveTo>
                  <a:lnTo>
                    <a:pt x="65871" y="105000"/>
                  </a:lnTo>
                  <a:cubicBezTo>
                    <a:pt x="58233" y="125241"/>
                    <a:pt x="36755" y="136646"/>
                    <a:pt x="15713" y="131641"/>
                  </a:cubicBezTo>
                  <a:lnTo>
                    <a:pt x="0" y="149644"/>
                  </a:lnTo>
                  <a:lnTo>
                    <a:pt x="2602" y="150685"/>
                  </a:lnTo>
                  <a:cubicBezTo>
                    <a:pt x="36068" y="162985"/>
                    <a:pt x="73208" y="146043"/>
                    <a:pt x="85851" y="112701"/>
                  </a:cubicBezTo>
                  <a:lnTo>
                    <a:pt x="128828" y="0"/>
                  </a:lnTo>
                  <a:lnTo>
                    <a:pt x="110409" y="23831"/>
                  </a:lnTo>
                  <a:close/>
                </a:path>
              </a:pathLst>
            </a:custGeom>
            <a:solidFill>
              <a:srgbClr val="050505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1" name="Freeform 190">
              <a:extLst>
                <a:ext uri="{FF2B5EF4-FFF2-40B4-BE49-F238E27FC236}">
                  <a16:creationId xmlns:a16="http://schemas.microsoft.com/office/drawing/2014/main" id="{0D042559-D0DF-DA46-90A2-E88B3CF6E84D}"/>
                </a:ext>
              </a:extLst>
            </p:cNvPr>
            <p:cNvSpPr/>
            <p:nvPr/>
          </p:nvSpPr>
          <p:spPr>
            <a:xfrm>
              <a:off x="10303246" y="4083792"/>
              <a:ext cx="307710" cy="129039"/>
            </a:xfrm>
            <a:custGeom>
              <a:avLst/>
              <a:gdLst>
                <a:gd name="connsiteX0" fmla="*/ 307710 w 307710"/>
                <a:gd name="connsiteY0" fmla="*/ 111764 h 129039"/>
                <a:gd name="connsiteX1" fmla="*/ 248811 w 307710"/>
                <a:gd name="connsiteY1" fmla="*/ 89599 h 129039"/>
                <a:gd name="connsiteX2" fmla="*/ 240382 w 307710"/>
                <a:gd name="connsiteY2" fmla="*/ 88038 h 129039"/>
                <a:gd name="connsiteX3" fmla="*/ 237156 w 307710"/>
                <a:gd name="connsiteY3" fmla="*/ 85228 h 129039"/>
                <a:gd name="connsiteX4" fmla="*/ 10406 w 307710"/>
                <a:gd name="connsiteY4" fmla="*/ 0 h 129039"/>
                <a:gd name="connsiteX5" fmla="*/ 0 w 307710"/>
                <a:gd name="connsiteY5" fmla="*/ 18731 h 129039"/>
                <a:gd name="connsiteX6" fmla="*/ 293246 w 307710"/>
                <a:gd name="connsiteY6" fmla="*/ 129039 h 129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7710" h="129039">
                  <a:moveTo>
                    <a:pt x="307710" y="111764"/>
                  </a:moveTo>
                  <a:lnTo>
                    <a:pt x="248811" y="89599"/>
                  </a:lnTo>
                  <a:cubicBezTo>
                    <a:pt x="245908" y="90015"/>
                    <a:pt x="242942" y="89464"/>
                    <a:pt x="240382" y="88038"/>
                  </a:cubicBezTo>
                  <a:cubicBezTo>
                    <a:pt x="239144" y="87299"/>
                    <a:pt x="238051" y="86352"/>
                    <a:pt x="237156" y="85228"/>
                  </a:cubicBezTo>
                  <a:lnTo>
                    <a:pt x="10406" y="0"/>
                  </a:lnTo>
                  <a:cubicBezTo>
                    <a:pt x="7763" y="6670"/>
                    <a:pt x="4266" y="12966"/>
                    <a:pt x="0" y="18731"/>
                  </a:cubicBezTo>
                  <a:lnTo>
                    <a:pt x="293246" y="129039"/>
                  </a:lnTo>
                  <a:close/>
                </a:path>
              </a:pathLst>
            </a:custGeom>
            <a:solidFill>
              <a:srgbClr val="050505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2" name="Freeform 191">
              <a:extLst>
                <a:ext uri="{FF2B5EF4-FFF2-40B4-BE49-F238E27FC236}">
                  <a16:creationId xmlns:a16="http://schemas.microsoft.com/office/drawing/2014/main" id="{35740BAB-1892-4244-B377-92E5A4E944B0}"/>
                </a:ext>
              </a:extLst>
            </p:cNvPr>
            <p:cNvSpPr/>
            <p:nvPr/>
          </p:nvSpPr>
          <p:spPr>
            <a:xfrm>
              <a:off x="10540403" y="4169020"/>
              <a:ext cx="11654" cy="4506"/>
            </a:xfrm>
            <a:custGeom>
              <a:avLst/>
              <a:gdLst>
                <a:gd name="connsiteX0" fmla="*/ 11655 w 11654"/>
                <a:gd name="connsiteY0" fmla="*/ 4371 h 4506"/>
                <a:gd name="connsiteX1" fmla="*/ 0 w 11654"/>
                <a:gd name="connsiteY1" fmla="*/ 0 h 4506"/>
                <a:gd name="connsiteX2" fmla="*/ 3226 w 11654"/>
                <a:gd name="connsiteY2" fmla="*/ 2810 h 4506"/>
                <a:gd name="connsiteX3" fmla="*/ 11655 w 11654"/>
                <a:gd name="connsiteY3" fmla="*/ 4371 h 4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654" h="4506">
                  <a:moveTo>
                    <a:pt x="11655" y="4371"/>
                  </a:moveTo>
                  <a:lnTo>
                    <a:pt x="0" y="0"/>
                  </a:lnTo>
                  <a:cubicBezTo>
                    <a:pt x="895" y="1124"/>
                    <a:pt x="1988" y="2071"/>
                    <a:pt x="3226" y="2810"/>
                  </a:cubicBezTo>
                  <a:cubicBezTo>
                    <a:pt x="5786" y="4236"/>
                    <a:pt x="8752" y="4787"/>
                    <a:pt x="11655" y="4371"/>
                  </a:cubicBezTo>
                  <a:close/>
                </a:path>
              </a:pathLst>
            </a:custGeom>
            <a:solidFill>
              <a:srgbClr val="050505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3" name="Freeform 192">
              <a:extLst>
                <a:ext uri="{FF2B5EF4-FFF2-40B4-BE49-F238E27FC236}">
                  <a16:creationId xmlns:a16="http://schemas.microsoft.com/office/drawing/2014/main" id="{7B572E0B-1BC7-CA42-B334-2642F7D63B41}"/>
                </a:ext>
              </a:extLst>
            </p:cNvPr>
            <p:cNvSpPr/>
            <p:nvPr/>
          </p:nvSpPr>
          <p:spPr>
            <a:xfrm>
              <a:off x="10703259" y="3983890"/>
              <a:ext cx="31218" cy="32675"/>
            </a:xfrm>
            <a:custGeom>
              <a:avLst/>
              <a:gdLst>
                <a:gd name="connsiteX0" fmla="*/ 0 w 31218"/>
                <a:gd name="connsiteY0" fmla="*/ 27369 h 32675"/>
                <a:gd name="connsiteX1" fmla="*/ 20812 w 31218"/>
                <a:gd name="connsiteY1" fmla="*/ 32676 h 32675"/>
                <a:gd name="connsiteX2" fmla="*/ 31218 w 31218"/>
                <a:gd name="connsiteY2" fmla="*/ 5723 h 32675"/>
                <a:gd name="connsiteX3" fmla="*/ 10406 w 31218"/>
                <a:gd name="connsiteY3" fmla="*/ 0 h 32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218" h="32675">
                  <a:moveTo>
                    <a:pt x="0" y="27369"/>
                  </a:moveTo>
                  <a:cubicBezTo>
                    <a:pt x="7107" y="28399"/>
                    <a:pt x="14080" y="30178"/>
                    <a:pt x="20812" y="32676"/>
                  </a:cubicBezTo>
                  <a:lnTo>
                    <a:pt x="31218" y="5723"/>
                  </a:lnTo>
                  <a:cubicBezTo>
                    <a:pt x="24434" y="3288"/>
                    <a:pt x="17482" y="1374"/>
                    <a:pt x="10406" y="0"/>
                  </a:cubicBezTo>
                  <a:close/>
                </a:path>
              </a:pathLst>
            </a:custGeom>
            <a:solidFill>
              <a:srgbClr val="050505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4" name="Freeform 193">
              <a:extLst>
                <a:ext uri="{FF2B5EF4-FFF2-40B4-BE49-F238E27FC236}">
                  <a16:creationId xmlns:a16="http://schemas.microsoft.com/office/drawing/2014/main" id="{B5992ED6-0630-1E4E-B6BA-3DF3B85198B5}"/>
                </a:ext>
              </a:extLst>
            </p:cNvPr>
            <p:cNvSpPr/>
            <p:nvPr/>
          </p:nvSpPr>
          <p:spPr>
            <a:xfrm>
              <a:off x="10595868" y="4084832"/>
              <a:ext cx="102396" cy="142255"/>
            </a:xfrm>
            <a:custGeom>
              <a:avLst/>
              <a:gdLst>
                <a:gd name="connsiteX0" fmla="*/ 57234 w 102396"/>
                <a:gd name="connsiteY0" fmla="*/ 58380 h 142255"/>
                <a:gd name="connsiteX1" fmla="*/ 34757 w 102396"/>
                <a:gd name="connsiteY1" fmla="*/ 118113 h 142255"/>
                <a:gd name="connsiteX2" fmla="*/ 15089 w 102396"/>
                <a:gd name="connsiteY2" fmla="*/ 110724 h 142255"/>
                <a:gd name="connsiteX3" fmla="*/ 0 w 102396"/>
                <a:gd name="connsiteY3" fmla="*/ 127999 h 142255"/>
                <a:gd name="connsiteX4" fmla="*/ 27160 w 102396"/>
                <a:gd name="connsiteY4" fmla="*/ 138197 h 142255"/>
                <a:gd name="connsiteX5" fmla="*/ 25599 w 102396"/>
                <a:gd name="connsiteY5" fmla="*/ 142255 h 142255"/>
                <a:gd name="connsiteX6" fmla="*/ 49845 w 102396"/>
                <a:gd name="connsiteY6" fmla="*/ 114679 h 142255"/>
                <a:gd name="connsiteX7" fmla="*/ 68264 w 102396"/>
                <a:gd name="connsiteY7" fmla="*/ 90952 h 142255"/>
                <a:gd name="connsiteX8" fmla="*/ 102397 w 102396"/>
                <a:gd name="connsiteY8" fmla="*/ 0 h 142255"/>
                <a:gd name="connsiteX9" fmla="*/ 57234 w 102396"/>
                <a:gd name="connsiteY9" fmla="*/ 58380 h 142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2396" h="142255">
                  <a:moveTo>
                    <a:pt x="57234" y="58380"/>
                  </a:moveTo>
                  <a:lnTo>
                    <a:pt x="34757" y="118113"/>
                  </a:lnTo>
                  <a:lnTo>
                    <a:pt x="15089" y="110724"/>
                  </a:lnTo>
                  <a:lnTo>
                    <a:pt x="0" y="127999"/>
                  </a:lnTo>
                  <a:lnTo>
                    <a:pt x="27160" y="138197"/>
                  </a:lnTo>
                  <a:lnTo>
                    <a:pt x="25599" y="142255"/>
                  </a:lnTo>
                  <a:lnTo>
                    <a:pt x="49845" y="114679"/>
                  </a:lnTo>
                  <a:lnTo>
                    <a:pt x="68264" y="90952"/>
                  </a:lnTo>
                  <a:lnTo>
                    <a:pt x="102397" y="0"/>
                  </a:lnTo>
                  <a:lnTo>
                    <a:pt x="57234" y="58380"/>
                  </a:lnTo>
                  <a:close/>
                </a:path>
              </a:pathLst>
            </a:custGeom>
            <a:solidFill>
              <a:srgbClr val="050505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5" name="Freeform 194">
              <a:extLst>
                <a:ext uri="{FF2B5EF4-FFF2-40B4-BE49-F238E27FC236}">
                  <a16:creationId xmlns:a16="http://schemas.microsoft.com/office/drawing/2014/main" id="{0C01D96C-5C74-8F4A-BF1F-3635B442C9BA}"/>
                </a:ext>
              </a:extLst>
            </p:cNvPr>
            <p:cNvSpPr/>
            <p:nvPr/>
          </p:nvSpPr>
          <p:spPr>
            <a:xfrm>
              <a:off x="10506687" y="4297331"/>
              <a:ext cx="44330" cy="27889"/>
            </a:xfrm>
            <a:custGeom>
              <a:avLst/>
              <a:gdLst>
                <a:gd name="connsiteX0" fmla="*/ 38919 w 44330"/>
                <a:gd name="connsiteY0" fmla="*/ 8949 h 27889"/>
                <a:gd name="connsiteX1" fmla="*/ 15297 w 44330"/>
                <a:gd name="connsiteY1" fmla="*/ 0 h 27889"/>
                <a:gd name="connsiteX2" fmla="*/ 0 w 44330"/>
                <a:gd name="connsiteY2" fmla="*/ 17483 h 27889"/>
                <a:gd name="connsiteX3" fmla="*/ 28617 w 44330"/>
                <a:gd name="connsiteY3" fmla="*/ 27889 h 27889"/>
                <a:gd name="connsiteX4" fmla="*/ 44330 w 44330"/>
                <a:gd name="connsiteY4" fmla="*/ 9886 h 27889"/>
                <a:gd name="connsiteX5" fmla="*/ 38919 w 44330"/>
                <a:gd name="connsiteY5" fmla="*/ 8949 h 27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330" h="27889">
                  <a:moveTo>
                    <a:pt x="38919" y="8949"/>
                  </a:moveTo>
                  <a:lnTo>
                    <a:pt x="15297" y="0"/>
                  </a:lnTo>
                  <a:lnTo>
                    <a:pt x="0" y="17483"/>
                  </a:lnTo>
                  <a:lnTo>
                    <a:pt x="28617" y="27889"/>
                  </a:lnTo>
                  <a:lnTo>
                    <a:pt x="44330" y="9886"/>
                  </a:lnTo>
                  <a:cubicBezTo>
                    <a:pt x="42509" y="9667"/>
                    <a:pt x="40709" y="9355"/>
                    <a:pt x="38919" y="8949"/>
                  </a:cubicBezTo>
                  <a:close/>
                </a:path>
              </a:pathLst>
            </a:custGeom>
            <a:solidFill>
              <a:srgbClr val="050505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6" name="Freeform 195">
              <a:extLst>
                <a:ext uri="{FF2B5EF4-FFF2-40B4-BE49-F238E27FC236}">
                  <a16:creationId xmlns:a16="http://schemas.microsoft.com/office/drawing/2014/main" id="{80BDA4DE-019C-224E-A15E-926CCE51E387}"/>
                </a:ext>
              </a:extLst>
            </p:cNvPr>
            <p:cNvSpPr/>
            <p:nvPr/>
          </p:nvSpPr>
          <p:spPr>
            <a:xfrm>
              <a:off x="10274525" y="4073177"/>
              <a:ext cx="38607" cy="29138"/>
            </a:xfrm>
            <a:custGeom>
              <a:avLst/>
              <a:gdLst>
                <a:gd name="connsiteX0" fmla="*/ 0 w 38607"/>
                <a:gd name="connsiteY0" fmla="*/ 18732 h 29138"/>
                <a:gd name="connsiteX1" fmla="*/ 28201 w 38607"/>
                <a:gd name="connsiteY1" fmla="*/ 29138 h 29138"/>
                <a:gd name="connsiteX2" fmla="*/ 38607 w 38607"/>
                <a:gd name="connsiteY2" fmla="*/ 10406 h 29138"/>
                <a:gd name="connsiteX3" fmla="*/ 11863 w 38607"/>
                <a:gd name="connsiteY3" fmla="*/ 0 h 29138"/>
                <a:gd name="connsiteX4" fmla="*/ 0 w 38607"/>
                <a:gd name="connsiteY4" fmla="*/ 18732 h 2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607" h="29138">
                  <a:moveTo>
                    <a:pt x="0" y="18732"/>
                  </a:moveTo>
                  <a:lnTo>
                    <a:pt x="28201" y="29138"/>
                  </a:lnTo>
                  <a:cubicBezTo>
                    <a:pt x="32467" y="23373"/>
                    <a:pt x="35964" y="17077"/>
                    <a:pt x="38607" y="10406"/>
                  </a:cubicBezTo>
                  <a:lnTo>
                    <a:pt x="11863" y="0"/>
                  </a:lnTo>
                  <a:cubicBezTo>
                    <a:pt x="8908" y="6827"/>
                    <a:pt x="4901" y="13143"/>
                    <a:pt x="0" y="18732"/>
                  </a:cubicBezTo>
                  <a:close/>
                </a:path>
              </a:pathLst>
            </a:custGeom>
            <a:solidFill>
              <a:srgbClr val="050505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7" name="Freeform 196">
              <a:extLst>
                <a:ext uri="{FF2B5EF4-FFF2-40B4-BE49-F238E27FC236}">
                  <a16:creationId xmlns:a16="http://schemas.microsoft.com/office/drawing/2014/main" id="{8A04820F-490B-ED48-9659-1630B9C0C420}"/>
                </a:ext>
              </a:extLst>
            </p:cNvPr>
            <p:cNvSpPr/>
            <p:nvPr/>
          </p:nvSpPr>
          <p:spPr>
            <a:xfrm>
              <a:off x="10205636" y="3998251"/>
              <a:ext cx="32467" cy="30386"/>
            </a:xfrm>
            <a:custGeom>
              <a:avLst/>
              <a:gdLst>
                <a:gd name="connsiteX0" fmla="*/ 32467 w 32467"/>
                <a:gd name="connsiteY0" fmla="*/ 3018 h 30386"/>
                <a:gd name="connsiteX1" fmla="*/ 10406 w 32467"/>
                <a:gd name="connsiteY1" fmla="*/ 0 h 30386"/>
                <a:gd name="connsiteX2" fmla="*/ 0 w 32467"/>
                <a:gd name="connsiteY2" fmla="*/ 28201 h 30386"/>
                <a:gd name="connsiteX3" fmla="*/ 22478 w 32467"/>
                <a:gd name="connsiteY3" fmla="*/ 30386 h 3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67" h="30386">
                  <a:moveTo>
                    <a:pt x="32467" y="3018"/>
                  </a:moveTo>
                  <a:cubicBezTo>
                    <a:pt x="25194" y="1519"/>
                    <a:pt x="17816" y="510"/>
                    <a:pt x="10406" y="0"/>
                  </a:cubicBezTo>
                  <a:lnTo>
                    <a:pt x="0" y="28201"/>
                  </a:lnTo>
                  <a:cubicBezTo>
                    <a:pt x="7534" y="28389"/>
                    <a:pt x="15047" y="29117"/>
                    <a:pt x="22478" y="30386"/>
                  </a:cubicBezTo>
                  <a:close/>
                </a:path>
              </a:pathLst>
            </a:custGeom>
            <a:solidFill>
              <a:srgbClr val="050505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8" name="Freeform 197">
              <a:extLst>
                <a:ext uri="{FF2B5EF4-FFF2-40B4-BE49-F238E27FC236}">
                  <a16:creationId xmlns:a16="http://schemas.microsoft.com/office/drawing/2014/main" id="{9ECD1E6F-84B2-6E46-84B4-385EAC7B6B9E}"/>
                </a:ext>
              </a:extLst>
            </p:cNvPr>
            <p:cNvSpPr/>
            <p:nvPr/>
          </p:nvSpPr>
          <p:spPr>
            <a:xfrm>
              <a:off x="10652356" y="3721085"/>
              <a:ext cx="60219" cy="81511"/>
            </a:xfrm>
            <a:custGeom>
              <a:avLst/>
              <a:gdLst>
                <a:gd name="connsiteX0" fmla="*/ 60165 w 60219"/>
                <a:gd name="connsiteY0" fmla="*/ 7433 h 81511"/>
                <a:gd name="connsiteX1" fmla="*/ 56106 w 60219"/>
                <a:gd name="connsiteY1" fmla="*/ 1501 h 81511"/>
                <a:gd name="connsiteX2" fmla="*/ 43203 w 60219"/>
                <a:gd name="connsiteY2" fmla="*/ 4207 h 81511"/>
                <a:gd name="connsiteX3" fmla="*/ 1578 w 60219"/>
                <a:gd name="connsiteY3" fmla="*/ 67374 h 81511"/>
                <a:gd name="connsiteX4" fmla="*/ 954 w 60219"/>
                <a:gd name="connsiteY4" fmla="*/ 76635 h 81511"/>
                <a:gd name="connsiteX5" fmla="*/ 3763 w 60219"/>
                <a:gd name="connsiteY5" fmla="*/ 79965 h 81511"/>
                <a:gd name="connsiteX6" fmla="*/ 3763 w 60219"/>
                <a:gd name="connsiteY6" fmla="*/ 79965 h 81511"/>
                <a:gd name="connsiteX7" fmla="*/ 16594 w 60219"/>
                <a:gd name="connsiteY7" fmla="*/ 77364 h 81511"/>
                <a:gd name="connsiteX8" fmla="*/ 16667 w 60219"/>
                <a:gd name="connsiteY8" fmla="*/ 77260 h 81511"/>
                <a:gd name="connsiteX9" fmla="*/ 58292 w 60219"/>
                <a:gd name="connsiteY9" fmla="*/ 14093 h 81511"/>
                <a:gd name="connsiteX10" fmla="*/ 60165 w 60219"/>
                <a:gd name="connsiteY10" fmla="*/ 7433 h 81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0219" h="81511">
                  <a:moveTo>
                    <a:pt x="60165" y="7433"/>
                  </a:moveTo>
                  <a:cubicBezTo>
                    <a:pt x="59665" y="4988"/>
                    <a:pt x="58198" y="2854"/>
                    <a:pt x="56106" y="1501"/>
                  </a:cubicBezTo>
                  <a:cubicBezTo>
                    <a:pt x="51788" y="-1288"/>
                    <a:pt x="46033" y="-80"/>
                    <a:pt x="43203" y="4207"/>
                  </a:cubicBezTo>
                  <a:lnTo>
                    <a:pt x="1578" y="67374"/>
                  </a:lnTo>
                  <a:cubicBezTo>
                    <a:pt x="-275" y="70131"/>
                    <a:pt x="-513" y="73659"/>
                    <a:pt x="954" y="76635"/>
                  </a:cubicBezTo>
                  <a:cubicBezTo>
                    <a:pt x="1619" y="77947"/>
                    <a:pt x="2587" y="79091"/>
                    <a:pt x="3763" y="79965"/>
                  </a:cubicBezTo>
                  <a:lnTo>
                    <a:pt x="3763" y="79965"/>
                  </a:lnTo>
                  <a:cubicBezTo>
                    <a:pt x="8030" y="82796"/>
                    <a:pt x="13774" y="81631"/>
                    <a:pt x="16594" y="77364"/>
                  </a:cubicBezTo>
                  <a:cubicBezTo>
                    <a:pt x="16625" y="77333"/>
                    <a:pt x="16646" y="77291"/>
                    <a:pt x="16667" y="77260"/>
                  </a:cubicBezTo>
                  <a:lnTo>
                    <a:pt x="58292" y="14093"/>
                  </a:lnTo>
                  <a:cubicBezTo>
                    <a:pt x="59748" y="12199"/>
                    <a:pt x="60425" y="9816"/>
                    <a:pt x="60165" y="7433"/>
                  </a:cubicBezTo>
                  <a:close/>
                </a:path>
              </a:pathLst>
            </a:custGeom>
            <a:solidFill>
              <a:srgbClr val="050505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9" name="Freeform 198">
              <a:extLst>
                <a:ext uri="{FF2B5EF4-FFF2-40B4-BE49-F238E27FC236}">
                  <a16:creationId xmlns:a16="http://schemas.microsoft.com/office/drawing/2014/main" id="{FB4CCFB8-1184-9C47-A708-750060735FA4}"/>
                </a:ext>
              </a:extLst>
            </p:cNvPr>
            <p:cNvSpPr/>
            <p:nvPr/>
          </p:nvSpPr>
          <p:spPr>
            <a:xfrm>
              <a:off x="10678956" y="3780785"/>
              <a:ext cx="86435" cy="51982"/>
            </a:xfrm>
            <a:custGeom>
              <a:avLst/>
              <a:gdLst>
                <a:gd name="connsiteX0" fmla="*/ 85492 w 86435"/>
                <a:gd name="connsiteY0" fmla="*/ 5176 h 51982"/>
                <a:gd name="connsiteX1" fmla="*/ 73004 w 86435"/>
                <a:gd name="connsiteY1" fmla="*/ 909 h 51982"/>
                <a:gd name="connsiteX2" fmla="*/ 5156 w 86435"/>
                <a:gd name="connsiteY2" fmla="*/ 34418 h 51982"/>
                <a:gd name="connsiteX3" fmla="*/ 921 w 86435"/>
                <a:gd name="connsiteY3" fmla="*/ 46656 h 51982"/>
                <a:gd name="connsiteX4" fmla="*/ 994 w 86435"/>
                <a:gd name="connsiteY4" fmla="*/ 46801 h 51982"/>
                <a:gd name="connsiteX5" fmla="*/ 994 w 86435"/>
                <a:gd name="connsiteY5" fmla="*/ 46801 h 51982"/>
                <a:gd name="connsiteX6" fmla="*/ 3699 w 86435"/>
                <a:gd name="connsiteY6" fmla="*/ 50131 h 51982"/>
                <a:gd name="connsiteX7" fmla="*/ 13377 w 86435"/>
                <a:gd name="connsiteY7" fmla="*/ 51068 h 51982"/>
                <a:gd name="connsiteX8" fmla="*/ 81225 w 86435"/>
                <a:gd name="connsiteY8" fmla="*/ 17664 h 51982"/>
                <a:gd name="connsiteX9" fmla="*/ 85492 w 86435"/>
                <a:gd name="connsiteY9" fmla="*/ 5176 h 51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6435" h="51982">
                  <a:moveTo>
                    <a:pt x="85492" y="5176"/>
                  </a:moveTo>
                  <a:cubicBezTo>
                    <a:pt x="83171" y="607"/>
                    <a:pt x="77635" y="-1276"/>
                    <a:pt x="73004" y="909"/>
                  </a:cubicBezTo>
                  <a:lnTo>
                    <a:pt x="5156" y="34418"/>
                  </a:lnTo>
                  <a:cubicBezTo>
                    <a:pt x="609" y="36624"/>
                    <a:pt x="-1285" y="42108"/>
                    <a:pt x="921" y="46656"/>
                  </a:cubicBezTo>
                  <a:cubicBezTo>
                    <a:pt x="941" y="46708"/>
                    <a:pt x="973" y="46749"/>
                    <a:pt x="994" y="46801"/>
                  </a:cubicBezTo>
                  <a:lnTo>
                    <a:pt x="994" y="46801"/>
                  </a:lnTo>
                  <a:cubicBezTo>
                    <a:pt x="1597" y="48123"/>
                    <a:pt x="2534" y="49268"/>
                    <a:pt x="3699" y="50131"/>
                  </a:cubicBezTo>
                  <a:cubicBezTo>
                    <a:pt x="6508" y="52202"/>
                    <a:pt x="10223" y="52567"/>
                    <a:pt x="13377" y="51068"/>
                  </a:cubicBezTo>
                  <a:lnTo>
                    <a:pt x="81225" y="17664"/>
                  </a:lnTo>
                  <a:cubicBezTo>
                    <a:pt x="85835" y="15385"/>
                    <a:pt x="87739" y="9807"/>
                    <a:pt x="85492" y="5176"/>
                  </a:cubicBezTo>
                  <a:close/>
                </a:path>
              </a:pathLst>
            </a:custGeom>
            <a:solidFill>
              <a:srgbClr val="050505"/>
            </a:solidFill>
            <a:ln w="104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8358124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9C6B6B5-2231-3B42-9AB3-D22BBDB83C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L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80AF7F-16D6-694F-A811-E993F87E6DC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E01CB58-97A7-EB45-A021-21641A82401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8662" y="52237"/>
            <a:ext cx="534433" cy="838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678273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89" name="Diapositive think-cell" r:id="rId6" imgW="421" imgH="423" progId="TCLayout.ActiveDocument.1">
                  <p:embed/>
                </p:oleObj>
              </mc:Choice>
              <mc:Fallback>
                <p:oleObj name="Diapositive think-cell" r:id="rId6" imgW="421" imgH="423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latin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4" name="Text Placeholder 1">
            <a:extLst>
              <a:ext uri="{FF2B5EF4-FFF2-40B4-BE49-F238E27FC236}">
                <a16:creationId xmlns:a16="http://schemas.microsoft.com/office/drawing/2014/main" id="{4DDD86FE-A5F0-B848-B630-18B5EF8CB84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fr-FR" spc="-27" dirty="0"/>
              <a:t>Name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CA2D2BB-C5AC-6545-9735-40E81A844860}"/>
              </a:ext>
            </a:extLst>
          </p:cNvPr>
          <p:cNvSpPr/>
          <p:nvPr/>
        </p:nvSpPr>
        <p:spPr>
          <a:xfrm rot="16200000">
            <a:off x="6916822" y="1380542"/>
            <a:ext cx="4303776" cy="4303776"/>
          </a:xfrm>
          <a:prstGeom prst="ellipse">
            <a:avLst/>
          </a:prstGeom>
          <a:gradFill>
            <a:gsLst>
              <a:gs pos="49000">
                <a:schemeClr val="accent1">
                  <a:alpha val="24000"/>
                </a:schemeClr>
              </a:gs>
              <a:gs pos="100000">
                <a:schemeClr val="accent6">
                  <a:alpha val="5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79798C2-F225-8343-B10F-8E0D1EE477C9}"/>
              </a:ext>
            </a:extLst>
          </p:cNvPr>
          <p:cNvSpPr/>
          <p:nvPr/>
        </p:nvSpPr>
        <p:spPr>
          <a:xfrm rot="16200000">
            <a:off x="7798691" y="1521786"/>
            <a:ext cx="2254374" cy="842942"/>
          </a:xfrm>
          <a:prstGeom prst="rect">
            <a:avLst/>
          </a:prstGeom>
          <a:gradFill>
            <a:gsLst>
              <a:gs pos="49000">
                <a:schemeClr val="accent1">
                  <a:alpha val="68000"/>
                </a:schemeClr>
              </a:gs>
              <a:gs pos="100000">
                <a:schemeClr val="accent6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FCE8D86-89F3-5C48-84FC-D388BB317A0B}"/>
              </a:ext>
            </a:extLst>
          </p:cNvPr>
          <p:cNvSpPr/>
          <p:nvPr/>
        </p:nvSpPr>
        <p:spPr>
          <a:xfrm flipV="1">
            <a:off x="10131893" y="3847461"/>
            <a:ext cx="2177410" cy="777241"/>
          </a:xfrm>
          <a:prstGeom prst="rect">
            <a:avLst/>
          </a:prstGeom>
          <a:gradFill>
            <a:gsLst>
              <a:gs pos="49000">
                <a:schemeClr val="accent3">
                  <a:alpha val="55000"/>
                </a:schemeClr>
              </a:gs>
              <a:gs pos="100000">
                <a:schemeClr val="accent6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F6626FB-7A2B-B14E-9F94-EE4EEA58BB7E}"/>
              </a:ext>
            </a:extLst>
          </p:cNvPr>
          <p:cNvSpPr/>
          <p:nvPr/>
        </p:nvSpPr>
        <p:spPr>
          <a:xfrm rot="16200000" flipV="1">
            <a:off x="6719877" y="417872"/>
            <a:ext cx="1637834" cy="796396"/>
          </a:xfrm>
          <a:prstGeom prst="rect">
            <a:avLst/>
          </a:prstGeom>
          <a:gradFill>
            <a:gsLst>
              <a:gs pos="49000">
                <a:schemeClr val="accent2">
                  <a:alpha val="80000"/>
                </a:schemeClr>
              </a:gs>
              <a:gs pos="99000">
                <a:schemeClr val="accent4">
                  <a:alpha val="84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3D18814-BA3A-0F48-868E-4B9DDD5D1045}"/>
              </a:ext>
            </a:extLst>
          </p:cNvPr>
          <p:cNvSpPr>
            <a:spLocks noGrp="1"/>
          </p:cNvSpPr>
          <p:nvPr>
            <p:ph type="pic" idx="1"/>
          </p:nvPr>
        </p:nvSpPr>
        <p:spPr/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2E0A814-B9BA-7A42-A06D-F26B575A2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32036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C9C70F2-2331-E842-8385-A0A9D3004E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167411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38B0471-6A11-6A43-9DA5-7061735708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6C3F017-A69B-D745-B6FC-9BEF813B06A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166698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73B99E8-5916-9B4B-9C1E-83DACDB192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A182079-9E76-BD4F-B6B6-744C39A680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11620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auto">
          <a:xfrm>
            <a:off x="422989" y="1131542"/>
            <a:ext cx="6531232" cy="177960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6000" tIns="48000" rIns="24000" bIns="24000" numCol="2" spcCol="108000" rtlCol="0" anchor="t" anchorCtr="0" compatLnSpc="1">
            <a:prstTxWarp prst="textNoShape">
              <a:avLst/>
            </a:prstTxWarp>
            <a:noAutofit/>
          </a:bodyPr>
          <a:lstStyle/>
          <a:p>
            <a:pPr marL="315799" indent="-315799" defTabSz="60957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tx1">
                  <a:lumMod val="75000"/>
                  <a:lumOff val="25000"/>
                </a:schemeClr>
              </a:buClr>
              <a:buSzPct val="110000"/>
              <a:buFont typeface="Arial" pitchFamily="34" charset="0"/>
              <a:buChar char="•"/>
              <a:tabLst>
                <a:tab pos="632115" algn="l"/>
                <a:tab pos="2203937" algn="l"/>
              </a:tabLst>
              <a:defRPr/>
            </a:pPr>
            <a:r>
              <a:rPr lang="en-US" sz="1200" dirty="0">
                <a:latin typeface="Calibri"/>
                <a:ea typeface="MS PGothic"/>
                <a:cs typeface="Calibri"/>
              </a:rPr>
              <a:t>XXXX</a:t>
            </a:r>
            <a:endParaRPr lang="fr-FR" sz="1800" dirty="0">
              <a:latin typeface="Calibri"/>
              <a:ea typeface="MS PGothic"/>
              <a:cs typeface="Calibri"/>
            </a:endParaRPr>
          </a:p>
          <a:p>
            <a:pPr marL="315799" indent="-315799" defTabSz="60957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tx1">
                  <a:lumMod val="75000"/>
                  <a:lumOff val="25000"/>
                </a:schemeClr>
              </a:buClr>
              <a:buSzPct val="110000"/>
              <a:buFont typeface="Arial" pitchFamily="34" charset="0"/>
              <a:buChar char="•"/>
              <a:tabLst>
                <a:tab pos="632115" algn="l"/>
                <a:tab pos="2203937" algn="l"/>
              </a:tabLst>
              <a:defRPr/>
            </a:pPr>
            <a:r>
              <a:rPr lang="en-US" sz="1200" dirty="0">
                <a:latin typeface="Calibri"/>
                <a:ea typeface="MS PGothic"/>
                <a:cs typeface="Calibri"/>
              </a:rPr>
              <a:t>XXXX</a:t>
            </a:r>
            <a:endParaRPr lang="en-US" sz="1200" dirty="0">
              <a:latin typeface="Calibri" panose="020F0502020204030204" pitchFamily="34" charset="0"/>
              <a:ea typeface="MS PGothic" charset="0"/>
              <a:cs typeface="Calibri" pitchFamily="34" charset="0"/>
            </a:endParaRPr>
          </a:p>
          <a:p>
            <a:pPr marL="315799" indent="-315799" defTabSz="60957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tx1">
                  <a:lumMod val="75000"/>
                  <a:lumOff val="25000"/>
                </a:schemeClr>
              </a:buClr>
              <a:buSzPct val="110000"/>
              <a:buFont typeface="Arial" pitchFamily="34" charset="0"/>
              <a:buChar char="•"/>
              <a:tabLst>
                <a:tab pos="632115" algn="l"/>
                <a:tab pos="2203937" algn="l"/>
              </a:tabLst>
              <a:defRPr/>
            </a:pPr>
            <a:r>
              <a:rPr lang="en-US" sz="1200" dirty="0">
                <a:latin typeface="Calibri"/>
                <a:ea typeface="MS PGothic"/>
                <a:cs typeface="Calibri"/>
              </a:rPr>
              <a:t>XXX.</a:t>
            </a:r>
          </a:p>
          <a:p>
            <a:pPr marL="315799" indent="-315799" defTabSz="60957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tx1">
                  <a:lumMod val="75000"/>
                  <a:lumOff val="25000"/>
                </a:schemeClr>
              </a:buClr>
              <a:buSzPct val="110000"/>
              <a:buFont typeface="Arial" pitchFamily="34" charset="0"/>
              <a:buChar char="•"/>
              <a:tabLst>
                <a:tab pos="632115" algn="l"/>
                <a:tab pos="2203937" algn="l"/>
              </a:tabLst>
              <a:defRPr/>
            </a:pPr>
            <a:r>
              <a:rPr lang="en-US" sz="1200" dirty="0">
                <a:ea typeface="MS PGothic"/>
                <a:cs typeface="Calibri"/>
              </a:rPr>
              <a:t>XXXX</a:t>
            </a:r>
            <a:endParaRPr lang="fr-FR" dirty="0">
              <a:ea typeface="MS PGothic"/>
              <a:cs typeface="Calibri"/>
            </a:endParaRPr>
          </a:p>
          <a:p>
            <a:pPr marL="315799" indent="-315799" defTabSz="60957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tx1">
                  <a:lumMod val="75000"/>
                  <a:lumOff val="25000"/>
                </a:schemeClr>
              </a:buClr>
              <a:buSzPct val="110000"/>
              <a:buFont typeface="Arial" pitchFamily="34" charset="0"/>
              <a:buChar char="•"/>
              <a:tabLst>
                <a:tab pos="632115" algn="l"/>
                <a:tab pos="2203937" algn="l"/>
              </a:tabLst>
              <a:defRPr/>
            </a:pPr>
            <a:r>
              <a:rPr lang="en-US" sz="1200" dirty="0">
                <a:ea typeface="MS PGothic"/>
                <a:cs typeface="Calibri"/>
              </a:rPr>
              <a:t>XXXX</a:t>
            </a:r>
            <a:endParaRPr lang="en-US" sz="1200" dirty="0">
              <a:latin typeface="Calibri" panose="020F0502020204030204" pitchFamily="34" charset="0"/>
              <a:ea typeface="MS PGothic" charset="0"/>
              <a:cs typeface="Calibri" pitchFamily="34" charset="0"/>
            </a:endParaRPr>
          </a:p>
          <a:p>
            <a:pPr marL="315799" indent="-315799" defTabSz="60957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tx1">
                  <a:lumMod val="75000"/>
                  <a:lumOff val="25000"/>
                </a:schemeClr>
              </a:buClr>
              <a:buSzPct val="110000"/>
              <a:buFont typeface="Arial" pitchFamily="34" charset="0"/>
              <a:buChar char="•"/>
              <a:tabLst>
                <a:tab pos="632115" algn="l"/>
                <a:tab pos="2203937" algn="l"/>
              </a:tabLst>
              <a:defRPr/>
            </a:pPr>
            <a:r>
              <a:rPr lang="en-US" sz="1200" dirty="0">
                <a:ea typeface="MS PGothic"/>
                <a:cs typeface="Calibri"/>
              </a:rPr>
              <a:t>XXX.</a:t>
            </a:r>
          </a:p>
          <a:p>
            <a:pPr marL="315799" indent="-315799" defTabSz="60957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tx1">
                  <a:lumMod val="75000"/>
                  <a:lumOff val="25000"/>
                </a:schemeClr>
              </a:buClr>
              <a:buSzPct val="110000"/>
              <a:buFont typeface="Arial" pitchFamily="34" charset="0"/>
              <a:buChar char="•"/>
              <a:tabLst>
                <a:tab pos="632115" algn="l"/>
                <a:tab pos="2203937" algn="l"/>
              </a:tabLst>
              <a:defRPr/>
            </a:pPr>
            <a:r>
              <a:rPr lang="en-US" sz="1200" dirty="0">
                <a:latin typeface="Calibri" panose="020F0502020204030204" pitchFamily="34" charset="0"/>
                <a:ea typeface="MS PGothic" charset="0"/>
                <a:cs typeface="Calibri" pitchFamily="34" charset="0"/>
              </a:rPr>
              <a:t>XXX</a:t>
            </a:r>
          </a:p>
          <a:p>
            <a:pPr marL="315799" indent="-315799" defTabSz="60957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tx1">
                  <a:lumMod val="75000"/>
                  <a:lumOff val="25000"/>
                </a:schemeClr>
              </a:buClr>
              <a:buSzPct val="110000"/>
              <a:buFont typeface="Arial" pitchFamily="34" charset="0"/>
              <a:buChar char="•"/>
              <a:tabLst>
                <a:tab pos="632115" algn="l"/>
                <a:tab pos="2203937" algn="l"/>
              </a:tabLst>
              <a:defRPr/>
            </a:pPr>
            <a:r>
              <a:rPr lang="en-US" sz="1200" dirty="0">
                <a:latin typeface="Calibri" panose="020F0502020204030204" pitchFamily="34" charset="0"/>
                <a:ea typeface="MS PGothic" charset="0"/>
                <a:cs typeface="Calibri" pitchFamily="34" charset="0"/>
              </a:rPr>
              <a:t>XXXX</a:t>
            </a:r>
          </a:p>
          <a:p>
            <a:pPr marL="315799" indent="-315799" defTabSz="60957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tx1">
                  <a:lumMod val="75000"/>
                  <a:lumOff val="25000"/>
                </a:schemeClr>
              </a:buClr>
              <a:buSzPct val="110000"/>
              <a:buFont typeface="Arial" pitchFamily="34" charset="0"/>
              <a:buChar char="•"/>
              <a:tabLst>
                <a:tab pos="632115" algn="l"/>
                <a:tab pos="2203937" algn="l"/>
              </a:tabLst>
              <a:defRPr/>
            </a:pPr>
            <a:r>
              <a:rPr lang="en-US" sz="1200" dirty="0">
                <a:latin typeface="Calibri" panose="020F0502020204030204" pitchFamily="34" charset="0"/>
                <a:ea typeface="MS PGothic" charset="0"/>
                <a:cs typeface="Calibri" pitchFamily="34" charset="0"/>
              </a:rPr>
              <a:t>XXX</a:t>
            </a:r>
          </a:p>
          <a:p>
            <a:pPr marL="315799" indent="-315799" defTabSz="60957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tx1">
                  <a:lumMod val="75000"/>
                  <a:lumOff val="25000"/>
                </a:schemeClr>
              </a:buClr>
              <a:buSzPct val="110000"/>
              <a:buFont typeface="Arial" pitchFamily="34" charset="0"/>
              <a:buChar char="•"/>
              <a:tabLst>
                <a:tab pos="632115" algn="l"/>
                <a:tab pos="2203937" algn="l"/>
              </a:tabLst>
              <a:defRPr/>
            </a:pPr>
            <a:r>
              <a:rPr lang="en-US" sz="1200" dirty="0">
                <a:latin typeface="Calibri" panose="020F0502020204030204" pitchFamily="34" charset="0"/>
                <a:ea typeface="MS PGothic" charset="0"/>
                <a:cs typeface="Calibri" pitchFamily="34" charset="0"/>
              </a:rPr>
              <a:t>XXXX</a:t>
            </a:r>
          </a:p>
          <a:p>
            <a:pPr marL="315799" indent="-315799" defTabSz="60957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tx1">
                  <a:lumMod val="75000"/>
                  <a:lumOff val="25000"/>
                </a:schemeClr>
              </a:buClr>
              <a:buSzPct val="110000"/>
              <a:buFont typeface="Arial" pitchFamily="34" charset="0"/>
              <a:buChar char="•"/>
              <a:tabLst>
                <a:tab pos="632115" algn="l"/>
                <a:tab pos="2203937" algn="l"/>
              </a:tabLst>
              <a:defRPr/>
            </a:pPr>
            <a:endParaRPr lang="en-US" sz="1200" dirty="0">
              <a:latin typeface="Calibri" panose="020F0502020204030204" pitchFamily="34" charset="0"/>
              <a:ea typeface="MS PGothic" charset="0"/>
              <a:cs typeface="Calibri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422990" y="3201143"/>
            <a:ext cx="4352037" cy="1440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6000" tIns="48000" rIns="24000" bIns="24000" numCol="1" spcCol="108000" rtlCol="0" anchor="t" anchorCtr="0" compatLnSpc="1">
            <a:prstTxWarp prst="textNoShape">
              <a:avLst/>
            </a:prstTxWarp>
            <a:noAutofit/>
          </a:bodyPr>
          <a:lstStyle/>
          <a:p>
            <a:pPr marL="315799" indent="-315799" defTabSz="60957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tx1">
                  <a:lumMod val="75000"/>
                  <a:lumOff val="25000"/>
                </a:schemeClr>
              </a:buClr>
              <a:buSzPct val="110000"/>
              <a:buFont typeface="Arial" pitchFamily="34" charset="0"/>
              <a:buChar char="•"/>
              <a:tabLst>
                <a:tab pos="632115" algn="l"/>
                <a:tab pos="2203937" algn="l"/>
              </a:tabLst>
              <a:defRPr/>
            </a:pPr>
            <a:r>
              <a:rPr lang="en-US" sz="1100" dirty="0">
                <a:ea typeface="MS PGothic"/>
                <a:cs typeface="Calibri"/>
              </a:rPr>
              <a:t>XXXX</a:t>
            </a:r>
            <a:endParaRPr lang="fr-FR" sz="1600" dirty="0">
              <a:ea typeface="MS PGothic"/>
              <a:cs typeface="Calibri"/>
            </a:endParaRPr>
          </a:p>
          <a:p>
            <a:pPr marL="315799" indent="-315799" defTabSz="60957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tx1">
                  <a:lumMod val="75000"/>
                  <a:lumOff val="25000"/>
                </a:schemeClr>
              </a:buClr>
              <a:buSzPct val="110000"/>
              <a:buFont typeface="Arial" pitchFamily="34" charset="0"/>
              <a:buChar char="•"/>
              <a:tabLst>
                <a:tab pos="632115" algn="l"/>
                <a:tab pos="2203937" algn="l"/>
              </a:tabLst>
              <a:defRPr/>
            </a:pPr>
            <a:r>
              <a:rPr lang="en-US" sz="1100" dirty="0">
                <a:ea typeface="MS PGothic"/>
                <a:cs typeface="Calibri"/>
              </a:rPr>
              <a:t>XXXX</a:t>
            </a:r>
            <a:endParaRPr lang="en-US" sz="1100" dirty="0">
              <a:latin typeface="Calibri" panose="020F0502020204030204" pitchFamily="34" charset="0"/>
              <a:ea typeface="MS PGothic" charset="0"/>
              <a:cs typeface="Calibri" pitchFamily="34" charset="0"/>
            </a:endParaRPr>
          </a:p>
          <a:p>
            <a:pPr marL="315799" indent="-315799" defTabSz="60957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tx1">
                  <a:lumMod val="75000"/>
                  <a:lumOff val="25000"/>
                </a:schemeClr>
              </a:buClr>
              <a:buSzPct val="110000"/>
              <a:buFont typeface="Arial" pitchFamily="34" charset="0"/>
              <a:buChar char="•"/>
              <a:tabLst>
                <a:tab pos="632115" algn="l"/>
                <a:tab pos="2203937" algn="l"/>
              </a:tabLst>
              <a:defRPr/>
            </a:pPr>
            <a:r>
              <a:rPr lang="en-US" sz="1100" dirty="0">
                <a:ea typeface="MS PGothic"/>
                <a:cs typeface="Calibri"/>
              </a:rPr>
              <a:t>XXX.</a:t>
            </a:r>
          </a:p>
          <a:p>
            <a:pPr marL="158323" indent="-158323" defTabSz="609570" fontAlgn="base">
              <a:lnSpc>
                <a:spcPct val="120000"/>
              </a:lnSpc>
              <a:spcBef>
                <a:spcPct val="0"/>
              </a:spcBef>
              <a:buClr>
                <a:schemeClr val="tx1">
                  <a:lumMod val="75000"/>
                  <a:lumOff val="25000"/>
                </a:schemeClr>
              </a:buClr>
              <a:buSzPct val="110000"/>
              <a:buFont typeface="Arial" pitchFamily="34" charset="0"/>
              <a:buChar char="•"/>
              <a:tabLst>
                <a:tab pos="632115" algn="l"/>
                <a:tab pos="2203937" algn="l"/>
              </a:tabLst>
              <a:defRPr/>
            </a:pPr>
            <a:endParaRPr lang="en-US" sz="1067" dirty="0">
              <a:solidFill>
                <a:srgbClr val="3E282B"/>
              </a:solidFill>
              <a:latin typeface="Calibri" panose="020F0502020204030204" pitchFamily="34" charset="0"/>
              <a:ea typeface="MS PGothic" charset="0"/>
              <a:cs typeface="Calibri" pitchFamily="34" charset="0"/>
            </a:endParaRPr>
          </a:p>
          <a:p>
            <a:pPr marL="158323" indent="-158323" defTabSz="609570" fontAlgn="base">
              <a:lnSpc>
                <a:spcPct val="120000"/>
              </a:lnSpc>
              <a:spcBef>
                <a:spcPct val="0"/>
              </a:spcBef>
              <a:buClr>
                <a:schemeClr val="tx1">
                  <a:lumMod val="75000"/>
                  <a:lumOff val="25000"/>
                </a:schemeClr>
              </a:buClr>
              <a:buSzPct val="110000"/>
              <a:buFont typeface="Arial" pitchFamily="34" charset="0"/>
              <a:buChar char="•"/>
              <a:tabLst>
                <a:tab pos="632115" algn="l"/>
                <a:tab pos="2203937" algn="l"/>
              </a:tabLst>
              <a:defRPr/>
            </a:pPr>
            <a:endParaRPr lang="en-US" sz="1067" dirty="0">
              <a:solidFill>
                <a:srgbClr val="3E282B"/>
              </a:solidFill>
              <a:latin typeface="Calibri" panose="020F0502020204030204" pitchFamily="34" charset="0"/>
              <a:ea typeface="MS PGothic" charset="0"/>
              <a:cs typeface="Calibri" pitchFamily="34" charset="0"/>
            </a:endParaRPr>
          </a:p>
          <a:p>
            <a:pPr marL="158323" indent="-158323" defTabSz="609570" fontAlgn="base">
              <a:lnSpc>
                <a:spcPct val="120000"/>
              </a:lnSpc>
              <a:spcBef>
                <a:spcPct val="0"/>
              </a:spcBef>
              <a:buClr>
                <a:schemeClr val="tx1">
                  <a:lumMod val="75000"/>
                  <a:lumOff val="25000"/>
                </a:schemeClr>
              </a:buClr>
              <a:buSzPct val="110000"/>
              <a:buFont typeface="Arial" pitchFamily="34" charset="0"/>
              <a:buChar char="•"/>
              <a:tabLst>
                <a:tab pos="632115" algn="l"/>
                <a:tab pos="2203937" algn="l"/>
              </a:tabLst>
              <a:defRPr/>
            </a:pPr>
            <a:endParaRPr lang="en-US" sz="1067" dirty="0">
              <a:solidFill>
                <a:srgbClr val="3E282B"/>
              </a:solidFill>
              <a:latin typeface="Calibri" panose="020F0502020204030204" pitchFamily="34" charset="0"/>
              <a:ea typeface="MS PGothic" charset="0"/>
              <a:cs typeface="Calibri" pitchFamily="34" charset="0"/>
            </a:endParaRPr>
          </a:p>
          <a:p>
            <a:pPr marL="158323" indent="-158323" defTabSz="609570" fontAlgn="base">
              <a:lnSpc>
                <a:spcPct val="120000"/>
              </a:lnSpc>
              <a:spcBef>
                <a:spcPct val="0"/>
              </a:spcBef>
              <a:buClr>
                <a:srgbClr val="C00000"/>
              </a:buClr>
              <a:buSzPct val="110000"/>
              <a:buFont typeface="Arial" pitchFamily="34" charset="0"/>
              <a:buChar char="•"/>
              <a:tabLst>
                <a:tab pos="632115" algn="l"/>
                <a:tab pos="2203937" algn="l"/>
              </a:tabLst>
              <a:defRPr/>
            </a:pPr>
            <a:endParaRPr lang="en-US" sz="1067" dirty="0">
              <a:solidFill>
                <a:srgbClr val="3E282B"/>
              </a:solidFill>
              <a:latin typeface="Calibri" panose="020F0502020204030204" pitchFamily="34" charset="0"/>
              <a:ea typeface="MS PGothic" charset="0"/>
              <a:cs typeface="Calibri" pitchFamily="34" charset="0"/>
            </a:endParaRPr>
          </a:p>
          <a:p>
            <a:pPr marL="158323" indent="-158323" defTabSz="609570" fontAlgn="base">
              <a:spcBef>
                <a:spcPct val="0"/>
              </a:spcBef>
              <a:buClr>
                <a:srgbClr val="C00000"/>
              </a:buClr>
              <a:buSzPct val="110000"/>
              <a:buFont typeface="Arial" pitchFamily="34" charset="0"/>
              <a:buChar char="•"/>
              <a:tabLst>
                <a:tab pos="632115" algn="l"/>
                <a:tab pos="2203937" algn="l"/>
              </a:tabLst>
              <a:defRPr/>
            </a:pPr>
            <a:endParaRPr lang="en-US" sz="1067" dirty="0">
              <a:solidFill>
                <a:srgbClr val="3E282B"/>
              </a:solidFill>
              <a:ea typeface="MS PGothic" charset="0"/>
              <a:cs typeface="Calibri" pitchFamily="34" charset="0"/>
            </a:endParaRPr>
          </a:p>
          <a:p>
            <a:pPr marL="158323" indent="-158323" defTabSz="609570" fontAlgn="base">
              <a:spcBef>
                <a:spcPct val="0"/>
              </a:spcBef>
              <a:buClr>
                <a:srgbClr val="C00000"/>
              </a:buClr>
              <a:buSzPct val="110000"/>
              <a:buFont typeface="Arial" pitchFamily="34" charset="0"/>
              <a:buChar char="•"/>
              <a:tabLst>
                <a:tab pos="632115" algn="l"/>
                <a:tab pos="2203937" algn="l"/>
              </a:tabLst>
              <a:defRPr/>
            </a:pPr>
            <a:endParaRPr lang="en-US" sz="1067" dirty="0">
              <a:solidFill>
                <a:srgbClr val="3E282B"/>
              </a:solidFill>
              <a:ea typeface="MS PGothic" charset="0"/>
              <a:cs typeface="Calibri" pitchFamily="34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7152119" y="2755199"/>
            <a:ext cx="2400000" cy="143625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6000" tIns="48000" rIns="24000" bIns="24000" numCol="1" spcCol="108000" rtlCol="0" anchor="t" anchorCtr="0" compatLnSpc="1">
            <a:prstTxWarp prst="textNoShape">
              <a:avLst/>
            </a:prstTxWarp>
            <a:noAutofit/>
          </a:bodyPr>
          <a:lstStyle/>
          <a:p>
            <a:pPr marL="315799" indent="-315799" defTabSz="60957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tx1">
                  <a:lumMod val="75000"/>
                  <a:lumOff val="25000"/>
                </a:schemeClr>
              </a:buClr>
              <a:buSzPct val="110000"/>
              <a:buFont typeface="Arial" pitchFamily="34" charset="0"/>
              <a:buChar char="•"/>
              <a:tabLst>
                <a:tab pos="632115" algn="l"/>
                <a:tab pos="2203937" algn="l"/>
              </a:tabLst>
              <a:defRPr/>
            </a:pPr>
            <a:r>
              <a:rPr lang="en-US" sz="1200" dirty="0">
                <a:ea typeface="MS PGothic"/>
                <a:cs typeface="Calibri"/>
              </a:rPr>
              <a:t>XXXX</a:t>
            </a:r>
            <a:endParaRPr lang="fr-FR" dirty="0">
              <a:ea typeface="MS PGothic"/>
              <a:cs typeface="Calibri"/>
            </a:endParaRPr>
          </a:p>
          <a:p>
            <a:pPr marL="315799" indent="-315799" defTabSz="60957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tx1">
                  <a:lumMod val="75000"/>
                  <a:lumOff val="25000"/>
                </a:schemeClr>
              </a:buClr>
              <a:buSzPct val="110000"/>
              <a:buFont typeface="Arial" pitchFamily="34" charset="0"/>
              <a:buChar char="•"/>
              <a:tabLst>
                <a:tab pos="632115" algn="l"/>
                <a:tab pos="2203937" algn="l"/>
              </a:tabLst>
              <a:defRPr/>
            </a:pPr>
            <a:r>
              <a:rPr lang="en-US" sz="1200" dirty="0">
                <a:ea typeface="MS PGothic"/>
                <a:cs typeface="Calibri"/>
              </a:rPr>
              <a:t>XXXX</a:t>
            </a:r>
            <a:endParaRPr lang="en-US" sz="1200" dirty="0">
              <a:latin typeface="Calibri" panose="020F0502020204030204" pitchFamily="34" charset="0"/>
              <a:ea typeface="MS PGothic" charset="0"/>
              <a:cs typeface="Calibri" pitchFamily="34" charset="0"/>
            </a:endParaRPr>
          </a:p>
          <a:p>
            <a:pPr marL="315799" indent="-315799" defTabSz="60957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tx1">
                  <a:lumMod val="75000"/>
                  <a:lumOff val="25000"/>
                </a:schemeClr>
              </a:buClr>
              <a:buSzPct val="110000"/>
              <a:buFont typeface="Arial" pitchFamily="34" charset="0"/>
              <a:buChar char="•"/>
              <a:tabLst>
                <a:tab pos="632115" algn="l"/>
                <a:tab pos="2203937" algn="l"/>
              </a:tabLst>
              <a:defRPr/>
            </a:pPr>
            <a:r>
              <a:rPr lang="en-US" sz="1200" dirty="0">
                <a:ea typeface="MS PGothic"/>
                <a:cs typeface="Calibri"/>
              </a:rPr>
              <a:t>XXX.</a:t>
            </a:r>
          </a:p>
        </p:txBody>
      </p:sp>
      <p:sp>
        <p:nvSpPr>
          <p:cNvPr id="38" name="Flèche droite 37"/>
          <p:cNvSpPr/>
          <p:nvPr/>
        </p:nvSpPr>
        <p:spPr>
          <a:xfrm rot="19223087">
            <a:off x="10454732" y="1810816"/>
            <a:ext cx="269137" cy="273497"/>
          </a:xfrm>
          <a:prstGeom prst="rightArrow">
            <a:avLst>
              <a:gd name="adj1" fmla="val 40586"/>
              <a:gd name="adj2" fmla="val 54607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 defTabSz="609570" fontAlgn="base">
              <a:spcBef>
                <a:spcPct val="0"/>
              </a:spcBef>
              <a:spcAft>
                <a:spcPct val="0"/>
              </a:spcAft>
            </a:pPr>
            <a:endParaRPr lang="en-US" sz="1867">
              <a:solidFill>
                <a:prstClr val="white"/>
              </a:solidFill>
            </a:endParaRPr>
          </a:p>
        </p:txBody>
      </p:sp>
      <p:sp>
        <p:nvSpPr>
          <p:cNvPr id="5" name="ZoneTexte 4"/>
          <p:cNvSpPr txBox="1"/>
          <p:nvPr/>
        </p:nvSpPr>
        <p:spPr>
          <a:xfrm>
            <a:off x="11092192" y="1402449"/>
            <a:ext cx="80021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XXX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Dashboard</a:t>
            </a:r>
          </a:p>
        </p:txBody>
      </p:sp>
      <p:sp>
        <p:nvSpPr>
          <p:cNvPr id="36" name="Rectangle 35"/>
          <p:cNvSpPr/>
          <p:nvPr/>
        </p:nvSpPr>
        <p:spPr bwMode="auto">
          <a:xfrm>
            <a:off x="4775028" y="3197824"/>
            <a:ext cx="2179193" cy="1440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6000" tIns="48000" rIns="24000" bIns="24000" numCol="1" spcCol="108000" rtlCol="0" anchor="t" anchorCtr="0" compatLnSpc="1">
            <a:prstTxWarp prst="textNoShape">
              <a:avLst/>
            </a:prstTxWarp>
            <a:noAutofit/>
          </a:bodyPr>
          <a:lstStyle/>
          <a:p>
            <a:pPr marL="315799" indent="-315799" defTabSz="60957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tx1">
                  <a:lumMod val="75000"/>
                  <a:lumOff val="25000"/>
                </a:schemeClr>
              </a:buClr>
              <a:buSzPct val="110000"/>
              <a:buFont typeface="Arial" pitchFamily="34" charset="0"/>
              <a:buChar char="•"/>
              <a:tabLst>
                <a:tab pos="632115" algn="l"/>
                <a:tab pos="2203937" algn="l"/>
              </a:tabLst>
              <a:defRPr/>
            </a:pPr>
            <a:r>
              <a:rPr lang="en-US" sz="1100" dirty="0">
                <a:ea typeface="MS PGothic"/>
                <a:cs typeface="Calibri"/>
              </a:rPr>
              <a:t>XXXX</a:t>
            </a:r>
            <a:endParaRPr lang="fr-FR" sz="1600" dirty="0">
              <a:ea typeface="MS PGothic"/>
              <a:cs typeface="Calibri"/>
            </a:endParaRPr>
          </a:p>
          <a:p>
            <a:pPr marL="315799" indent="-315799" defTabSz="60957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tx1">
                  <a:lumMod val="75000"/>
                  <a:lumOff val="25000"/>
                </a:schemeClr>
              </a:buClr>
              <a:buSzPct val="110000"/>
              <a:buFont typeface="Arial" pitchFamily="34" charset="0"/>
              <a:buChar char="•"/>
              <a:tabLst>
                <a:tab pos="632115" algn="l"/>
                <a:tab pos="2203937" algn="l"/>
              </a:tabLst>
              <a:defRPr/>
            </a:pPr>
            <a:r>
              <a:rPr lang="en-US" sz="1100" dirty="0">
                <a:ea typeface="MS PGothic"/>
                <a:cs typeface="Calibri"/>
              </a:rPr>
              <a:t>XXXX</a:t>
            </a:r>
            <a:endParaRPr lang="en-US" sz="1100" dirty="0">
              <a:latin typeface="Calibri" panose="020F0502020204030204" pitchFamily="34" charset="0"/>
              <a:ea typeface="MS PGothic" charset="0"/>
              <a:cs typeface="Calibri" pitchFamily="34" charset="0"/>
            </a:endParaRPr>
          </a:p>
          <a:p>
            <a:pPr marL="315799" indent="-315799" defTabSz="60957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tx1">
                  <a:lumMod val="75000"/>
                  <a:lumOff val="25000"/>
                </a:schemeClr>
              </a:buClr>
              <a:buSzPct val="110000"/>
              <a:buFont typeface="Arial" pitchFamily="34" charset="0"/>
              <a:buChar char="•"/>
              <a:tabLst>
                <a:tab pos="632115" algn="l"/>
                <a:tab pos="2203937" algn="l"/>
              </a:tabLst>
              <a:defRPr/>
            </a:pPr>
            <a:r>
              <a:rPr lang="en-US" sz="1100" dirty="0">
                <a:ea typeface="MS PGothic"/>
                <a:cs typeface="Calibri"/>
              </a:rPr>
              <a:t>XXX.</a:t>
            </a:r>
          </a:p>
          <a:p>
            <a:pPr defTabSz="609570" fontAlgn="base">
              <a:spcBef>
                <a:spcPct val="0"/>
              </a:spcBef>
              <a:buClr>
                <a:schemeClr val="tx1">
                  <a:lumMod val="75000"/>
                  <a:lumOff val="25000"/>
                </a:schemeClr>
              </a:buClr>
              <a:buSzPct val="110000"/>
              <a:tabLst>
                <a:tab pos="632115" algn="l"/>
                <a:tab pos="2203937" algn="l"/>
              </a:tabLst>
              <a:defRPr/>
            </a:pPr>
            <a:br>
              <a:rPr lang="en-US" sz="1067" dirty="0">
                <a:solidFill>
                  <a:srgbClr val="3E282B"/>
                </a:solidFill>
                <a:latin typeface="Calibri" panose="020F0502020204030204" pitchFamily="34" charset="0"/>
                <a:ea typeface="MS PGothic" charset="0"/>
                <a:cs typeface="Calibri" pitchFamily="34" charset="0"/>
              </a:rPr>
            </a:br>
            <a:br>
              <a:rPr lang="en-US" sz="1067" dirty="0">
                <a:solidFill>
                  <a:srgbClr val="3E282B"/>
                </a:solidFill>
                <a:latin typeface="Calibri" panose="020F0502020204030204" pitchFamily="34" charset="0"/>
                <a:ea typeface="MS PGothic" charset="0"/>
                <a:cs typeface="Calibri" pitchFamily="34" charset="0"/>
              </a:rPr>
            </a:br>
            <a:endParaRPr lang="en-US" sz="1067" dirty="0">
              <a:latin typeface="Calibri" panose="020F0502020204030204" pitchFamily="34" charset="0"/>
              <a:ea typeface="MS PGothic" charset="0"/>
              <a:cs typeface="Calibri" pitchFamily="34" charset="0"/>
            </a:endParaRPr>
          </a:p>
          <a:p>
            <a:pPr defTabSz="609570" fontAlgn="base">
              <a:spcBef>
                <a:spcPct val="0"/>
              </a:spcBef>
              <a:buClr>
                <a:schemeClr val="tx1">
                  <a:lumMod val="75000"/>
                  <a:lumOff val="25000"/>
                </a:schemeClr>
              </a:buClr>
              <a:buSzPct val="110000"/>
              <a:tabLst>
                <a:tab pos="632115" algn="l"/>
                <a:tab pos="2203937" algn="l"/>
              </a:tabLst>
              <a:defRPr/>
            </a:pPr>
            <a:endParaRPr lang="en-US" sz="1067" dirty="0">
              <a:latin typeface="Calibri" panose="020F0502020204030204" pitchFamily="34" charset="0"/>
              <a:ea typeface="MS PGothic" charset="0"/>
              <a:cs typeface="Calibri" pitchFamily="34" charset="0"/>
            </a:endParaRPr>
          </a:p>
        </p:txBody>
      </p:sp>
      <p:sp>
        <p:nvSpPr>
          <p:cNvPr id="37" name="Rectangle 36"/>
          <p:cNvSpPr/>
          <p:nvPr/>
        </p:nvSpPr>
        <p:spPr bwMode="auto">
          <a:xfrm>
            <a:off x="9617641" y="2770452"/>
            <a:ext cx="2400000" cy="143625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6000" tIns="48000" rIns="24000" bIns="24000" numCol="1" spcCol="108000" rtlCol="0" anchor="t" anchorCtr="0" compatLnSpc="1">
            <a:prstTxWarp prst="textNoShape">
              <a:avLst/>
            </a:prstTxWarp>
            <a:noAutofit/>
          </a:bodyPr>
          <a:lstStyle/>
          <a:p>
            <a:pPr marL="315799" indent="-315799" defTabSz="60957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tx1">
                  <a:lumMod val="75000"/>
                  <a:lumOff val="25000"/>
                </a:schemeClr>
              </a:buClr>
              <a:buSzPct val="110000"/>
              <a:buFont typeface="Arial" pitchFamily="34" charset="0"/>
              <a:buChar char="•"/>
              <a:tabLst>
                <a:tab pos="632115" algn="l"/>
                <a:tab pos="2203937" algn="l"/>
              </a:tabLst>
              <a:defRPr/>
            </a:pPr>
            <a:r>
              <a:rPr lang="en-US" sz="1200" dirty="0">
                <a:ea typeface="MS PGothic"/>
                <a:cs typeface="Calibri"/>
              </a:rPr>
              <a:t>XXXX</a:t>
            </a:r>
            <a:endParaRPr lang="fr-FR" dirty="0">
              <a:ea typeface="MS PGothic"/>
              <a:cs typeface="Calibri"/>
            </a:endParaRPr>
          </a:p>
          <a:p>
            <a:pPr marL="315799" indent="-315799" defTabSz="60957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tx1">
                  <a:lumMod val="75000"/>
                  <a:lumOff val="25000"/>
                </a:schemeClr>
              </a:buClr>
              <a:buSzPct val="110000"/>
              <a:buFont typeface="Arial" pitchFamily="34" charset="0"/>
              <a:buChar char="•"/>
              <a:tabLst>
                <a:tab pos="632115" algn="l"/>
                <a:tab pos="2203937" algn="l"/>
              </a:tabLst>
              <a:defRPr/>
            </a:pPr>
            <a:r>
              <a:rPr lang="en-US" sz="1200" dirty="0">
                <a:ea typeface="MS PGothic"/>
                <a:cs typeface="Calibri"/>
              </a:rPr>
              <a:t>XXXX</a:t>
            </a:r>
            <a:endParaRPr lang="en-US" sz="1200" dirty="0">
              <a:latin typeface="Calibri" panose="020F0502020204030204" pitchFamily="34" charset="0"/>
              <a:ea typeface="MS PGothic" charset="0"/>
              <a:cs typeface="Calibri" pitchFamily="34" charset="0"/>
            </a:endParaRPr>
          </a:p>
          <a:p>
            <a:pPr marL="315799" indent="-315799" defTabSz="60957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tx1">
                  <a:lumMod val="75000"/>
                  <a:lumOff val="25000"/>
                </a:schemeClr>
              </a:buClr>
              <a:buSzPct val="110000"/>
              <a:buFont typeface="Arial" pitchFamily="34" charset="0"/>
              <a:buChar char="•"/>
              <a:tabLst>
                <a:tab pos="632115" algn="l"/>
                <a:tab pos="2203937" algn="l"/>
              </a:tabLst>
              <a:defRPr/>
            </a:pPr>
            <a:r>
              <a:rPr lang="en-US" sz="1200" dirty="0">
                <a:ea typeface="MS PGothic"/>
                <a:cs typeface="Calibri"/>
              </a:rPr>
              <a:t>XXX.</a:t>
            </a:r>
          </a:p>
          <a:p>
            <a:pPr marL="158323" indent="-158323" defTabSz="609570">
              <a:lnSpc>
                <a:spcPct val="120000"/>
              </a:lnSpc>
              <a:spcBef>
                <a:spcPct val="0"/>
              </a:spcBef>
              <a:spcAft>
                <a:spcPts val="200"/>
              </a:spcAft>
              <a:buClr>
                <a:srgbClr val="404040"/>
              </a:buClr>
              <a:buSzPct val="110000"/>
              <a:buFont typeface="Arial" pitchFamily="34" charset="0"/>
              <a:buChar char="•"/>
              <a:tabLst>
                <a:tab pos="632115" algn="l"/>
                <a:tab pos="2203937" algn="l"/>
              </a:tabLst>
              <a:defRPr/>
            </a:pPr>
            <a:endParaRPr lang="en-US" sz="1200" dirty="0">
              <a:solidFill>
                <a:srgbClr val="3E282B"/>
              </a:solidFill>
              <a:latin typeface="Calibri" panose="020F0502020204030204" pitchFamily="34" charset="0"/>
              <a:ea typeface="MS PGothic" charset="0"/>
              <a:cs typeface="Calibri" pitchFamily="34" charset="0"/>
            </a:endParaRPr>
          </a:p>
          <a:p>
            <a:pPr defTabSz="609570" fontAlgn="base">
              <a:lnSpc>
                <a:spcPct val="120000"/>
              </a:lnSpc>
              <a:spcBef>
                <a:spcPct val="0"/>
              </a:spcBef>
              <a:spcAft>
                <a:spcPts val="200"/>
              </a:spcAft>
              <a:buClr>
                <a:schemeClr val="tx1">
                  <a:lumMod val="75000"/>
                  <a:lumOff val="25000"/>
                </a:schemeClr>
              </a:buClr>
              <a:buSzPct val="110000"/>
              <a:tabLst>
                <a:tab pos="632115" algn="l"/>
                <a:tab pos="2203937" algn="l"/>
              </a:tabLst>
              <a:defRPr/>
            </a:pPr>
            <a:endParaRPr lang="en-US" sz="1200" dirty="0">
              <a:solidFill>
                <a:srgbClr val="3E282B"/>
              </a:solidFill>
              <a:latin typeface="Calibri" panose="020F0502020204030204" pitchFamily="34" charset="0"/>
              <a:ea typeface="MS PGothic" charset="0"/>
              <a:cs typeface="Calibri" pitchFamily="34" charset="0"/>
            </a:endParaRPr>
          </a:p>
          <a:p>
            <a:pPr marL="158323" indent="-158323" defTabSz="609570" fontAlgn="base">
              <a:lnSpc>
                <a:spcPct val="120000"/>
              </a:lnSpc>
              <a:spcBef>
                <a:spcPct val="0"/>
              </a:spcBef>
              <a:spcAft>
                <a:spcPts val="200"/>
              </a:spcAft>
              <a:buClr>
                <a:schemeClr val="tx1">
                  <a:lumMod val="75000"/>
                  <a:lumOff val="25000"/>
                </a:schemeClr>
              </a:buClr>
              <a:buSzPct val="110000"/>
              <a:buFont typeface="Arial" pitchFamily="34" charset="0"/>
              <a:buChar char="•"/>
              <a:tabLst>
                <a:tab pos="632115" algn="l"/>
                <a:tab pos="2203937" algn="l"/>
              </a:tabLst>
              <a:defRPr/>
            </a:pPr>
            <a:endParaRPr lang="en-US" sz="1200" dirty="0">
              <a:solidFill>
                <a:srgbClr val="3E282B"/>
              </a:solidFill>
              <a:latin typeface="Calibri" panose="020F0502020204030204" pitchFamily="34" charset="0"/>
              <a:ea typeface="MS PGothic" charset="0"/>
              <a:cs typeface="Calibri" pitchFamily="34" charset="0"/>
            </a:endParaRPr>
          </a:p>
          <a:p>
            <a:pPr marL="158323" indent="-158323" defTabSz="609570" fontAlgn="base">
              <a:spcBef>
                <a:spcPct val="0"/>
              </a:spcBef>
              <a:spcAft>
                <a:spcPts val="400"/>
              </a:spcAft>
              <a:buClr>
                <a:srgbClr val="C00000"/>
              </a:buClr>
              <a:buSzPct val="110000"/>
              <a:buFont typeface="Arial" pitchFamily="34" charset="0"/>
              <a:buChar char="•"/>
              <a:tabLst>
                <a:tab pos="632115" algn="l"/>
                <a:tab pos="2203937" algn="l"/>
              </a:tabLst>
              <a:defRPr/>
            </a:pPr>
            <a:endParaRPr lang="en-US" sz="267" dirty="0">
              <a:solidFill>
                <a:srgbClr val="3E282B"/>
              </a:solidFill>
              <a:ea typeface="MS PGothic" charset="0"/>
              <a:cs typeface="Calibri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B2DB4FA-5605-3E42-B768-B7B9B396E18C}"/>
              </a:ext>
            </a:extLst>
          </p:cNvPr>
          <p:cNvGrpSpPr/>
          <p:nvPr/>
        </p:nvGrpSpPr>
        <p:grpSpPr>
          <a:xfrm>
            <a:off x="306207" y="5032225"/>
            <a:ext cx="11708372" cy="288000"/>
            <a:chOff x="2721582" y="3774169"/>
            <a:chExt cx="6201782" cy="155525"/>
          </a:xfrm>
        </p:grpSpPr>
        <p:sp>
          <p:nvSpPr>
            <p:cNvPr id="30" name="Rectangle 123"/>
            <p:cNvSpPr/>
            <p:nvPr/>
          </p:nvSpPr>
          <p:spPr>
            <a:xfrm>
              <a:off x="2721582" y="3778420"/>
              <a:ext cx="1008112" cy="151274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8000" tIns="48000" rIns="48000" bIns="48000" rtlCol="0" anchor="ctr"/>
            <a:lstStyle/>
            <a:p>
              <a:pPr algn="ctr"/>
              <a:r>
                <a:rPr lang="en-US" sz="1200" dirty="0">
                  <a:solidFill>
                    <a:prstClr val="white"/>
                  </a:solidFill>
                </a:rPr>
                <a:t>Jun.19</a:t>
              </a:r>
            </a:p>
          </p:txBody>
        </p:sp>
        <p:sp>
          <p:nvSpPr>
            <p:cNvPr id="31" name="Rectangle 127"/>
            <p:cNvSpPr/>
            <p:nvPr/>
          </p:nvSpPr>
          <p:spPr>
            <a:xfrm>
              <a:off x="3758269" y="3778420"/>
              <a:ext cx="1008112" cy="151274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8000" tIns="48000" rIns="48000" bIns="48000" rtlCol="0" anchor="ctr"/>
            <a:lstStyle/>
            <a:p>
              <a:pPr algn="ctr"/>
              <a:r>
                <a:rPr lang="en-US" sz="1200">
                  <a:solidFill>
                    <a:prstClr val="white"/>
                  </a:solidFill>
                </a:rPr>
                <a:t>July. 19</a:t>
              </a:r>
            </a:p>
          </p:txBody>
        </p:sp>
        <p:sp>
          <p:nvSpPr>
            <p:cNvPr id="32" name="Rectangle 128"/>
            <p:cNvSpPr/>
            <p:nvPr/>
          </p:nvSpPr>
          <p:spPr>
            <a:xfrm>
              <a:off x="5831643" y="3778420"/>
              <a:ext cx="1008112" cy="151274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8000" tIns="48000" rIns="48000" bIns="48000" rtlCol="0" anchor="ctr"/>
            <a:lstStyle/>
            <a:p>
              <a:pPr algn="ctr"/>
              <a:r>
                <a:rPr lang="en-US" sz="1200">
                  <a:solidFill>
                    <a:prstClr val="white"/>
                  </a:solidFill>
                </a:rPr>
                <a:t>Sep. 19</a:t>
              </a:r>
            </a:p>
          </p:txBody>
        </p:sp>
        <p:sp>
          <p:nvSpPr>
            <p:cNvPr id="33" name="Rectangle 129"/>
            <p:cNvSpPr/>
            <p:nvPr/>
          </p:nvSpPr>
          <p:spPr>
            <a:xfrm>
              <a:off x="4794956" y="3778420"/>
              <a:ext cx="1008112" cy="151274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8000" tIns="48000" rIns="48000" bIns="48000" rtlCol="0" anchor="ctr"/>
            <a:lstStyle/>
            <a:p>
              <a:pPr algn="ctr"/>
              <a:r>
                <a:rPr lang="en-US" sz="1200">
                  <a:solidFill>
                    <a:prstClr val="white"/>
                  </a:solidFill>
                </a:rPr>
                <a:t>Aug. 19</a:t>
              </a:r>
            </a:p>
          </p:txBody>
        </p:sp>
        <p:sp>
          <p:nvSpPr>
            <p:cNvPr id="34" name="Rectangle 130"/>
            <p:cNvSpPr/>
            <p:nvPr/>
          </p:nvSpPr>
          <p:spPr>
            <a:xfrm>
              <a:off x="6868330" y="3778420"/>
              <a:ext cx="1008112" cy="151274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8000" tIns="48000" rIns="48000" bIns="48000" rtlCol="0" anchor="ctr"/>
            <a:lstStyle/>
            <a:p>
              <a:pPr algn="ctr"/>
              <a:r>
                <a:rPr lang="en-US" sz="1200">
                  <a:solidFill>
                    <a:prstClr val="white"/>
                  </a:solidFill>
                </a:rPr>
                <a:t>Oct. 19</a:t>
              </a:r>
            </a:p>
          </p:txBody>
        </p:sp>
        <p:sp>
          <p:nvSpPr>
            <p:cNvPr id="42" name="Rectangle 130"/>
            <p:cNvSpPr/>
            <p:nvPr/>
          </p:nvSpPr>
          <p:spPr>
            <a:xfrm>
              <a:off x="7915252" y="3774169"/>
              <a:ext cx="1008112" cy="151274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  <a:ln w="63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8000" tIns="48000" rIns="48000" bIns="48000" rtlCol="0" anchor="ctr"/>
            <a:lstStyle/>
            <a:p>
              <a:pPr algn="ctr"/>
              <a:r>
                <a:rPr lang="en-US" sz="1200">
                  <a:solidFill>
                    <a:prstClr val="white"/>
                  </a:solidFill>
                </a:rPr>
                <a:t>Nov. 19</a:t>
              </a:r>
            </a:p>
          </p:txBody>
        </p:sp>
      </p:grpSp>
      <p:sp>
        <p:nvSpPr>
          <p:cNvPr id="26" name="Oval 25">
            <a:extLst>
              <a:ext uri="{FF2B5EF4-FFF2-40B4-BE49-F238E27FC236}">
                <a16:creationId xmlns:a16="http://schemas.microsoft.com/office/drawing/2014/main" id="{4C57F955-3AF7-EB4B-B73D-7C3CFB04984E}"/>
              </a:ext>
            </a:extLst>
          </p:cNvPr>
          <p:cNvSpPr/>
          <p:nvPr/>
        </p:nvSpPr>
        <p:spPr>
          <a:xfrm>
            <a:off x="932039" y="5627890"/>
            <a:ext cx="210962" cy="210962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48876126-B83D-6949-976A-72877EF4838C}"/>
              </a:ext>
            </a:extLst>
          </p:cNvPr>
          <p:cNvSpPr/>
          <p:nvPr/>
        </p:nvSpPr>
        <p:spPr>
          <a:xfrm>
            <a:off x="938390" y="6328822"/>
            <a:ext cx="210962" cy="210962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!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4EA0707C-5D70-B749-8D96-217A0485B616}"/>
              </a:ext>
            </a:extLst>
          </p:cNvPr>
          <p:cNvSpPr/>
          <p:nvPr/>
        </p:nvSpPr>
        <p:spPr>
          <a:xfrm>
            <a:off x="932040" y="5961301"/>
            <a:ext cx="210962" cy="210962"/>
          </a:xfrm>
          <a:prstGeom prst="ellipse">
            <a:avLst/>
          </a:prstGeom>
          <a:pattFill prst="wdUpDiag">
            <a:fgClr>
              <a:schemeClr val="tx2"/>
            </a:fgClr>
            <a:bgClr>
              <a:schemeClr val="bg1"/>
            </a:bgClr>
          </a:patt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643AF947-F58C-B44A-A3CD-EF2FC7147807}"/>
              </a:ext>
            </a:extLst>
          </p:cNvPr>
          <p:cNvSpPr/>
          <p:nvPr/>
        </p:nvSpPr>
        <p:spPr bwMode="auto">
          <a:xfrm>
            <a:off x="2540517" y="5496734"/>
            <a:ext cx="774184" cy="28012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6000" tIns="48000" rIns="24000" bIns="24000" numCol="1" spcCol="108000" rtlCol="0" anchor="t" anchorCtr="0" compatLnSpc="1">
            <a:prstTxWarp prst="textNoShape">
              <a:avLst/>
            </a:prstTxWarp>
            <a:noAutofit/>
          </a:bodyPr>
          <a:lstStyle/>
          <a:p>
            <a:pPr defTabSz="60957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tx1">
                  <a:lumMod val="75000"/>
                  <a:lumOff val="25000"/>
                </a:schemeClr>
              </a:buClr>
              <a:buSzPct val="110000"/>
              <a:tabLst>
                <a:tab pos="632115" algn="l"/>
                <a:tab pos="2203937" algn="l"/>
              </a:tabLst>
              <a:defRPr/>
            </a:pPr>
            <a:endParaRPr lang="en-US" sz="1100" dirty="0">
              <a:ea typeface="MS PGothic"/>
              <a:cs typeface="Calibri"/>
            </a:endParaRPr>
          </a:p>
          <a:p>
            <a:pPr defTabSz="609570" fontAlgn="base">
              <a:lnSpc>
                <a:spcPct val="120000"/>
              </a:lnSpc>
              <a:spcBef>
                <a:spcPct val="0"/>
              </a:spcBef>
              <a:buClr>
                <a:schemeClr val="tx1">
                  <a:lumMod val="75000"/>
                  <a:lumOff val="25000"/>
                </a:schemeClr>
              </a:buClr>
              <a:buSzPct val="110000"/>
              <a:tabLst>
                <a:tab pos="632115" algn="l"/>
                <a:tab pos="2203937" algn="l"/>
              </a:tabLst>
              <a:defRPr/>
            </a:pPr>
            <a:endParaRPr lang="en-US" sz="1067" dirty="0">
              <a:solidFill>
                <a:srgbClr val="3E282B"/>
              </a:solidFill>
              <a:latin typeface="Calibri" panose="020F0502020204030204" pitchFamily="34" charset="0"/>
              <a:ea typeface="MS PGothic" charset="0"/>
              <a:cs typeface="Calibri" pitchFamily="34" charset="0"/>
            </a:endParaRPr>
          </a:p>
          <a:p>
            <a:pPr defTabSz="609570" fontAlgn="base">
              <a:lnSpc>
                <a:spcPct val="120000"/>
              </a:lnSpc>
              <a:spcBef>
                <a:spcPct val="0"/>
              </a:spcBef>
              <a:buClr>
                <a:schemeClr val="tx1">
                  <a:lumMod val="75000"/>
                  <a:lumOff val="25000"/>
                </a:schemeClr>
              </a:buClr>
              <a:buSzPct val="110000"/>
              <a:tabLst>
                <a:tab pos="632115" algn="l"/>
                <a:tab pos="2203937" algn="l"/>
              </a:tabLst>
              <a:defRPr/>
            </a:pPr>
            <a:endParaRPr lang="en-US" sz="1067" dirty="0">
              <a:solidFill>
                <a:srgbClr val="3E282B"/>
              </a:solidFill>
              <a:latin typeface="Calibri" panose="020F0502020204030204" pitchFamily="34" charset="0"/>
              <a:ea typeface="MS PGothic" charset="0"/>
              <a:cs typeface="Calibri" pitchFamily="34" charset="0"/>
            </a:endParaRPr>
          </a:p>
          <a:p>
            <a:pPr defTabSz="609570" fontAlgn="base">
              <a:lnSpc>
                <a:spcPct val="120000"/>
              </a:lnSpc>
              <a:spcBef>
                <a:spcPct val="0"/>
              </a:spcBef>
              <a:buClr>
                <a:schemeClr val="tx1">
                  <a:lumMod val="75000"/>
                  <a:lumOff val="25000"/>
                </a:schemeClr>
              </a:buClr>
              <a:buSzPct val="110000"/>
              <a:tabLst>
                <a:tab pos="632115" algn="l"/>
                <a:tab pos="2203937" algn="l"/>
              </a:tabLst>
              <a:defRPr/>
            </a:pPr>
            <a:endParaRPr lang="en-US" sz="1067" dirty="0">
              <a:solidFill>
                <a:srgbClr val="3E282B"/>
              </a:solidFill>
              <a:latin typeface="Calibri" panose="020F0502020204030204" pitchFamily="34" charset="0"/>
              <a:ea typeface="MS PGothic" charset="0"/>
              <a:cs typeface="Calibri" pitchFamily="34" charset="0"/>
            </a:endParaRPr>
          </a:p>
          <a:p>
            <a:pPr defTabSz="609570" fontAlgn="base">
              <a:lnSpc>
                <a:spcPct val="120000"/>
              </a:lnSpc>
              <a:spcBef>
                <a:spcPct val="0"/>
              </a:spcBef>
              <a:buClr>
                <a:srgbClr val="C00000"/>
              </a:buClr>
              <a:buSzPct val="110000"/>
              <a:tabLst>
                <a:tab pos="632115" algn="l"/>
                <a:tab pos="2203937" algn="l"/>
              </a:tabLst>
              <a:defRPr/>
            </a:pPr>
            <a:endParaRPr lang="en-US" sz="1067" dirty="0">
              <a:solidFill>
                <a:srgbClr val="3E282B"/>
              </a:solidFill>
              <a:latin typeface="Calibri" panose="020F0502020204030204" pitchFamily="34" charset="0"/>
              <a:ea typeface="MS PGothic" charset="0"/>
              <a:cs typeface="Calibri" pitchFamily="34" charset="0"/>
            </a:endParaRPr>
          </a:p>
          <a:p>
            <a:pPr defTabSz="609570" fontAlgn="base">
              <a:spcBef>
                <a:spcPct val="0"/>
              </a:spcBef>
              <a:buClr>
                <a:srgbClr val="C00000"/>
              </a:buClr>
              <a:buSzPct val="110000"/>
              <a:tabLst>
                <a:tab pos="632115" algn="l"/>
                <a:tab pos="2203937" algn="l"/>
              </a:tabLst>
              <a:defRPr/>
            </a:pPr>
            <a:endParaRPr lang="en-US" sz="1067" dirty="0">
              <a:solidFill>
                <a:srgbClr val="3E282B"/>
              </a:solidFill>
              <a:ea typeface="MS PGothic" charset="0"/>
              <a:cs typeface="Calibri" pitchFamily="34" charset="0"/>
            </a:endParaRPr>
          </a:p>
          <a:p>
            <a:pPr defTabSz="609570" fontAlgn="base">
              <a:spcBef>
                <a:spcPct val="0"/>
              </a:spcBef>
              <a:buClr>
                <a:srgbClr val="C00000"/>
              </a:buClr>
              <a:buSzPct val="110000"/>
              <a:tabLst>
                <a:tab pos="632115" algn="l"/>
                <a:tab pos="2203937" algn="l"/>
              </a:tabLst>
              <a:defRPr/>
            </a:pPr>
            <a:endParaRPr lang="en-US" sz="1067" dirty="0">
              <a:solidFill>
                <a:srgbClr val="3E282B"/>
              </a:solidFill>
              <a:ea typeface="MS PGothic" charset="0"/>
              <a:cs typeface="Calibri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D5562FB-0235-A146-B1BC-34401EA20A9C}"/>
              </a:ext>
            </a:extLst>
          </p:cNvPr>
          <p:cNvSpPr txBox="1"/>
          <p:nvPr/>
        </p:nvSpPr>
        <p:spPr>
          <a:xfrm>
            <a:off x="1115641" y="5603347"/>
            <a:ext cx="315790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/>
              <a:t>- </a:t>
            </a:r>
            <a:r>
              <a:rPr lang="en-US" sz="1000" dirty="0"/>
              <a:t>means everything is on track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DD9D837D-15BC-6044-8C65-2471C737E843}"/>
              </a:ext>
            </a:extLst>
          </p:cNvPr>
          <p:cNvSpPr txBox="1"/>
          <p:nvPr/>
        </p:nvSpPr>
        <p:spPr>
          <a:xfrm>
            <a:off x="1149352" y="5942522"/>
            <a:ext cx="315790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/>
              <a:t>- </a:t>
            </a:r>
            <a:r>
              <a:rPr lang="en-US" sz="1000" dirty="0"/>
              <a:t>shows us that there are some minor problems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63C1CF41-60E2-2A44-9233-822F9CDBED85}"/>
              </a:ext>
            </a:extLst>
          </p:cNvPr>
          <p:cNvSpPr txBox="1"/>
          <p:nvPr/>
        </p:nvSpPr>
        <p:spPr>
          <a:xfrm>
            <a:off x="1149352" y="6311192"/>
            <a:ext cx="315790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/>
              <a:t>- </a:t>
            </a:r>
            <a:r>
              <a:rPr lang="en-US" sz="1000" dirty="0"/>
              <a:t>let the alarm clocks ring.</a:t>
            </a: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75BDCF15-7897-CC47-BF11-C8A6C1820FF9}"/>
              </a:ext>
            </a:extLst>
          </p:cNvPr>
          <p:cNvSpPr/>
          <p:nvPr/>
        </p:nvSpPr>
        <p:spPr>
          <a:xfrm>
            <a:off x="9446638" y="1251877"/>
            <a:ext cx="210962" cy="210962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!</a:t>
            </a: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F5BE6C86-677D-234D-9847-D5DFBB1B7EF6}"/>
              </a:ext>
            </a:extLst>
          </p:cNvPr>
          <p:cNvSpPr/>
          <p:nvPr/>
        </p:nvSpPr>
        <p:spPr>
          <a:xfrm>
            <a:off x="9446638" y="1682643"/>
            <a:ext cx="210962" cy="210962"/>
          </a:xfrm>
          <a:prstGeom prst="ellipse">
            <a:avLst/>
          </a:prstGeom>
          <a:pattFill prst="wdUpDiag">
            <a:fgClr>
              <a:schemeClr val="tx2"/>
            </a:fgClr>
            <a:bgClr>
              <a:schemeClr val="bg1"/>
            </a:bgClr>
          </a:patt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EA9A1D46-1543-0648-AAAD-46C498A67C31}"/>
              </a:ext>
            </a:extLst>
          </p:cNvPr>
          <p:cNvSpPr/>
          <p:nvPr/>
        </p:nvSpPr>
        <p:spPr>
          <a:xfrm>
            <a:off x="9446638" y="2099215"/>
            <a:ext cx="210962" cy="210962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B48851D8-75FC-5544-B89C-74E9E3ED3D10}"/>
              </a:ext>
            </a:extLst>
          </p:cNvPr>
          <p:cNvSpPr/>
          <p:nvPr/>
        </p:nvSpPr>
        <p:spPr>
          <a:xfrm>
            <a:off x="10483819" y="1291776"/>
            <a:ext cx="210962" cy="210962"/>
          </a:xfrm>
          <a:prstGeom prst="ellipse">
            <a:avLst/>
          </a:prstGeom>
          <a:pattFill prst="wdUpDiag">
            <a:fgClr>
              <a:schemeClr val="tx2"/>
            </a:fgClr>
            <a:bgClr>
              <a:schemeClr val="bg1"/>
            </a:bgClr>
          </a:patt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036643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lose up of a sign&#10;&#10;Description automatically generated">
            <a:extLst>
              <a:ext uri="{FF2B5EF4-FFF2-40B4-BE49-F238E27FC236}">
                <a16:creationId xmlns:a16="http://schemas.microsoft.com/office/drawing/2014/main" id="{64370045-5A33-BC41-A1E0-B78C4AE97D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67725" y="2434553"/>
            <a:ext cx="1402305" cy="46560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CCF32B3-A42E-DF48-B7C7-CA33C2A0F8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86998" y="3360313"/>
            <a:ext cx="1389511" cy="46136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6A17A17-7157-0248-9F65-5AC6B21427E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86998" y="4411492"/>
            <a:ext cx="1391073" cy="461879"/>
          </a:xfrm>
          <a:prstGeom prst="rect">
            <a:avLst/>
          </a:prstGeom>
        </p:spPr>
      </p:pic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608CCC70-9D80-4E49-AB86-B3BA6A2C610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93851" y="5463452"/>
            <a:ext cx="1391073" cy="461879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466740C8-26B2-3C4F-93D4-1E90B19E8A6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50607" y="591387"/>
            <a:ext cx="2171074" cy="2171074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313FF97E-C4D2-7743-9BD6-BCD9D6A67A3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513850" y="1085216"/>
            <a:ext cx="2386920" cy="59673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24A72551-AC9D-3F44-911B-ED10976B05A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65231" y="2540992"/>
            <a:ext cx="1934967" cy="846548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D1642A93-1B07-5C47-A29A-FBFC193ECA8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284269" y="991536"/>
            <a:ext cx="997381" cy="997381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1563F517-229F-B640-9248-5A1FC750D9FE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284269" y="2462776"/>
            <a:ext cx="997381" cy="997381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F6A47AC7-8E9B-A049-8F2F-3DB85F4811B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9420399" y="2883754"/>
            <a:ext cx="2591931" cy="121497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52581E4A-3CBF-374D-BB6C-F310449F802E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9708272" y="1228117"/>
            <a:ext cx="1391542" cy="695771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F1A62164-2D33-F847-88F2-447B88B11C36}"/>
              </a:ext>
            </a:extLst>
          </p:cNvPr>
          <p:cNvGrpSpPr/>
          <p:nvPr/>
        </p:nvGrpSpPr>
        <p:grpSpPr>
          <a:xfrm>
            <a:off x="7422287" y="4051895"/>
            <a:ext cx="1351463" cy="783172"/>
            <a:chOff x="100328" y="5941979"/>
            <a:chExt cx="1372064" cy="795110"/>
          </a:xfrm>
        </p:grpSpPr>
        <p:sp>
          <p:nvSpPr>
            <p:cNvPr id="21" name="object 6">
              <a:extLst>
                <a:ext uri="{FF2B5EF4-FFF2-40B4-BE49-F238E27FC236}">
                  <a16:creationId xmlns:a16="http://schemas.microsoft.com/office/drawing/2014/main" id="{5A36FB6E-DD30-3741-83A4-21DBD660A16D}"/>
                </a:ext>
              </a:extLst>
            </p:cNvPr>
            <p:cNvSpPr/>
            <p:nvPr userDrawn="1"/>
          </p:nvSpPr>
          <p:spPr>
            <a:xfrm>
              <a:off x="100328" y="5941979"/>
              <a:ext cx="1372064" cy="510907"/>
            </a:xfrm>
            <a:prstGeom prst="rect">
              <a:avLst/>
            </a:prstGeom>
            <a:blipFill>
              <a:blip r:embed="rId2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2" name="Graphic 21">
              <a:extLst>
                <a:ext uri="{FF2B5EF4-FFF2-40B4-BE49-F238E27FC236}">
                  <a16:creationId xmlns:a16="http://schemas.microsoft.com/office/drawing/2014/main" id="{8808A733-B9ED-524B-BC1B-DA645ECE5C0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215603" y="6565406"/>
              <a:ext cx="1226309" cy="171683"/>
            </a:xfrm>
            <a:prstGeom prst="rect">
              <a:avLst/>
            </a:prstGeom>
          </p:spPr>
        </p:pic>
      </p:grpSp>
      <p:pic>
        <p:nvPicPr>
          <p:cNvPr id="24" name="Graphic 23">
            <a:extLst>
              <a:ext uri="{FF2B5EF4-FFF2-40B4-BE49-F238E27FC236}">
                <a16:creationId xmlns:a16="http://schemas.microsoft.com/office/drawing/2014/main" id="{F2B2002F-DCA3-FA48-959E-EA85BB4B7176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10089714" y="6230067"/>
            <a:ext cx="878633" cy="99844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76423589-0638-4146-AFCD-5A5F4F003680}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9125946" y="6230067"/>
            <a:ext cx="888617" cy="99844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747AB128-2867-A04A-B16A-54DE24E8696E}"/>
              </a:ext>
            </a:extLst>
          </p:cNvPr>
          <p:cNvPicPr>
            <a:picLocks noChangeAspect="1"/>
          </p:cNvPicPr>
          <p:nvPr userDrawn="1"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8468896" y="6230067"/>
            <a:ext cx="589083" cy="99844"/>
          </a:xfrm>
          <a:prstGeom prst="rect">
            <a:avLst/>
          </a:prstGeom>
        </p:spPr>
      </p:pic>
      <p:pic>
        <p:nvPicPr>
          <p:cNvPr id="27" name="Graphic 26">
            <a:extLst>
              <a:ext uri="{FF2B5EF4-FFF2-40B4-BE49-F238E27FC236}">
                <a16:creationId xmlns:a16="http://schemas.microsoft.com/office/drawing/2014/main" id="{2114E87C-B1EA-B942-9BBB-C86B99ACDEE8}"/>
              </a:ext>
            </a:extLst>
          </p:cNvPr>
          <p:cNvPicPr>
            <a:picLocks noChangeAspect="1"/>
          </p:cNvPicPr>
          <p:nvPr userDrawn="1"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7284269" y="6230067"/>
            <a:ext cx="1138228" cy="99844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500D7D4F-2F64-E74E-B2C2-1BC0BF8A856A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9700181" y="4323054"/>
            <a:ext cx="1657697" cy="232077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2C3ABCB1-8D64-4C4C-85DF-23AF7666CA2C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10227732" y="5412041"/>
            <a:ext cx="740615" cy="740615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B4596B48-C917-B846-B9FF-586BA4213161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7391301" y="5407791"/>
            <a:ext cx="749116" cy="749116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C82AF716-7C42-7241-81BB-C97FC40310ED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9367732" y="5558401"/>
            <a:ext cx="519783" cy="519783"/>
          </a:xfrm>
          <a:prstGeom prst="rect">
            <a:avLst/>
          </a:prstGeom>
        </p:spPr>
      </p:pic>
      <p:grpSp>
        <p:nvGrpSpPr>
          <p:cNvPr id="32" name="Group 31">
            <a:extLst>
              <a:ext uri="{FF2B5EF4-FFF2-40B4-BE49-F238E27FC236}">
                <a16:creationId xmlns:a16="http://schemas.microsoft.com/office/drawing/2014/main" id="{B87D7F10-65A7-904F-9B9E-10D84C10F410}"/>
              </a:ext>
            </a:extLst>
          </p:cNvPr>
          <p:cNvGrpSpPr/>
          <p:nvPr/>
        </p:nvGrpSpPr>
        <p:grpSpPr>
          <a:xfrm>
            <a:off x="8660577" y="5648616"/>
            <a:ext cx="240878" cy="320892"/>
            <a:chOff x="5883361" y="4768690"/>
            <a:chExt cx="411003" cy="547529"/>
          </a:xfrm>
        </p:grpSpPr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18C61023-5065-494C-A8E3-8381CDD6672E}"/>
                </a:ext>
              </a:extLst>
            </p:cNvPr>
            <p:cNvSpPr/>
            <p:nvPr/>
          </p:nvSpPr>
          <p:spPr>
            <a:xfrm>
              <a:off x="5883361" y="4768690"/>
              <a:ext cx="411003" cy="547529"/>
            </a:xfrm>
            <a:custGeom>
              <a:avLst/>
              <a:gdLst>
                <a:gd name="connsiteX0" fmla="*/ 251624 w 411003"/>
                <a:gd name="connsiteY0" fmla="*/ 547530 h 547529"/>
                <a:gd name="connsiteX1" fmla="*/ 251624 w 411003"/>
                <a:gd name="connsiteY1" fmla="*/ 518193 h 547529"/>
                <a:gd name="connsiteX2" fmla="*/ 312775 w 411003"/>
                <a:gd name="connsiteY2" fmla="*/ 491999 h 547529"/>
                <a:gd name="connsiteX3" fmla="*/ 374878 w 411003"/>
                <a:gd name="connsiteY3" fmla="*/ 311881 h 547529"/>
                <a:gd name="connsiteX4" fmla="*/ 340111 w 411003"/>
                <a:gd name="connsiteY4" fmla="*/ 354077 h 547529"/>
                <a:gd name="connsiteX5" fmla="*/ 239527 w 411003"/>
                <a:gd name="connsiteY5" fmla="*/ 339313 h 547529"/>
                <a:gd name="connsiteX6" fmla="*/ 230002 w 411003"/>
                <a:gd name="connsiteY6" fmla="*/ 234538 h 547529"/>
                <a:gd name="connsiteX7" fmla="*/ 177139 w 411003"/>
                <a:gd name="connsiteY7" fmla="*/ 51849 h 547529"/>
                <a:gd name="connsiteX8" fmla="*/ 102367 w 411003"/>
                <a:gd name="connsiteY8" fmla="*/ 209487 h 547529"/>
                <a:gd name="connsiteX9" fmla="*/ 44265 w 411003"/>
                <a:gd name="connsiteY9" fmla="*/ 424181 h 547529"/>
                <a:gd name="connsiteX10" fmla="*/ 149040 w 411003"/>
                <a:gd name="connsiteY10" fmla="*/ 518478 h 547529"/>
                <a:gd name="connsiteX11" fmla="*/ 140372 w 411003"/>
                <a:gd name="connsiteY11" fmla="*/ 547053 h 547529"/>
                <a:gd name="connsiteX12" fmla="*/ 17595 w 411003"/>
                <a:gd name="connsiteY12" fmla="*/ 435801 h 547529"/>
                <a:gd name="connsiteX13" fmla="*/ 80365 w 411003"/>
                <a:gd name="connsiteY13" fmla="*/ 190723 h 547529"/>
                <a:gd name="connsiteX14" fmla="*/ 141229 w 411003"/>
                <a:gd name="connsiteY14" fmla="*/ 19273 h 547529"/>
                <a:gd name="connsiteX15" fmla="*/ 150553 w 411003"/>
                <a:gd name="connsiteY15" fmla="*/ 741 h 547529"/>
                <a:gd name="connsiteX16" fmla="*/ 163899 w 411003"/>
                <a:gd name="connsiteY16" fmla="*/ 2890 h 547529"/>
                <a:gd name="connsiteX17" fmla="*/ 258482 w 411003"/>
                <a:gd name="connsiteY17" fmla="*/ 242825 h 547529"/>
                <a:gd name="connsiteX18" fmla="*/ 260959 w 411003"/>
                <a:gd name="connsiteY18" fmla="*/ 319025 h 547529"/>
                <a:gd name="connsiteX19" fmla="*/ 323919 w 411003"/>
                <a:gd name="connsiteY19" fmla="*/ 329312 h 547529"/>
                <a:gd name="connsiteX20" fmla="*/ 348970 w 411003"/>
                <a:gd name="connsiteY20" fmla="*/ 263589 h 547529"/>
                <a:gd name="connsiteX21" fmla="*/ 356240 w 411003"/>
                <a:gd name="connsiteY21" fmla="*/ 244160 h 547529"/>
                <a:gd name="connsiteX22" fmla="*/ 373925 w 411003"/>
                <a:gd name="connsiteY22" fmla="*/ 248540 h 547529"/>
                <a:gd name="connsiteX23" fmla="*/ 331158 w 411003"/>
                <a:gd name="connsiteY23" fmla="*/ 514668 h 547529"/>
                <a:gd name="connsiteX24" fmla="*/ 251624 w 411003"/>
                <a:gd name="connsiteY24" fmla="*/ 547530 h 547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11003" h="547529">
                  <a:moveTo>
                    <a:pt x="251624" y="547530"/>
                  </a:moveTo>
                  <a:lnTo>
                    <a:pt x="251624" y="518193"/>
                  </a:lnTo>
                  <a:cubicBezTo>
                    <a:pt x="270674" y="518193"/>
                    <a:pt x="299249" y="502953"/>
                    <a:pt x="312775" y="491999"/>
                  </a:cubicBezTo>
                  <a:cubicBezTo>
                    <a:pt x="365067" y="449994"/>
                    <a:pt x="395928" y="377699"/>
                    <a:pt x="374878" y="311881"/>
                  </a:cubicBezTo>
                  <a:cubicBezTo>
                    <a:pt x="367590" y="328999"/>
                    <a:pt x="355519" y="343650"/>
                    <a:pt x="340111" y="354077"/>
                  </a:cubicBezTo>
                  <a:cubicBezTo>
                    <a:pt x="314203" y="371222"/>
                    <a:pt x="274103" y="376365"/>
                    <a:pt x="239527" y="339313"/>
                  </a:cubicBezTo>
                  <a:cubicBezTo>
                    <a:pt x="208857" y="306547"/>
                    <a:pt x="219811" y="270066"/>
                    <a:pt x="230002" y="234538"/>
                  </a:cubicBezTo>
                  <a:cubicBezTo>
                    <a:pt x="245052" y="184151"/>
                    <a:pt x="262006" y="127763"/>
                    <a:pt x="177139" y="51849"/>
                  </a:cubicBezTo>
                  <a:cubicBezTo>
                    <a:pt x="181330" y="116523"/>
                    <a:pt x="141325" y="163672"/>
                    <a:pt x="102367" y="209487"/>
                  </a:cubicBezTo>
                  <a:cubicBezTo>
                    <a:pt x="51504" y="269400"/>
                    <a:pt x="3307" y="326073"/>
                    <a:pt x="44265" y="424181"/>
                  </a:cubicBezTo>
                  <a:cubicBezTo>
                    <a:pt x="62851" y="470039"/>
                    <a:pt x="101484" y="504808"/>
                    <a:pt x="149040" y="518478"/>
                  </a:cubicBezTo>
                  <a:lnTo>
                    <a:pt x="140372" y="547053"/>
                  </a:lnTo>
                  <a:cubicBezTo>
                    <a:pt x="84518" y="530817"/>
                    <a:pt x="39240" y="489789"/>
                    <a:pt x="17595" y="435801"/>
                  </a:cubicBezTo>
                  <a:cubicBezTo>
                    <a:pt x="-30030" y="321501"/>
                    <a:pt x="28549" y="251874"/>
                    <a:pt x="80365" y="190723"/>
                  </a:cubicBezTo>
                  <a:cubicBezTo>
                    <a:pt x="125704" y="137288"/>
                    <a:pt x="164947" y="91187"/>
                    <a:pt x="141229" y="19273"/>
                  </a:cubicBezTo>
                  <a:cubicBezTo>
                    <a:pt x="138686" y="11582"/>
                    <a:pt x="142860" y="3284"/>
                    <a:pt x="150553" y="741"/>
                  </a:cubicBezTo>
                  <a:cubicBezTo>
                    <a:pt x="155085" y="-757"/>
                    <a:pt x="160065" y="44"/>
                    <a:pt x="163899" y="2890"/>
                  </a:cubicBezTo>
                  <a:cubicBezTo>
                    <a:pt x="300011" y="104046"/>
                    <a:pt x="276008" y="183865"/>
                    <a:pt x="258482" y="242825"/>
                  </a:cubicBezTo>
                  <a:cubicBezTo>
                    <a:pt x="247528" y="279306"/>
                    <a:pt x="242671" y="299213"/>
                    <a:pt x="260959" y="319025"/>
                  </a:cubicBezTo>
                  <a:cubicBezTo>
                    <a:pt x="287057" y="346933"/>
                    <a:pt x="311632" y="337503"/>
                    <a:pt x="323919" y="329312"/>
                  </a:cubicBezTo>
                  <a:cubicBezTo>
                    <a:pt x="344112" y="316072"/>
                    <a:pt x="359352" y="287021"/>
                    <a:pt x="348970" y="263589"/>
                  </a:cubicBezTo>
                  <a:cubicBezTo>
                    <a:pt x="345612" y="256217"/>
                    <a:pt x="348867" y="247518"/>
                    <a:pt x="356240" y="244160"/>
                  </a:cubicBezTo>
                  <a:cubicBezTo>
                    <a:pt x="362437" y="241338"/>
                    <a:pt x="369761" y="243153"/>
                    <a:pt x="373925" y="248540"/>
                  </a:cubicBezTo>
                  <a:cubicBezTo>
                    <a:pt x="443648" y="337599"/>
                    <a:pt x="406882" y="453804"/>
                    <a:pt x="331158" y="514668"/>
                  </a:cubicBezTo>
                  <a:cubicBezTo>
                    <a:pt x="315442" y="527527"/>
                    <a:pt x="279913" y="547530"/>
                    <a:pt x="251624" y="547530"/>
                  </a:cubicBezTo>
                  <a:close/>
                </a:path>
              </a:pathLst>
            </a:custGeom>
            <a:solidFill>
              <a:srgbClr val="00010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0A4FE1DA-36CD-C444-A4DC-31FDC2B2D69E}"/>
                </a:ext>
              </a:extLst>
            </p:cNvPr>
            <p:cNvSpPr/>
            <p:nvPr/>
          </p:nvSpPr>
          <p:spPr>
            <a:xfrm>
              <a:off x="5993968" y="5113024"/>
              <a:ext cx="181117" cy="139759"/>
            </a:xfrm>
            <a:custGeom>
              <a:avLst/>
              <a:gdLst>
                <a:gd name="connsiteX0" fmla="*/ 153590 w 181117"/>
                <a:gd name="connsiteY0" fmla="*/ 139759 h 139759"/>
                <a:gd name="connsiteX1" fmla="*/ 117681 w 181117"/>
                <a:gd name="connsiteY1" fmla="*/ 109089 h 139759"/>
                <a:gd name="connsiteX2" fmla="*/ 54816 w 181117"/>
                <a:gd name="connsiteY2" fmla="*/ 45557 h 139759"/>
                <a:gd name="connsiteX3" fmla="*/ 33099 w 181117"/>
                <a:gd name="connsiteY3" fmla="*/ 130615 h 139759"/>
                <a:gd name="connsiteX4" fmla="*/ 4524 w 181117"/>
                <a:gd name="connsiteY4" fmla="*/ 138711 h 139759"/>
                <a:gd name="connsiteX5" fmla="*/ 54245 w 181117"/>
                <a:gd name="connsiteY5" fmla="*/ 4028 h 139759"/>
                <a:gd name="connsiteX6" fmla="*/ 74981 w 181117"/>
                <a:gd name="connsiteY6" fmla="*/ 4572 h 139759"/>
                <a:gd name="connsiteX7" fmla="*/ 79010 w 181117"/>
                <a:gd name="connsiteY7" fmla="*/ 14601 h 139759"/>
                <a:gd name="connsiteX8" fmla="*/ 132540 w 181117"/>
                <a:gd name="connsiteY8" fmla="*/ 83752 h 139759"/>
                <a:gd name="connsiteX9" fmla="*/ 181118 w 181117"/>
                <a:gd name="connsiteY9" fmla="*/ 129472 h 139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1117" h="139759">
                  <a:moveTo>
                    <a:pt x="153590" y="139759"/>
                  </a:moveTo>
                  <a:cubicBezTo>
                    <a:pt x="149114" y="127662"/>
                    <a:pt x="134540" y="119090"/>
                    <a:pt x="117681" y="109089"/>
                  </a:cubicBezTo>
                  <a:cubicBezTo>
                    <a:pt x="94154" y="95277"/>
                    <a:pt x="66246" y="78799"/>
                    <a:pt x="54816" y="45557"/>
                  </a:cubicBezTo>
                  <a:cubicBezTo>
                    <a:pt x="31956" y="72703"/>
                    <a:pt x="24622" y="101278"/>
                    <a:pt x="33099" y="130615"/>
                  </a:cubicBezTo>
                  <a:lnTo>
                    <a:pt x="4524" y="138711"/>
                  </a:lnTo>
                  <a:cubicBezTo>
                    <a:pt x="-5001" y="105469"/>
                    <a:pt x="-4144" y="55177"/>
                    <a:pt x="54245" y="4028"/>
                  </a:cubicBezTo>
                  <a:cubicBezTo>
                    <a:pt x="60121" y="-1548"/>
                    <a:pt x="69406" y="-1305"/>
                    <a:pt x="74981" y="4572"/>
                  </a:cubicBezTo>
                  <a:cubicBezTo>
                    <a:pt x="77552" y="7281"/>
                    <a:pt x="78992" y="10867"/>
                    <a:pt x="79010" y="14601"/>
                  </a:cubicBezTo>
                  <a:cubicBezTo>
                    <a:pt x="80057" y="52701"/>
                    <a:pt x="105584" y="67845"/>
                    <a:pt x="132540" y="83752"/>
                  </a:cubicBezTo>
                  <a:cubicBezTo>
                    <a:pt x="152447" y="95468"/>
                    <a:pt x="173117" y="107565"/>
                    <a:pt x="181118" y="129472"/>
                  </a:cubicBezTo>
                  <a:close/>
                </a:path>
              </a:pathLst>
            </a:custGeom>
            <a:solidFill>
              <a:srgbClr val="00010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00380651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6E2799D9-46F5-A44A-961C-F5D8EDB60F5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/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4911F08-4505-F74A-8393-CCFAA53A5FD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/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30E94E1C-3C6F-E047-A60C-3D37B09CEB9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B06BBE1-1143-F049-9F3A-572FBF22D79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/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318D4B04-7C0C-BB42-9353-BA6792A496D8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439D5083-C278-0F4A-8510-D5AB5FDBD7D8}"/>
              </a:ext>
            </a:extLst>
          </p:cNvPr>
          <p:cNvSpPr>
            <a:spLocks noGrp="1"/>
          </p:cNvSpPr>
          <p:nvPr>
            <p:ph sz="quarter" idx="4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11658E0E-5133-2749-9666-75275BB780C5}"/>
              </a:ext>
            </a:extLst>
          </p:cNvPr>
          <p:cNvSpPr>
            <a:spLocks noGrp="1"/>
          </p:cNvSpPr>
          <p:nvPr>
            <p:ph sz="quarter" idx="4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A8EF8D4D-C27C-3C4B-9458-1212186BE783}"/>
              </a:ext>
            </a:extLst>
          </p:cNvPr>
          <p:cNvSpPr>
            <a:spLocks noGrp="1"/>
          </p:cNvSpPr>
          <p:nvPr>
            <p:ph sz="quarter" idx="4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E7D0086A-1798-2E4A-BCEF-98C127166B5B}"/>
              </a:ext>
            </a:extLst>
          </p:cNvPr>
          <p:cNvSpPr>
            <a:spLocks noGrp="1"/>
          </p:cNvSpPr>
          <p:nvPr>
            <p:ph sz="quarter" idx="4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B7A02A3E-8C77-174A-B79C-9CB75E5BA037}"/>
              </a:ext>
            </a:extLst>
          </p:cNvPr>
          <p:cNvSpPr>
            <a:spLocks noGrp="1"/>
          </p:cNvSpPr>
          <p:nvPr>
            <p:ph sz="quarter" idx="4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CAA80C10-6A2B-DC46-8F5C-E984858DDB55}"/>
              </a:ext>
            </a:extLst>
          </p:cNvPr>
          <p:cNvSpPr>
            <a:spLocks noGrp="1"/>
          </p:cNvSpPr>
          <p:nvPr>
            <p:ph sz="quarter" idx="4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77C7A088-4F2B-A049-A87E-3736C93FB8DA}"/>
              </a:ext>
            </a:extLst>
          </p:cNvPr>
          <p:cNvSpPr>
            <a:spLocks noGrp="1"/>
          </p:cNvSpPr>
          <p:nvPr>
            <p:ph sz="quarter" idx="4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8DE40CC5-1CBF-A648-8B63-B21B4E3624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36897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45" name="Diapositive think-cell" r:id="rId5" imgW="421" imgH="423" progId="TCLayout.ActiveDocument.1">
                  <p:embed/>
                </p:oleObj>
              </mc:Choice>
              <mc:Fallback>
                <p:oleObj name="Diapositive think-cell" r:id="rId5" imgW="421" imgH="423" progId="TCLayout.ActiveDocument.1">
                  <p:embed/>
                  <p:pic>
                    <p:nvPicPr>
                      <p:cNvPr id="7" name="Obje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7">
            <a:extLst>
              <a:ext uri="{FF2B5EF4-FFF2-40B4-BE49-F238E27FC236}">
                <a16:creationId xmlns:a16="http://schemas.microsoft.com/office/drawing/2014/main" id="{9C1A432B-5F0A-644D-B08C-1C788C3CE8C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sz="2400" dirty="0" err="1">
                <a:solidFill>
                  <a:schemeClr val="tx1"/>
                </a:solidFill>
              </a:rPr>
              <a:t>September</a:t>
            </a:r>
            <a:r>
              <a:rPr lang="fr-FR" sz="2400" dirty="0">
                <a:solidFill>
                  <a:schemeClr val="tx1"/>
                </a:solidFill>
              </a:rPr>
              <a:t> 2019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1416AFE-51A9-744D-9AF9-58B8BA1E2AF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ut your title here</a:t>
            </a:r>
            <a:endParaRPr lang="en-US" dirty="0">
              <a:latin typeface="+mn-lt"/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DA0DDA65-F826-8543-972B-65B12782CF1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solidFill>
            <a:schemeClr val="tx2"/>
          </a:solidFill>
        </p:spPr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A76C6AB-C269-D346-B346-7EBE1252A80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400542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F75B8B3E-B702-1942-A8DD-83D2FAEF9F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D3B5938-A37E-6A45-BFB9-1252159B6F7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6CA09BB-ED1B-8C49-A790-0571EC28B7B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64819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42FA65DE-33BE-064B-A658-55DE446795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A42C55D-781B-724B-AB53-8504C4760DEE}"/>
              </a:ext>
            </a:extLst>
          </p:cNvPr>
          <p:cNvSpPr>
            <a:spLocks noGrp="1"/>
          </p:cNvSpPr>
          <p:nvPr>
            <p:ph type="pic" idx="1"/>
          </p:nvPr>
        </p:nvSpPr>
        <p:spPr/>
      </p:sp>
    </p:spTree>
    <p:extLst>
      <p:ext uri="{BB962C8B-B14F-4D97-AF65-F5344CB8AC3E}">
        <p14:creationId xmlns:p14="http://schemas.microsoft.com/office/powerpoint/2010/main" val="272015477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4F4585A-D58E-894A-9493-8E12B2E428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BFF28D9-CB94-B446-8FF5-DDF16526E1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BFC1B36-3843-6D40-BB6D-BAB5DD01118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</p:spTree>
    <p:extLst>
      <p:ext uri="{BB962C8B-B14F-4D97-AF65-F5344CB8AC3E}">
        <p14:creationId xmlns:p14="http://schemas.microsoft.com/office/powerpoint/2010/main" val="18344517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65" name="Diapositive think-cell" r:id="rId5" imgW="421" imgH="423" progId="TCLayout.ActiveDocument.1">
                  <p:embed/>
                </p:oleObj>
              </mc:Choice>
              <mc:Fallback>
                <p:oleObj name="Diapositive think-cell" r:id="rId5" imgW="421" imgH="423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133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D9E8136B-1974-F44B-A771-6CAEAFB46BE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9020CA7D-D2F1-2E4C-A1D1-A2AFC6E9621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pPr marL="0" indent="0">
              <a:buNone/>
            </a:pPr>
            <a:endParaRPr lang="en-US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9603DE63-0EB0-4146-9225-209B40525D5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pPr marL="0" indent="0">
              <a:buNone/>
            </a:pP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07E4DA24-0C3D-7F43-B702-C9DB76F5815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pPr marL="0" indent="0">
              <a:buNone/>
            </a:pPr>
            <a:endParaRPr lang="en-US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042DE2B8-C0D3-564D-9BB5-B003C67AB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pPr marL="0" indent="0">
              <a:buNone/>
            </a:pPr>
            <a:endParaRPr lang="en-US"/>
          </a:p>
        </p:txBody>
      </p:sp>
      <p:cxnSp>
        <p:nvCxnSpPr>
          <p:cNvPr id="9" name="Connecteur droit 15"/>
          <p:cNvCxnSpPr/>
          <p:nvPr/>
        </p:nvCxnSpPr>
        <p:spPr>
          <a:xfrm>
            <a:off x="2827205" y="1239732"/>
            <a:ext cx="0" cy="624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21"/>
          <p:cNvCxnSpPr/>
          <p:nvPr/>
        </p:nvCxnSpPr>
        <p:spPr>
          <a:xfrm>
            <a:off x="2817737" y="2364445"/>
            <a:ext cx="0" cy="624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Ellipse 1"/>
          <p:cNvSpPr>
            <a:spLocks noChangeAspect="1"/>
          </p:cNvSpPr>
          <p:nvPr/>
        </p:nvSpPr>
        <p:spPr>
          <a:xfrm>
            <a:off x="1162805" y="1364356"/>
            <a:ext cx="374752" cy="37475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en-US" sz="1600" dirty="0">
                <a:solidFill>
                  <a:schemeClr val="accent1"/>
                </a:solidFill>
              </a:rPr>
              <a:t>1</a:t>
            </a:r>
          </a:p>
        </p:txBody>
      </p:sp>
      <p:sp>
        <p:nvSpPr>
          <p:cNvPr id="63" name="Ellipse 62"/>
          <p:cNvSpPr>
            <a:spLocks noChangeAspect="1"/>
          </p:cNvSpPr>
          <p:nvPr/>
        </p:nvSpPr>
        <p:spPr>
          <a:xfrm>
            <a:off x="1162805" y="2489069"/>
            <a:ext cx="374752" cy="37475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en-US" sz="1600" dirty="0">
                <a:solidFill>
                  <a:schemeClr val="accent1"/>
                </a:solidFill>
              </a:rPr>
              <a:t>2</a:t>
            </a:r>
          </a:p>
        </p:txBody>
      </p:sp>
      <p:sp>
        <p:nvSpPr>
          <p:cNvPr id="69" name="Ellipse 68"/>
          <p:cNvSpPr>
            <a:spLocks noChangeAspect="1"/>
          </p:cNvSpPr>
          <p:nvPr/>
        </p:nvSpPr>
        <p:spPr>
          <a:xfrm>
            <a:off x="1162805" y="3613783"/>
            <a:ext cx="374752" cy="37475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en-US" sz="1600" dirty="0">
                <a:solidFill>
                  <a:schemeClr val="accent1"/>
                </a:solidFill>
              </a:rPr>
              <a:t>3</a:t>
            </a:r>
          </a:p>
        </p:txBody>
      </p:sp>
      <p:sp>
        <p:nvSpPr>
          <p:cNvPr id="78" name="Ellipse 77"/>
          <p:cNvSpPr>
            <a:spLocks noChangeAspect="1"/>
          </p:cNvSpPr>
          <p:nvPr/>
        </p:nvSpPr>
        <p:spPr>
          <a:xfrm>
            <a:off x="1162805" y="4738496"/>
            <a:ext cx="374752" cy="37475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en-US" sz="1600" dirty="0">
                <a:solidFill>
                  <a:schemeClr val="accent1"/>
                </a:solidFill>
              </a:rPr>
              <a:t>4</a:t>
            </a:r>
          </a:p>
        </p:txBody>
      </p:sp>
      <p:cxnSp>
        <p:nvCxnSpPr>
          <p:cNvPr id="16" name="Connecteur droit 21"/>
          <p:cNvCxnSpPr/>
          <p:nvPr/>
        </p:nvCxnSpPr>
        <p:spPr>
          <a:xfrm>
            <a:off x="2817737" y="3489159"/>
            <a:ext cx="0" cy="624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llipse 17"/>
          <p:cNvSpPr>
            <a:spLocks noChangeAspect="1"/>
          </p:cNvSpPr>
          <p:nvPr/>
        </p:nvSpPr>
        <p:spPr>
          <a:xfrm>
            <a:off x="1162805" y="5863209"/>
            <a:ext cx="374752" cy="37475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en-US" sz="1600" dirty="0">
                <a:solidFill>
                  <a:schemeClr val="accent1"/>
                </a:solidFill>
              </a:rPr>
              <a:t>5</a:t>
            </a:r>
          </a:p>
        </p:txBody>
      </p:sp>
      <p:cxnSp>
        <p:nvCxnSpPr>
          <p:cNvPr id="22" name="Connecteur droit 21"/>
          <p:cNvCxnSpPr/>
          <p:nvPr/>
        </p:nvCxnSpPr>
        <p:spPr>
          <a:xfrm>
            <a:off x="2817737" y="4613872"/>
            <a:ext cx="0" cy="624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droit 21"/>
          <p:cNvCxnSpPr/>
          <p:nvPr/>
        </p:nvCxnSpPr>
        <p:spPr>
          <a:xfrm>
            <a:off x="2817737" y="5738585"/>
            <a:ext cx="0" cy="624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oup 40">
            <a:extLst>
              <a:ext uri="{FF2B5EF4-FFF2-40B4-BE49-F238E27FC236}">
                <a16:creationId xmlns:a16="http://schemas.microsoft.com/office/drawing/2014/main" id="{77ECE817-913F-064D-A9BC-3422FD1FD997}"/>
              </a:ext>
            </a:extLst>
          </p:cNvPr>
          <p:cNvGrpSpPr/>
          <p:nvPr/>
        </p:nvGrpSpPr>
        <p:grpSpPr>
          <a:xfrm>
            <a:off x="1931283" y="1363490"/>
            <a:ext cx="600284" cy="376485"/>
            <a:chOff x="1820068" y="4668440"/>
            <a:chExt cx="455613" cy="285750"/>
          </a:xfrm>
          <a:solidFill>
            <a:schemeClr val="tx1"/>
          </a:solidFill>
        </p:grpSpPr>
        <p:sp>
          <p:nvSpPr>
            <p:cNvPr id="28" name="Freeform 106">
              <a:extLst>
                <a:ext uri="{FF2B5EF4-FFF2-40B4-BE49-F238E27FC236}">
                  <a16:creationId xmlns:a16="http://schemas.microsoft.com/office/drawing/2014/main" id="{B37D750D-7279-C548-8B8C-D69C1A55A5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20068" y="4668440"/>
              <a:ext cx="455613" cy="285750"/>
            </a:xfrm>
            <a:custGeom>
              <a:avLst/>
              <a:gdLst>
                <a:gd name="T0" fmla="*/ 500 w 1150"/>
                <a:gd name="T1" fmla="*/ 642 h 719"/>
                <a:gd name="T2" fmla="*/ 408 w 1150"/>
                <a:gd name="T3" fmla="*/ 621 h 719"/>
                <a:gd name="T4" fmla="*/ 320 w 1150"/>
                <a:gd name="T5" fmla="*/ 586 h 719"/>
                <a:gd name="T6" fmla="*/ 239 w 1150"/>
                <a:gd name="T7" fmla="*/ 538 h 719"/>
                <a:gd name="T8" fmla="*/ 167 w 1150"/>
                <a:gd name="T9" fmla="*/ 477 h 719"/>
                <a:gd name="T10" fmla="*/ 107 w 1150"/>
                <a:gd name="T11" fmla="*/ 406 h 719"/>
                <a:gd name="T12" fmla="*/ 96 w 1150"/>
                <a:gd name="T13" fmla="*/ 327 h 719"/>
                <a:gd name="T14" fmla="*/ 155 w 1150"/>
                <a:gd name="T15" fmla="*/ 255 h 719"/>
                <a:gd name="T16" fmla="*/ 224 w 1150"/>
                <a:gd name="T17" fmla="*/ 192 h 719"/>
                <a:gd name="T18" fmla="*/ 304 w 1150"/>
                <a:gd name="T19" fmla="*/ 141 h 719"/>
                <a:gd name="T20" fmla="*/ 390 w 1150"/>
                <a:gd name="T21" fmla="*/ 104 h 719"/>
                <a:gd name="T22" fmla="*/ 481 w 1150"/>
                <a:gd name="T23" fmla="*/ 80 h 719"/>
                <a:gd name="T24" fmla="*/ 575 w 1150"/>
                <a:gd name="T25" fmla="*/ 72 h 719"/>
                <a:gd name="T26" fmla="*/ 669 w 1150"/>
                <a:gd name="T27" fmla="*/ 80 h 719"/>
                <a:gd name="T28" fmla="*/ 760 w 1150"/>
                <a:gd name="T29" fmla="*/ 104 h 719"/>
                <a:gd name="T30" fmla="*/ 846 w 1150"/>
                <a:gd name="T31" fmla="*/ 141 h 719"/>
                <a:gd name="T32" fmla="*/ 926 w 1150"/>
                <a:gd name="T33" fmla="*/ 192 h 719"/>
                <a:gd name="T34" fmla="*/ 995 w 1150"/>
                <a:gd name="T35" fmla="*/ 255 h 719"/>
                <a:gd name="T36" fmla="*/ 1054 w 1150"/>
                <a:gd name="T37" fmla="*/ 328 h 719"/>
                <a:gd name="T38" fmla="*/ 1043 w 1150"/>
                <a:gd name="T39" fmla="*/ 407 h 719"/>
                <a:gd name="T40" fmla="*/ 983 w 1150"/>
                <a:gd name="T41" fmla="*/ 477 h 719"/>
                <a:gd name="T42" fmla="*/ 910 w 1150"/>
                <a:gd name="T43" fmla="*/ 538 h 719"/>
                <a:gd name="T44" fmla="*/ 830 w 1150"/>
                <a:gd name="T45" fmla="*/ 586 h 719"/>
                <a:gd name="T46" fmla="*/ 743 w 1150"/>
                <a:gd name="T47" fmla="*/ 621 h 719"/>
                <a:gd name="T48" fmla="*/ 651 w 1150"/>
                <a:gd name="T49" fmla="*/ 643 h 719"/>
                <a:gd name="T50" fmla="*/ 1149 w 1150"/>
                <a:gd name="T51" fmla="*/ 352 h 719"/>
                <a:gd name="T52" fmla="*/ 1147 w 1150"/>
                <a:gd name="T53" fmla="*/ 345 h 719"/>
                <a:gd name="T54" fmla="*/ 1102 w 1150"/>
                <a:gd name="T55" fmla="*/ 271 h 719"/>
                <a:gd name="T56" fmla="*/ 1032 w 1150"/>
                <a:gd name="T57" fmla="*/ 190 h 719"/>
                <a:gd name="T58" fmla="*/ 948 w 1150"/>
                <a:gd name="T59" fmla="*/ 120 h 719"/>
                <a:gd name="T60" fmla="*/ 854 w 1150"/>
                <a:gd name="T61" fmla="*/ 65 h 719"/>
                <a:gd name="T62" fmla="*/ 751 w 1150"/>
                <a:gd name="T63" fmla="*/ 25 h 719"/>
                <a:gd name="T64" fmla="*/ 642 w 1150"/>
                <a:gd name="T65" fmla="*/ 3 h 719"/>
                <a:gd name="T66" fmla="*/ 530 w 1150"/>
                <a:gd name="T67" fmla="*/ 1 h 719"/>
                <a:gd name="T68" fmla="*/ 421 w 1150"/>
                <a:gd name="T69" fmla="*/ 19 h 719"/>
                <a:gd name="T70" fmla="*/ 316 w 1150"/>
                <a:gd name="T71" fmla="*/ 56 h 719"/>
                <a:gd name="T72" fmla="*/ 220 w 1150"/>
                <a:gd name="T73" fmla="*/ 108 h 719"/>
                <a:gd name="T74" fmla="*/ 135 w 1150"/>
                <a:gd name="T75" fmla="*/ 175 h 719"/>
                <a:gd name="T76" fmla="*/ 61 w 1150"/>
                <a:gd name="T77" fmla="*/ 254 h 719"/>
                <a:gd name="T78" fmla="*/ 4 w 1150"/>
                <a:gd name="T79" fmla="*/ 342 h 719"/>
                <a:gd name="T80" fmla="*/ 2 w 1150"/>
                <a:gd name="T81" fmla="*/ 349 h 719"/>
                <a:gd name="T82" fmla="*/ 1 w 1150"/>
                <a:gd name="T83" fmla="*/ 367 h 719"/>
                <a:gd name="T84" fmla="*/ 3 w 1150"/>
                <a:gd name="T85" fmla="*/ 375 h 719"/>
                <a:gd name="T86" fmla="*/ 48 w 1150"/>
                <a:gd name="T87" fmla="*/ 448 h 719"/>
                <a:gd name="T88" fmla="*/ 119 w 1150"/>
                <a:gd name="T89" fmla="*/ 529 h 719"/>
                <a:gd name="T90" fmla="*/ 202 w 1150"/>
                <a:gd name="T91" fmla="*/ 598 h 719"/>
                <a:gd name="T92" fmla="*/ 297 w 1150"/>
                <a:gd name="T93" fmla="*/ 654 h 719"/>
                <a:gd name="T94" fmla="*/ 399 w 1150"/>
                <a:gd name="T95" fmla="*/ 693 h 719"/>
                <a:gd name="T96" fmla="*/ 508 w 1150"/>
                <a:gd name="T97" fmla="*/ 716 h 719"/>
                <a:gd name="T98" fmla="*/ 620 w 1150"/>
                <a:gd name="T99" fmla="*/ 718 h 719"/>
                <a:gd name="T100" fmla="*/ 730 w 1150"/>
                <a:gd name="T101" fmla="*/ 700 h 719"/>
                <a:gd name="T102" fmla="*/ 833 w 1150"/>
                <a:gd name="T103" fmla="*/ 663 h 719"/>
                <a:gd name="T104" fmla="*/ 931 w 1150"/>
                <a:gd name="T105" fmla="*/ 611 h 719"/>
                <a:gd name="T106" fmla="*/ 1016 w 1150"/>
                <a:gd name="T107" fmla="*/ 544 h 719"/>
                <a:gd name="T108" fmla="*/ 1089 w 1150"/>
                <a:gd name="T109" fmla="*/ 465 h 719"/>
                <a:gd name="T110" fmla="*/ 1147 w 1150"/>
                <a:gd name="T111" fmla="*/ 377 h 719"/>
                <a:gd name="T112" fmla="*/ 1149 w 1150"/>
                <a:gd name="T113" fmla="*/ 370 h 719"/>
                <a:gd name="T114" fmla="*/ 1149 w 1150"/>
                <a:gd name="T115" fmla="*/ 352 h 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50" h="719">
                  <a:moveTo>
                    <a:pt x="575" y="647"/>
                  </a:moveTo>
                  <a:lnTo>
                    <a:pt x="556" y="647"/>
                  </a:lnTo>
                  <a:lnTo>
                    <a:pt x="538" y="646"/>
                  </a:lnTo>
                  <a:lnTo>
                    <a:pt x="518" y="645"/>
                  </a:lnTo>
                  <a:lnTo>
                    <a:pt x="500" y="642"/>
                  </a:lnTo>
                  <a:lnTo>
                    <a:pt x="481" y="639"/>
                  </a:lnTo>
                  <a:lnTo>
                    <a:pt x="463" y="635"/>
                  </a:lnTo>
                  <a:lnTo>
                    <a:pt x="444" y="632"/>
                  </a:lnTo>
                  <a:lnTo>
                    <a:pt x="426" y="626"/>
                  </a:lnTo>
                  <a:lnTo>
                    <a:pt x="408" y="621"/>
                  </a:lnTo>
                  <a:lnTo>
                    <a:pt x="390" y="616"/>
                  </a:lnTo>
                  <a:lnTo>
                    <a:pt x="372" y="609"/>
                  </a:lnTo>
                  <a:lnTo>
                    <a:pt x="355" y="602"/>
                  </a:lnTo>
                  <a:lnTo>
                    <a:pt x="338" y="594"/>
                  </a:lnTo>
                  <a:lnTo>
                    <a:pt x="320" y="586"/>
                  </a:lnTo>
                  <a:lnTo>
                    <a:pt x="303" y="578"/>
                  </a:lnTo>
                  <a:lnTo>
                    <a:pt x="287" y="568"/>
                  </a:lnTo>
                  <a:lnTo>
                    <a:pt x="271" y="558"/>
                  </a:lnTo>
                  <a:lnTo>
                    <a:pt x="255" y="549"/>
                  </a:lnTo>
                  <a:lnTo>
                    <a:pt x="239" y="538"/>
                  </a:lnTo>
                  <a:lnTo>
                    <a:pt x="224" y="527"/>
                  </a:lnTo>
                  <a:lnTo>
                    <a:pt x="209" y="515"/>
                  </a:lnTo>
                  <a:lnTo>
                    <a:pt x="195" y="503"/>
                  </a:lnTo>
                  <a:lnTo>
                    <a:pt x="181" y="490"/>
                  </a:lnTo>
                  <a:lnTo>
                    <a:pt x="167" y="477"/>
                  </a:lnTo>
                  <a:lnTo>
                    <a:pt x="154" y="464"/>
                  </a:lnTo>
                  <a:lnTo>
                    <a:pt x="142" y="450"/>
                  </a:lnTo>
                  <a:lnTo>
                    <a:pt x="129" y="436"/>
                  </a:lnTo>
                  <a:lnTo>
                    <a:pt x="119" y="421"/>
                  </a:lnTo>
                  <a:lnTo>
                    <a:pt x="107" y="406"/>
                  </a:lnTo>
                  <a:lnTo>
                    <a:pt x="96" y="391"/>
                  </a:lnTo>
                  <a:lnTo>
                    <a:pt x="86" y="376"/>
                  </a:lnTo>
                  <a:lnTo>
                    <a:pt x="76" y="360"/>
                  </a:lnTo>
                  <a:lnTo>
                    <a:pt x="86" y="343"/>
                  </a:lnTo>
                  <a:lnTo>
                    <a:pt x="96" y="327"/>
                  </a:lnTo>
                  <a:lnTo>
                    <a:pt x="107" y="312"/>
                  </a:lnTo>
                  <a:lnTo>
                    <a:pt x="119" y="297"/>
                  </a:lnTo>
                  <a:lnTo>
                    <a:pt x="129" y="283"/>
                  </a:lnTo>
                  <a:lnTo>
                    <a:pt x="142" y="269"/>
                  </a:lnTo>
                  <a:lnTo>
                    <a:pt x="155" y="255"/>
                  </a:lnTo>
                  <a:lnTo>
                    <a:pt x="168" y="242"/>
                  </a:lnTo>
                  <a:lnTo>
                    <a:pt x="181" y="229"/>
                  </a:lnTo>
                  <a:lnTo>
                    <a:pt x="195" y="216"/>
                  </a:lnTo>
                  <a:lnTo>
                    <a:pt x="210" y="204"/>
                  </a:lnTo>
                  <a:lnTo>
                    <a:pt x="224" y="192"/>
                  </a:lnTo>
                  <a:lnTo>
                    <a:pt x="239" y="181"/>
                  </a:lnTo>
                  <a:lnTo>
                    <a:pt x="256" y="171"/>
                  </a:lnTo>
                  <a:lnTo>
                    <a:pt x="271" y="161"/>
                  </a:lnTo>
                  <a:lnTo>
                    <a:pt x="287" y="151"/>
                  </a:lnTo>
                  <a:lnTo>
                    <a:pt x="304" y="141"/>
                  </a:lnTo>
                  <a:lnTo>
                    <a:pt x="320" y="133"/>
                  </a:lnTo>
                  <a:lnTo>
                    <a:pt x="338" y="125"/>
                  </a:lnTo>
                  <a:lnTo>
                    <a:pt x="355" y="118"/>
                  </a:lnTo>
                  <a:lnTo>
                    <a:pt x="372" y="110"/>
                  </a:lnTo>
                  <a:lnTo>
                    <a:pt x="390" y="104"/>
                  </a:lnTo>
                  <a:lnTo>
                    <a:pt x="408" y="98"/>
                  </a:lnTo>
                  <a:lnTo>
                    <a:pt x="426" y="93"/>
                  </a:lnTo>
                  <a:lnTo>
                    <a:pt x="445" y="87"/>
                  </a:lnTo>
                  <a:lnTo>
                    <a:pt x="463" y="83"/>
                  </a:lnTo>
                  <a:lnTo>
                    <a:pt x="481" y="80"/>
                  </a:lnTo>
                  <a:lnTo>
                    <a:pt x="500" y="77"/>
                  </a:lnTo>
                  <a:lnTo>
                    <a:pt x="518" y="75"/>
                  </a:lnTo>
                  <a:lnTo>
                    <a:pt x="538" y="73"/>
                  </a:lnTo>
                  <a:lnTo>
                    <a:pt x="556" y="72"/>
                  </a:lnTo>
                  <a:lnTo>
                    <a:pt x="575" y="72"/>
                  </a:lnTo>
                  <a:lnTo>
                    <a:pt x="594" y="72"/>
                  </a:lnTo>
                  <a:lnTo>
                    <a:pt x="613" y="73"/>
                  </a:lnTo>
                  <a:lnTo>
                    <a:pt x="632" y="75"/>
                  </a:lnTo>
                  <a:lnTo>
                    <a:pt x="651" y="77"/>
                  </a:lnTo>
                  <a:lnTo>
                    <a:pt x="669" y="80"/>
                  </a:lnTo>
                  <a:lnTo>
                    <a:pt x="688" y="83"/>
                  </a:lnTo>
                  <a:lnTo>
                    <a:pt x="706" y="87"/>
                  </a:lnTo>
                  <a:lnTo>
                    <a:pt x="724" y="93"/>
                  </a:lnTo>
                  <a:lnTo>
                    <a:pt x="743" y="98"/>
                  </a:lnTo>
                  <a:lnTo>
                    <a:pt x="760" y="104"/>
                  </a:lnTo>
                  <a:lnTo>
                    <a:pt x="778" y="110"/>
                  </a:lnTo>
                  <a:lnTo>
                    <a:pt x="796" y="118"/>
                  </a:lnTo>
                  <a:lnTo>
                    <a:pt x="813" y="125"/>
                  </a:lnTo>
                  <a:lnTo>
                    <a:pt x="830" y="133"/>
                  </a:lnTo>
                  <a:lnTo>
                    <a:pt x="846" y="141"/>
                  </a:lnTo>
                  <a:lnTo>
                    <a:pt x="864" y="151"/>
                  </a:lnTo>
                  <a:lnTo>
                    <a:pt x="880" y="161"/>
                  </a:lnTo>
                  <a:lnTo>
                    <a:pt x="895" y="171"/>
                  </a:lnTo>
                  <a:lnTo>
                    <a:pt x="911" y="181"/>
                  </a:lnTo>
                  <a:lnTo>
                    <a:pt x="926" y="192"/>
                  </a:lnTo>
                  <a:lnTo>
                    <a:pt x="940" y="204"/>
                  </a:lnTo>
                  <a:lnTo>
                    <a:pt x="956" y="216"/>
                  </a:lnTo>
                  <a:lnTo>
                    <a:pt x="970" y="229"/>
                  </a:lnTo>
                  <a:lnTo>
                    <a:pt x="983" y="242"/>
                  </a:lnTo>
                  <a:lnTo>
                    <a:pt x="995" y="255"/>
                  </a:lnTo>
                  <a:lnTo>
                    <a:pt x="1008" y="269"/>
                  </a:lnTo>
                  <a:lnTo>
                    <a:pt x="1020" y="283"/>
                  </a:lnTo>
                  <a:lnTo>
                    <a:pt x="1032" y="298"/>
                  </a:lnTo>
                  <a:lnTo>
                    <a:pt x="1043" y="312"/>
                  </a:lnTo>
                  <a:lnTo>
                    <a:pt x="1054" y="328"/>
                  </a:lnTo>
                  <a:lnTo>
                    <a:pt x="1065" y="343"/>
                  </a:lnTo>
                  <a:lnTo>
                    <a:pt x="1074" y="360"/>
                  </a:lnTo>
                  <a:lnTo>
                    <a:pt x="1065" y="376"/>
                  </a:lnTo>
                  <a:lnTo>
                    <a:pt x="1054" y="391"/>
                  </a:lnTo>
                  <a:lnTo>
                    <a:pt x="1043" y="407"/>
                  </a:lnTo>
                  <a:lnTo>
                    <a:pt x="1032" y="422"/>
                  </a:lnTo>
                  <a:lnTo>
                    <a:pt x="1020" y="436"/>
                  </a:lnTo>
                  <a:lnTo>
                    <a:pt x="1008" y="450"/>
                  </a:lnTo>
                  <a:lnTo>
                    <a:pt x="995" y="464"/>
                  </a:lnTo>
                  <a:lnTo>
                    <a:pt x="983" y="477"/>
                  </a:lnTo>
                  <a:lnTo>
                    <a:pt x="968" y="490"/>
                  </a:lnTo>
                  <a:lnTo>
                    <a:pt x="954" y="503"/>
                  </a:lnTo>
                  <a:lnTo>
                    <a:pt x="940" y="515"/>
                  </a:lnTo>
                  <a:lnTo>
                    <a:pt x="925" y="527"/>
                  </a:lnTo>
                  <a:lnTo>
                    <a:pt x="910" y="538"/>
                  </a:lnTo>
                  <a:lnTo>
                    <a:pt x="895" y="549"/>
                  </a:lnTo>
                  <a:lnTo>
                    <a:pt x="879" y="558"/>
                  </a:lnTo>
                  <a:lnTo>
                    <a:pt x="863" y="568"/>
                  </a:lnTo>
                  <a:lnTo>
                    <a:pt x="846" y="578"/>
                  </a:lnTo>
                  <a:lnTo>
                    <a:pt x="830" y="586"/>
                  </a:lnTo>
                  <a:lnTo>
                    <a:pt x="813" y="594"/>
                  </a:lnTo>
                  <a:lnTo>
                    <a:pt x="796" y="602"/>
                  </a:lnTo>
                  <a:lnTo>
                    <a:pt x="778" y="609"/>
                  </a:lnTo>
                  <a:lnTo>
                    <a:pt x="760" y="616"/>
                  </a:lnTo>
                  <a:lnTo>
                    <a:pt x="743" y="621"/>
                  </a:lnTo>
                  <a:lnTo>
                    <a:pt x="724" y="626"/>
                  </a:lnTo>
                  <a:lnTo>
                    <a:pt x="706" y="632"/>
                  </a:lnTo>
                  <a:lnTo>
                    <a:pt x="688" y="636"/>
                  </a:lnTo>
                  <a:lnTo>
                    <a:pt x="669" y="639"/>
                  </a:lnTo>
                  <a:lnTo>
                    <a:pt x="651" y="643"/>
                  </a:lnTo>
                  <a:lnTo>
                    <a:pt x="632" y="645"/>
                  </a:lnTo>
                  <a:lnTo>
                    <a:pt x="613" y="646"/>
                  </a:lnTo>
                  <a:lnTo>
                    <a:pt x="594" y="647"/>
                  </a:lnTo>
                  <a:lnTo>
                    <a:pt x="575" y="647"/>
                  </a:lnTo>
                  <a:close/>
                  <a:moveTo>
                    <a:pt x="1149" y="352"/>
                  </a:moveTo>
                  <a:lnTo>
                    <a:pt x="1149" y="349"/>
                  </a:lnTo>
                  <a:lnTo>
                    <a:pt x="1149" y="347"/>
                  </a:lnTo>
                  <a:lnTo>
                    <a:pt x="1148" y="347"/>
                  </a:lnTo>
                  <a:lnTo>
                    <a:pt x="1148" y="346"/>
                  </a:lnTo>
                  <a:lnTo>
                    <a:pt x="1147" y="345"/>
                  </a:lnTo>
                  <a:lnTo>
                    <a:pt x="1147" y="342"/>
                  </a:lnTo>
                  <a:lnTo>
                    <a:pt x="1137" y="324"/>
                  </a:lnTo>
                  <a:lnTo>
                    <a:pt x="1126" y="306"/>
                  </a:lnTo>
                  <a:lnTo>
                    <a:pt x="1114" y="288"/>
                  </a:lnTo>
                  <a:lnTo>
                    <a:pt x="1102" y="271"/>
                  </a:lnTo>
                  <a:lnTo>
                    <a:pt x="1089" y="254"/>
                  </a:lnTo>
                  <a:lnTo>
                    <a:pt x="1075" y="237"/>
                  </a:lnTo>
                  <a:lnTo>
                    <a:pt x="1061" y="220"/>
                  </a:lnTo>
                  <a:lnTo>
                    <a:pt x="1047" y="205"/>
                  </a:lnTo>
                  <a:lnTo>
                    <a:pt x="1032" y="190"/>
                  </a:lnTo>
                  <a:lnTo>
                    <a:pt x="1016" y="175"/>
                  </a:lnTo>
                  <a:lnTo>
                    <a:pt x="1000" y="161"/>
                  </a:lnTo>
                  <a:lnTo>
                    <a:pt x="984" y="147"/>
                  </a:lnTo>
                  <a:lnTo>
                    <a:pt x="966" y="133"/>
                  </a:lnTo>
                  <a:lnTo>
                    <a:pt x="948" y="120"/>
                  </a:lnTo>
                  <a:lnTo>
                    <a:pt x="931" y="108"/>
                  </a:lnTo>
                  <a:lnTo>
                    <a:pt x="911" y="96"/>
                  </a:lnTo>
                  <a:lnTo>
                    <a:pt x="893" y="85"/>
                  </a:lnTo>
                  <a:lnTo>
                    <a:pt x="873" y="75"/>
                  </a:lnTo>
                  <a:lnTo>
                    <a:pt x="854" y="65"/>
                  </a:lnTo>
                  <a:lnTo>
                    <a:pt x="833" y="56"/>
                  </a:lnTo>
                  <a:lnTo>
                    <a:pt x="813" y="48"/>
                  </a:lnTo>
                  <a:lnTo>
                    <a:pt x="792" y="39"/>
                  </a:lnTo>
                  <a:lnTo>
                    <a:pt x="772" y="32"/>
                  </a:lnTo>
                  <a:lnTo>
                    <a:pt x="751" y="25"/>
                  </a:lnTo>
                  <a:lnTo>
                    <a:pt x="730" y="19"/>
                  </a:lnTo>
                  <a:lnTo>
                    <a:pt x="708" y="14"/>
                  </a:lnTo>
                  <a:lnTo>
                    <a:pt x="687" y="10"/>
                  </a:lnTo>
                  <a:lnTo>
                    <a:pt x="664" y="6"/>
                  </a:lnTo>
                  <a:lnTo>
                    <a:pt x="642" y="3"/>
                  </a:lnTo>
                  <a:lnTo>
                    <a:pt x="620" y="1"/>
                  </a:lnTo>
                  <a:lnTo>
                    <a:pt x="598" y="0"/>
                  </a:lnTo>
                  <a:lnTo>
                    <a:pt x="575" y="0"/>
                  </a:lnTo>
                  <a:lnTo>
                    <a:pt x="553" y="0"/>
                  </a:lnTo>
                  <a:lnTo>
                    <a:pt x="530" y="1"/>
                  </a:lnTo>
                  <a:lnTo>
                    <a:pt x="508" y="3"/>
                  </a:lnTo>
                  <a:lnTo>
                    <a:pt x="486" y="6"/>
                  </a:lnTo>
                  <a:lnTo>
                    <a:pt x="464" y="10"/>
                  </a:lnTo>
                  <a:lnTo>
                    <a:pt x="443" y="14"/>
                  </a:lnTo>
                  <a:lnTo>
                    <a:pt x="421" y="19"/>
                  </a:lnTo>
                  <a:lnTo>
                    <a:pt x="399" y="25"/>
                  </a:lnTo>
                  <a:lnTo>
                    <a:pt x="379" y="32"/>
                  </a:lnTo>
                  <a:lnTo>
                    <a:pt x="357" y="39"/>
                  </a:lnTo>
                  <a:lnTo>
                    <a:pt x="337" y="48"/>
                  </a:lnTo>
                  <a:lnTo>
                    <a:pt x="316" y="56"/>
                  </a:lnTo>
                  <a:lnTo>
                    <a:pt x="297" y="65"/>
                  </a:lnTo>
                  <a:lnTo>
                    <a:pt x="277" y="75"/>
                  </a:lnTo>
                  <a:lnTo>
                    <a:pt x="258" y="85"/>
                  </a:lnTo>
                  <a:lnTo>
                    <a:pt x="238" y="96"/>
                  </a:lnTo>
                  <a:lnTo>
                    <a:pt x="220" y="108"/>
                  </a:lnTo>
                  <a:lnTo>
                    <a:pt x="202" y="120"/>
                  </a:lnTo>
                  <a:lnTo>
                    <a:pt x="184" y="133"/>
                  </a:lnTo>
                  <a:lnTo>
                    <a:pt x="167" y="147"/>
                  </a:lnTo>
                  <a:lnTo>
                    <a:pt x="151" y="160"/>
                  </a:lnTo>
                  <a:lnTo>
                    <a:pt x="135" y="175"/>
                  </a:lnTo>
                  <a:lnTo>
                    <a:pt x="119" y="189"/>
                  </a:lnTo>
                  <a:lnTo>
                    <a:pt x="103" y="205"/>
                  </a:lnTo>
                  <a:lnTo>
                    <a:pt x="88" y="220"/>
                  </a:lnTo>
                  <a:lnTo>
                    <a:pt x="74" y="237"/>
                  </a:lnTo>
                  <a:lnTo>
                    <a:pt x="61" y="254"/>
                  </a:lnTo>
                  <a:lnTo>
                    <a:pt x="48" y="270"/>
                  </a:lnTo>
                  <a:lnTo>
                    <a:pt x="36" y="288"/>
                  </a:lnTo>
                  <a:lnTo>
                    <a:pt x="25" y="306"/>
                  </a:lnTo>
                  <a:lnTo>
                    <a:pt x="14" y="324"/>
                  </a:lnTo>
                  <a:lnTo>
                    <a:pt x="4" y="342"/>
                  </a:lnTo>
                  <a:lnTo>
                    <a:pt x="3" y="343"/>
                  </a:lnTo>
                  <a:lnTo>
                    <a:pt x="3" y="346"/>
                  </a:lnTo>
                  <a:lnTo>
                    <a:pt x="3" y="346"/>
                  </a:lnTo>
                  <a:lnTo>
                    <a:pt x="2" y="347"/>
                  </a:lnTo>
                  <a:lnTo>
                    <a:pt x="2" y="349"/>
                  </a:lnTo>
                  <a:lnTo>
                    <a:pt x="1" y="351"/>
                  </a:lnTo>
                  <a:lnTo>
                    <a:pt x="1" y="355"/>
                  </a:lnTo>
                  <a:lnTo>
                    <a:pt x="0" y="360"/>
                  </a:lnTo>
                  <a:lnTo>
                    <a:pt x="1" y="364"/>
                  </a:lnTo>
                  <a:lnTo>
                    <a:pt x="1" y="367"/>
                  </a:lnTo>
                  <a:lnTo>
                    <a:pt x="2" y="369"/>
                  </a:lnTo>
                  <a:lnTo>
                    <a:pt x="2" y="373"/>
                  </a:lnTo>
                  <a:lnTo>
                    <a:pt x="3" y="373"/>
                  </a:lnTo>
                  <a:lnTo>
                    <a:pt x="3" y="374"/>
                  </a:lnTo>
                  <a:lnTo>
                    <a:pt x="3" y="375"/>
                  </a:lnTo>
                  <a:lnTo>
                    <a:pt x="4" y="376"/>
                  </a:lnTo>
                  <a:lnTo>
                    <a:pt x="14" y="395"/>
                  </a:lnTo>
                  <a:lnTo>
                    <a:pt x="25" y="414"/>
                  </a:lnTo>
                  <a:lnTo>
                    <a:pt x="36" y="431"/>
                  </a:lnTo>
                  <a:lnTo>
                    <a:pt x="48" y="448"/>
                  </a:lnTo>
                  <a:lnTo>
                    <a:pt x="61" y="465"/>
                  </a:lnTo>
                  <a:lnTo>
                    <a:pt x="74" y="482"/>
                  </a:lnTo>
                  <a:lnTo>
                    <a:pt x="88" y="498"/>
                  </a:lnTo>
                  <a:lnTo>
                    <a:pt x="103" y="514"/>
                  </a:lnTo>
                  <a:lnTo>
                    <a:pt x="119" y="529"/>
                  </a:lnTo>
                  <a:lnTo>
                    <a:pt x="135" y="544"/>
                  </a:lnTo>
                  <a:lnTo>
                    <a:pt x="151" y="558"/>
                  </a:lnTo>
                  <a:lnTo>
                    <a:pt x="167" y="572"/>
                  </a:lnTo>
                  <a:lnTo>
                    <a:pt x="184" y="586"/>
                  </a:lnTo>
                  <a:lnTo>
                    <a:pt x="202" y="598"/>
                  </a:lnTo>
                  <a:lnTo>
                    <a:pt x="220" y="611"/>
                  </a:lnTo>
                  <a:lnTo>
                    <a:pt x="238" y="623"/>
                  </a:lnTo>
                  <a:lnTo>
                    <a:pt x="258" y="634"/>
                  </a:lnTo>
                  <a:lnTo>
                    <a:pt x="277" y="645"/>
                  </a:lnTo>
                  <a:lnTo>
                    <a:pt x="297" y="654"/>
                  </a:lnTo>
                  <a:lnTo>
                    <a:pt x="316" y="663"/>
                  </a:lnTo>
                  <a:lnTo>
                    <a:pt x="337" y="672"/>
                  </a:lnTo>
                  <a:lnTo>
                    <a:pt x="357" y="680"/>
                  </a:lnTo>
                  <a:lnTo>
                    <a:pt x="379" y="687"/>
                  </a:lnTo>
                  <a:lnTo>
                    <a:pt x="399" y="693"/>
                  </a:lnTo>
                  <a:lnTo>
                    <a:pt x="421" y="700"/>
                  </a:lnTo>
                  <a:lnTo>
                    <a:pt x="443" y="705"/>
                  </a:lnTo>
                  <a:lnTo>
                    <a:pt x="464" y="710"/>
                  </a:lnTo>
                  <a:lnTo>
                    <a:pt x="486" y="713"/>
                  </a:lnTo>
                  <a:lnTo>
                    <a:pt x="508" y="716"/>
                  </a:lnTo>
                  <a:lnTo>
                    <a:pt x="530" y="718"/>
                  </a:lnTo>
                  <a:lnTo>
                    <a:pt x="553" y="719"/>
                  </a:lnTo>
                  <a:lnTo>
                    <a:pt x="575" y="719"/>
                  </a:lnTo>
                  <a:lnTo>
                    <a:pt x="598" y="719"/>
                  </a:lnTo>
                  <a:lnTo>
                    <a:pt x="620" y="718"/>
                  </a:lnTo>
                  <a:lnTo>
                    <a:pt x="642" y="716"/>
                  </a:lnTo>
                  <a:lnTo>
                    <a:pt x="664" y="713"/>
                  </a:lnTo>
                  <a:lnTo>
                    <a:pt x="687" y="710"/>
                  </a:lnTo>
                  <a:lnTo>
                    <a:pt x="708" y="705"/>
                  </a:lnTo>
                  <a:lnTo>
                    <a:pt x="730" y="700"/>
                  </a:lnTo>
                  <a:lnTo>
                    <a:pt x="751" y="693"/>
                  </a:lnTo>
                  <a:lnTo>
                    <a:pt x="772" y="687"/>
                  </a:lnTo>
                  <a:lnTo>
                    <a:pt x="792" y="680"/>
                  </a:lnTo>
                  <a:lnTo>
                    <a:pt x="813" y="672"/>
                  </a:lnTo>
                  <a:lnTo>
                    <a:pt x="833" y="663"/>
                  </a:lnTo>
                  <a:lnTo>
                    <a:pt x="854" y="654"/>
                  </a:lnTo>
                  <a:lnTo>
                    <a:pt x="873" y="645"/>
                  </a:lnTo>
                  <a:lnTo>
                    <a:pt x="893" y="634"/>
                  </a:lnTo>
                  <a:lnTo>
                    <a:pt x="911" y="623"/>
                  </a:lnTo>
                  <a:lnTo>
                    <a:pt x="931" y="611"/>
                  </a:lnTo>
                  <a:lnTo>
                    <a:pt x="948" y="599"/>
                  </a:lnTo>
                  <a:lnTo>
                    <a:pt x="966" y="586"/>
                  </a:lnTo>
                  <a:lnTo>
                    <a:pt x="984" y="572"/>
                  </a:lnTo>
                  <a:lnTo>
                    <a:pt x="1000" y="559"/>
                  </a:lnTo>
                  <a:lnTo>
                    <a:pt x="1016" y="544"/>
                  </a:lnTo>
                  <a:lnTo>
                    <a:pt x="1032" y="530"/>
                  </a:lnTo>
                  <a:lnTo>
                    <a:pt x="1047" y="514"/>
                  </a:lnTo>
                  <a:lnTo>
                    <a:pt x="1061" y="499"/>
                  </a:lnTo>
                  <a:lnTo>
                    <a:pt x="1075" y="483"/>
                  </a:lnTo>
                  <a:lnTo>
                    <a:pt x="1089" y="465"/>
                  </a:lnTo>
                  <a:lnTo>
                    <a:pt x="1102" y="448"/>
                  </a:lnTo>
                  <a:lnTo>
                    <a:pt x="1114" y="431"/>
                  </a:lnTo>
                  <a:lnTo>
                    <a:pt x="1126" y="414"/>
                  </a:lnTo>
                  <a:lnTo>
                    <a:pt x="1137" y="395"/>
                  </a:lnTo>
                  <a:lnTo>
                    <a:pt x="1147" y="377"/>
                  </a:lnTo>
                  <a:lnTo>
                    <a:pt x="1147" y="375"/>
                  </a:lnTo>
                  <a:lnTo>
                    <a:pt x="1148" y="374"/>
                  </a:lnTo>
                  <a:lnTo>
                    <a:pt x="1148" y="374"/>
                  </a:lnTo>
                  <a:lnTo>
                    <a:pt x="1149" y="373"/>
                  </a:lnTo>
                  <a:lnTo>
                    <a:pt x="1149" y="370"/>
                  </a:lnTo>
                  <a:lnTo>
                    <a:pt x="1149" y="368"/>
                  </a:lnTo>
                  <a:lnTo>
                    <a:pt x="1150" y="364"/>
                  </a:lnTo>
                  <a:lnTo>
                    <a:pt x="1150" y="360"/>
                  </a:lnTo>
                  <a:lnTo>
                    <a:pt x="1150" y="355"/>
                  </a:lnTo>
                  <a:lnTo>
                    <a:pt x="1149" y="3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 dirty="0"/>
            </a:p>
          </p:txBody>
        </p:sp>
        <p:sp>
          <p:nvSpPr>
            <p:cNvPr id="29" name="Freeform 107">
              <a:extLst>
                <a:ext uri="{FF2B5EF4-FFF2-40B4-BE49-F238E27FC236}">
                  <a16:creationId xmlns:a16="http://schemas.microsoft.com/office/drawing/2014/main" id="{8240EE68-C994-6846-BAF7-235E29B0114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1518" y="4754165"/>
              <a:ext cx="63500" cy="65088"/>
            </a:xfrm>
            <a:custGeom>
              <a:avLst/>
              <a:gdLst>
                <a:gd name="T0" fmla="*/ 143 w 161"/>
                <a:gd name="T1" fmla="*/ 0 h 162"/>
                <a:gd name="T2" fmla="*/ 128 w 161"/>
                <a:gd name="T3" fmla="*/ 0 h 162"/>
                <a:gd name="T4" fmla="*/ 100 w 161"/>
                <a:gd name="T5" fmla="*/ 6 h 162"/>
                <a:gd name="T6" fmla="*/ 74 w 161"/>
                <a:gd name="T7" fmla="*/ 17 h 162"/>
                <a:gd name="T8" fmla="*/ 52 w 161"/>
                <a:gd name="T9" fmla="*/ 32 h 162"/>
                <a:gd name="T10" fmla="*/ 32 w 161"/>
                <a:gd name="T11" fmla="*/ 52 h 162"/>
                <a:gd name="T12" fmla="*/ 17 w 161"/>
                <a:gd name="T13" fmla="*/ 76 h 162"/>
                <a:gd name="T14" fmla="*/ 6 w 161"/>
                <a:gd name="T15" fmla="*/ 100 h 162"/>
                <a:gd name="T16" fmla="*/ 0 w 161"/>
                <a:gd name="T17" fmla="*/ 129 h 162"/>
                <a:gd name="T18" fmla="*/ 0 w 161"/>
                <a:gd name="T19" fmla="*/ 147 h 162"/>
                <a:gd name="T20" fmla="*/ 2 w 161"/>
                <a:gd name="T21" fmla="*/ 153 h 162"/>
                <a:gd name="T22" fmla="*/ 7 w 161"/>
                <a:gd name="T23" fmla="*/ 159 h 162"/>
                <a:gd name="T24" fmla="*/ 14 w 161"/>
                <a:gd name="T25" fmla="*/ 161 h 162"/>
                <a:gd name="T26" fmla="*/ 21 w 161"/>
                <a:gd name="T27" fmla="*/ 161 h 162"/>
                <a:gd name="T28" fmla="*/ 28 w 161"/>
                <a:gd name="T29" fmla="*/ 159 h 162"/>
                <a:gd name="T30" fmla="*/ 32 w 161"/>
                <a:gd name="T31" fmla="*/ 153 h 162"/>
                <a:gd name="T32" fmla="*/ 35 w 161"/>
                <a:gd name="T33" fmla="*/ 147 h 162"/>
                <a:gd name="T34" fmla="*/ 35 w 161"/>
                <a:gd name="T35" fmla="*/ 133 h 162"/>
                <a:gd name="T36" fmla="*/ 40 w 161"/>
                <a:gd name="T37" fmla="*/ 111 h 162"/>
                <a:gd name="T38" fmla="*/ 48 w 161"/>
                <a:gd name="T39" fmla="*/ 92 h 162"/>
                <a:gd name="T40" fmla="*/ 60 w 161"/>
                <a:gd name="T41" fmla="*/ 75 h 162"/>
                <a:gd name="T42" fmla="*/ 74 w 161"/>
                <a:gd name="T43" fmla="*/ 60 h 162"/>
                <a:gd name="T44" fmla="*/ 92 w 161"/>
                <a:gd name="T45" fmla="*/ 49 h 162"/>
                <a:gd name="T46" fmla="*/ 111 w 161"/>
                <a:gd name="T47" fmla="*/ 41 h 162"/>
                <a:gd name="T48" fmla="*/ 133 w 161"/>
                <a:gd name="T49" fmla="*/ 37 h 162"/>
                <a:gd name="T50" fmla="*/ 143 w 161"/>
                <a:gd name="T51" fmla="*/ 36 h 162"/>
                <a:gd name="T52" fmla="*/ 150 w 161"/>
                <a:gd name="T53" fmla="*/ 35 h 162"/>
                <a:gd name="T54" fmla="*/ 156 w 161"/>
                <a:gd name="T55" fmla="*/ 30 h 162"/>
                <a:gd name="T56" fmla="*/ 160 w 161"/>
                <a:gd name="T57" fmla="*/ 25 h 162"/>
                <a:gd name="T58" fmla="*/ 161 w 161"/>
                <a:gd name="T59" fmla="*/ 17 h 162"/>
                <a:gd name="T60" fmla="*/ 160 w 161"/>
                <a:gd name="T61" fmla="*/ 11 h 162"/>
                <a:gd name="T62" fmla="*/ 156 w 161"/>
                <a:gd name="T63" fmla="*/ 5 h 162"/>
                <a:gd name="T64" fmla="*/ 150 w 161"/>
                <a:gd name="T65" fmla="*/ 1 h 162"/>
                <a:gd name="T66" fmla="*/ 143 w 161"/>
                <a:gd name="T67" fmla="*/ 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61" h="162">
                  <a:moveTo>
                    <a:pt x="143" y="0"/>
                  </a:moveTo>
                  <a:lnTo>
                    <a:pt x="143" y="0"/>
                  </a:lnTo>
                  <a:lnTo>
                    <a:pt x="143" y="0"/>
                  </a:lnTo>
                  <a:lnTo>
                    <a:pt x="128" y="0"/>
                  </a:lnTo>
                  <a:lnTo>
                    <a:pt x="114" y="2"/>
                  </a:lnTo>
                  <a:lnTo>
                    <a:pt x="100" y="6"/>
                  </a:lnTo>
                  <a:lnTo>
                    <a:pt x="87" y="11"/>
                  </a:lnTo>
                  <a:lnTo>
                    <a:pt x="74" y="17"/>
                  </a:lnTo>
                  <a:lnTo>
                    <a:pt x="62" y="25"/>
                  </a:lnTo>
                  <a:lnTo>
                    <a:pt x="52" y="32"/>
                  </a:lnTo>
                  <a:lnTo>
                    <a:pt x="42" y="42"/>
                  </a:lnTo>
                  <a:lnTo>
                    <a:pt x="32" y="52"/>
                  </a:lnTo>
                  <a:lnTo>
                    <a:pt x="23" y="64"/>
                  </a:lnTo>
                  <a:lnTo>
                    <a:pt x="17" y="76"/>
                  </a:lnTo>
                  <a:lnTo>
                    <a:pt x="11" y="87"/>
                  </a:lnTo>
                  <a:lnTo>
                    <a:pt x="6" y="100"/>
                  </a:lnTo>
                  <a:lnTo>
                    <a:pt x="2" y="114"/>
                  </a:lnTo>
                  <a:lnTo>
                    <a:pt x="0" y="129"/>
                  </a:lnTo>
                  <a:lnTo>
                    <a:pt x="0" y="144"/>
                  </a:lnTo>
                  <a:lnTo>
                    <a:pt x="0" y="147"/>
                  </a:lnTo>
                  <a:lnTo>
                    <a:pt x="1" y="150"/>
                  </a:lnTo>
                  <a:lnTo>
                    <a:pt x="2" y="153"/>
                  </a:lnTo>
                  <a:lnTo>
                    <a:pt x="4" y="157"/>
                  </a:lnTo>
                  <a:lnTo>
                    <a:pt x="7" y="159"/>
                  </a:lnTo>
                  <a:lnTo>
                    <a:pt x="11" y="160"/>
                  </a:lnTo>
                  <a:lnTo>
                    <a:pt x="14" y="161"/>
                  </a:lnTo>
                  <a:lnTo>
                    <a:pt x="17" y="162"/>
                  </a:lnTo>
                  <a:lnTo>
                    <a:pt x="21" y="161"/>
                  </a:lnTo>
                  <a:lnTo>
                    <a:pt x="25" y="160"/>
                  </a:lnTo>
                  <a:lnTo>
                    <a:pt x="28" y="159"/>
                  </a:lnTo>
                  <a:lnTo>
                    <a:pt x="30" y="157"/>
                  </a:lnTo>
                  <a:lnTo>
                    <a:pt x="32" y="153"/>
                  </a:lnTo>
                  <a:lnTo>
                    <a:pt x="34" y="150"/>
                  </a:lnTo>
                  <a:lnTo>
                    <a:pt x="35" y="147"/>
                  </a:lnTo>
                  <a:lnTo>
                    <a:pt x="35" y="144"/>
                  </a:lnTo>
                  <a:lnTo>
                    <a:pt x="35" y="133"/>
                  </a:lnTo>
                  <a:lnTo>
                    <a:pt x="38" y="122"/>
                  </a:lnTo>
                  <a:lnTo>
                    <a:pt x="40" y="111"/>
                  </a:lnTo>
                  <a:lnTo>
                    <a:pt x="44" y="102"/>
                  </a:lnTo>
                  <a:lnTo>
                    <a:pt x="48" y="92"/>
                  </a:lnTo>
                  <a:lnTo>
                    <a:pt x="54" y="83"/>
                  </a:lnTo>
                  <a:lnTo>
                    <a:pt x="60" y="75"/>
                  </a:lnTo>
                  <a:lnTo>
                    <a:pt x="67" y="67"/>
                  </a:lnTo>
                  <a:lnTo>
                    <a:pt x="74" y="60"/>
                  </a:lnTo>
                  <a:lnTo>
                    <a:pt x="83" y="54"/>
                  </a:lnTo>
                  <a:lnTo>
                    <a:pt x="92" y="49"/>
                  </a:lnTo>
                  <a:lnTo>
                    <a:pt x="101" y="44"/>
                  </a:lnTo>
                  <a:lnTo>
                    <a:pt x="111" y="41"/>
                  </a:lnTo>
                  <a:lnTo>
                    <a:pt x="122" y="38"/>
                  </a:lnTo>
                  <a:lnTo>
                    <a:pt x="133" y="37"/>
                  </a:lnTo>
                  <a:lnTo>
                    <a:pt x="143" y="36"/>
                  </a:lnTo>
                  <a:lnTo>
                    <a:pt x="143" y="36"/>
                  </a:lnTo>
                  <a:lnTo>
                    <a:pt x="147" y="36"/>
                  </a:lnTo>
                  <a:lnTo>
                    <a:pt x="150" y="35"/>
                  </a:lnTo>
                  <a:lnTo>
                    <a:pt x="153" y="32"/>
                  </a:lnTo>
                  <a:lnTo>
                    <a:pt x="156" y="30"/>
                  </a:lnTo>
                  <a:lnTo>
                    <a:pt x="158" y="28"/>
                  </a:lnTo>
                  <a:lnTo>
                    <a:pt x="160" y="25"/>
                  </a:lnTo>
                  <a:lnTo>
                    <a:pt x="161" y="22"/>
                  </a:lnTo>
                  <a:lnTo>
                    <a:pt x="161" y="17"/>
                  </a:lnTo>
                  <a:lnTo>
                    <a:pt x="161" y="14"/>
                  </a:lnTo>
                  <a:lnTo>
                    <a:pt x="160" y="11"/>
                  </a:lnTo>
                  <a:lnTo>
                    <a:pt x="158" y="8"/>
                  </a:lnTo>
                  <a:lnTo>
                    <a:pt x="156" y="5"/>
                  </a:lnTo>
                  <a:lnTo>
                    <a:pt x="153" y="3"/>
                  </a:lnTo>
                  <a:lnTo>
                    <a:pt x="150" y="1"/>
                  </a:lnTo>
                  <a:lnTo>
                    <a:pt x="147" y="0"/>
                  </a:lnTo>
                  <a:lnTo>
                    <a:pt x="14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 dirty="0"/>
            </a:p>
          </p:txBody>
        </p:sp>
        <p:sp>
          <p:nvSpPr>
            <p:cNvPr id="30" name="Freeform 108">
              <a:extLst>
                <a:ext uri="{FF2B5EF4-FFF2-40B4-BE49-F238E27FC236}">
                  <a16:creationId xmlns:a16="http://schemas.microsoft.com/office/drawing/2014/main" id="{8574B3CA-A78E-AD49-AD4D-30CE481BB9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48656" y="4711303"/>
              <a:ext cx="198438" cy="200025"/>
            </a:xfrm>
            <a:custGeom>
              <a:avLst/>
              <a:gdLst>
                <a:gd name="T0" fmla="*/ 219 w 503"/>
                <a:gd name="T1" fmla="*/ 465 h 503"/>
                <a:gd name="T2" fmla="*/ 149 w 503"/>
                <a:gd name="T3" fmla="*/ 442 h 503"/>
                <a:gd name="T4" fmla="*/ 85 w 503"/>
                <a:gd name="T5" fmla="*/ 389 h 503"/>
                <a:gd name="T6" fmla="*/ 45 w 503"/>
                <a:gd name="T7" fmla="*/ 315 h 503"/>
                <a:gd name="T8" fmla="*/ 35 w 503"/>
                <a:gd name="T9" fmla="*/ 262 h 503"/>
                <a:gd name="T10" fmla="*/ 37 w 503"/>
                <a:gd name="T11" fmla="*/ 219 h 503"/>
                <a:gd name="T12" fmla="*/ 61 w 503"/>
                <a:gd name="T13" fmla="*/ 149 h 503"/>
                <a:gd name="T14" fmla="*/ 114 w 503"/>
                <a:gd name="T15" fmla="*/ 85 h 503"/>
                <a:gd name="T16" fmla="*/ 188 w 503"/>
                <a:gd name="T17" fmla="*/ 45 h 503"/>
                <a:gd name="T18" fmla="*/ 240 w 503"/>
                <a:gd name="T19" fmla="*/ 36 h 503"/>
                <a:gd name="T20" fmla="*/ 284 w 503"/>
                <a:gd name="T21" fmla="*/ 38 h 503"/>
                <a:gd name="T22" fmla="*/ 354 w 503"/>
                <a:gd name="T23" fmla="*/ 62 h 503"/>
                <a:gd name="T24" fmla="*/ 418 w 503"/>
                <a:gd name="T25" fmla="*/ 114 h 503"/>
                <a:gd name="T26" fmla="*/ 458 w 503"/>
                <a:gd name="T27" fmla="*/ 188 h 503"/>
                <a:gd name="T28" fmla="*/ 467 w 503"/>
                <a:gd name="T29" fmla="*/ 241 h 503"/>
                <a:gd name="T30" fmla="*/ 465 w 503"/>
                <a:gd name="T31" fmla="*/ 285 h 503"/>
                <a:gd name="T32" fmla="*/ 441 w 503"/>
                <a:gd name="T33" fmla="*/ 354 h 503"/>
                <a:gd name="T34" fmla="*/ 388 w 503"/>
                <a:gd name="T35" fmla="*/ 418 h 503"/>
                <a:gd name="T36" fmla="*/ 315 w 503"/>
                <a:gd name="T37" fmla="*/ 458 h 503"/>
                <a:gd name="T38" fmla="*/ 262 w 503"/>
                <a:gd name="T39" fmla="*/ 468 h 503"/>
                <a:gd name="T40" fmla="*/ 238 w 503"/>
                <a:gd name="T41" fmla="*/ 0 h 503"/>
                <a:gd name="T42" fmla="*/ 189 w 503"/>
                <a:gd name="T43" fmla="*/ 8 h 503"/>
                <a:gd name="T44" fmla="*/ 142 w 503"/>
                <a:gd name="T45" fmla="*/ 25 h 503"/>
                <a:gd name="T46" fmla="*/ 100 w 503"/>
                <a:gd name="T47" fmla="*/ 50 h 503"/>
                <a:gd name="T48" fmla="*/ 64 w 503"/>
                <a:gd name="T49" fmla="*/ 82 h 503"/>
                <a:gd name="T50" fmla="*/ 35 w 503"/>
                <a:gd name="T51" fmla="*/ 121 h 503"/>
                <a:gd name="T52" fmla="*/ 15 w 503"/>
                <a:gd name="T53" fmla="*/ 165 h 503"/>
                <a:gd name="T54" fmla="*/ 2 w 503"/>
                <a:gd name="T55" fmla="*/ 214 h 503"/>
                <a:gd name="T56" fmla="*/ 0 w 503"/>
                <a:gd name="T57" fmla="*/ 265 h 503"/>
                <a:gd name="T58" fmla="*/ 7 w 503"/>
                <a:gd name="T59" fmla="*/ 314 h 503"/>
                <a:gd name="T60" fmla="*/ 24 w 503"/>
                <a:gd name="T61" fmla="*/ 361 h 503"/>
                <a:gd name="T62" fmla="*/ 49 w 503"/>
                <a:gd name="T63" fmla="*/ 403 h 503"/>
                <a:gd name="T64" fmla="*/ 82 w 503"/>
                <a:gd name="T65" fmla="*/ 438 h 503"/>
                <a:gd name="T66" fmla="*/ 121 w 503"/>
                <a:gd name="T67" fmla="*/ 468 h 503"/>
                <a:gd name="T68" fmla="*/ 165 w 503"/>
                <a:gd name="T69" fmla="*/ 488 h 503"/>
                <a:gd name="T70" fmla="*/ 212 w 503"/>
                <a:gd name="T71" fmla="*/ 501 h 503"/>
                <a:gd name="T72" fmla="*/ 264 w 503"/>
                <a:gd name="T73" fmla="*/ 503 h 503"/>
                <a:gd name="T74" fmla="*/ 314 w 503"/>
                <a:gd name="T75" fmla="*/ 496 h 503"/>
                <a:gd name="T76" fmla="*/ 360 w 503"/>
                <a:gd name="T77" fmla="*/ 478 h 503"/>
                <a:gd name="T78" fmla="*/ 402 w 503"/>
                <a:gd name="T79" fmla="*/ 454 h 503"/>
                <a:gd name="T80" fmla="*/ 438 w 503"/>
                <a:gd name="T81" fmla="*/ 421 h 503"/>
                <a:gd name="T82" fmla="*/ 467 w 503"/>
                <a:gd name="T83" fmla="*/ 382 h 503"/>
                <a:gd name="T84" fmla="*/ 488 w 503"/>
                <a:gd name="T85" fmla="*/ 338 h 503"/>
                <a:gd name="T86" fmla="*/ 501 w 503"/>
                <a:gd name="T87" fmla="*/ 291 h 503"/>
                <a:gd name="T88" fmla="*/ 503 w 503"/>
                <a:gd name="T89" fmla="*/ 239 h 503"/>
                <a:gd name="T90" fmla="*/ 495 w 503"/>
                <a:gd name="T91" fmla="*/ 189 h 503"/>
                <a:gd name="T92" fmla="*/ 478 w 503"/>
                <a:gd name="T93" fmla="*/ 143 h 503"/>
                <a:gd name="T94" fmla="*/ 453 w 503"/>
                <a:gd name="T95" fmla="*/ 100 h 503"/>
                <a:gd name="T96" fmla="*/ 421 w 503"/>
                <a:gd name="T97" fmla="*/ 65 h 503"/>
                <a:gd name="T98" fmla="*/ 382 w 503"/>
                <a:gd name="T99" fmla="*/ 37 h 503"/>
                <a:gd name="T100" fmla="*/ 338 w 503"/>
                <a:gd name="T101" fmla="*/ 15 h 503"/>
                <a:gd name="T102" fmla="*/ 290 w 503"/>
                <a:gd name="T103" fmla="*/ 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03" h="503">
                  <a:moveTo>
                    <a:pt x="251" y="468"/>
                  </a:moveTo>
                  <a:lnTo>
                    <a:pt x="240" y="468"/>
                  </a:lnTo>
                  <a:lnTo>
                    <a:pt x="230" y="467"/>
                  </a:lnTo>
                  <a:lnTo>
                    <a:pt x="219" y="465"/>
                  </a:lnTo>
                  <a:lnTo>
                    <a:pt x="208" y="463"/>
                  </a:lnTo>
                  <a:lnTo>
                    <a:pt x="188" y="458"/>
                  </a:lnTo>
                  <a:lnTo>
                    <a:pt x="167" y="450"/>
                  </a:lnTo>
                  <a:lnTo>
                    <a:pt x="149" y="442"/>
                  </a:lnTo>
                  <a:lnTo>
                    <a:pt x="130" y="431"/>
                  </a:lnTo>
                  <a:lnTo>
                    <a:pt x="114" y="418"/>
                  </a:lnTo>
                  <a:lnTo>
                    <a:pt x="99" y="404"/>
                  </a:lnTo>
                  <a:lnTo>
                    <a:pt x="85" y="389"/>
                  </a:lnTo>
                  <a:lnTo>
                    <a:pt x="72" y="373"/>
                  </a:lnTo>
                  <a:lnTo>
                    <a:pt x="61" y="354"/>
                  </a:lnTo>
                  <a:lnTo>
                    <a:pt x="53" y="336"/>
                  </a:lnTo>
                  <a:lnTo>
                    <a:pt x="45" y="315"/>
                  </a:lnTo>
                  <a:lnTo>
                    <a:pt x="40" y="295"/>
                  </a:lnTo>
                  <a:lnTo>
                    <a:pt x="37" y="285"/>
                  </a:lnTo>
                  <a:lnTo>
                    <a:pt x="36" y="273"/>
                  </a:lnTo>
                  <a:lnTo>
                    <a:pt x="35" y="262"/>
                  </a:lnTo>
                  <a:lnTo>
                    <a:pt x="35" y="252"/>
                  </a:lnTo>
                  <a:lnTo>
                    <a:pt x="35" y="241"/>
                  </a:lnTo>
                  <a:lnTo>
                    <a:pt x="36" y="230"/>
                  </a:lnTo>
                  <a:lnTo>
                    <a:pt x="37" y="219"/>
                  </a:lnTo>
                  <a:lnTo>
                    <a:pt x="40" y="208"/>
                  </a:lnTo>
                  <a:lnTo>
                    <a:pt x="45" y="188"/>
                  </a:lnTo>
                  <a:lnTo>
                    <a:pt x="53" y="167"/>
                  </a:lnTo>
                  <a:lnTo>
                    <a:pt x="61" y="149"/>
                  </a:lnTo>
                  <a:lnTo>
                    <a:pt x="72" y="131"/>
                  </a:lnTo>
                  <a:lnTo>
                    <a:pt x="85" y="114"/>
                  </a:lnTo>
                  <a:lnTo>
                    <a:pt x="99" y="99"/>
                  </a:lnTo>
                  <a:lnTo>
                    <a:pt x="114" y="85"/>
                  </a:lnTo>
                  <a:lnTo>
                    <a:pt x="130" y="72"/>
                  </a:lnTo>
                  <a:lnTo>
                    <a:pt x="149" y="62"/>
                  </a:lnTo>
                  <a:lnTo>
                    <a:pt x="167" y="53"/>
                  </a:lnTo>
                  <a:lnTo>
                    <a:pt x="188" y="45"/>
                  </a:lnTo>
                  <a:lnTo>
                    <a:pt x="208" y="40"/>
                  </a:lnTo>
                  <a:lnTo>
                    <a:pt x="219" y="38"/>
                  </a:lnTo>
                  <a:lnTo>
                    <a:pt x="230" y="37"/>
                  </a:lnTo>
                  <a:lnTo>
                    <a:pt x="240" y="36"/>
                  </a:lnTo>
                  <a:lnTo>
                    <a:pt x="251" y="36"/>
                  </a:lnTo>
                  <a:lnTo>
                    <a:pt x="262" y="36"/>
                  </a:lnTo>
                  <a:lnTo>
                    <a:pt x="273" y="37"/>
                  </a:lnTo>
                  <a:lnTo>
                    <a:pt x="284" y="38"/>
                  </a:lnTo>
                  <a:lnTo>
                    <a:pt x="294" y="40"/>
                  </a:lnTo>
                  <a:lnTo>
                    <a:pt x="315" y="45"/>
                  </a:lnTo>
                  <a:lnTo>
                    <a:pt x="336" y="53"/>
                  </a:lnTo>
                  <a:lnTo>
                    <a:pt x="354" y="62"/>
                  </a:lnTo>
                  <a:lnTo>
                    <a:pt x="372" y="72"/>
                  </a:lnTo>
                  <a:lnTo>
                    <a:pt x="388" y="85"/>
                  </a:lnTo>
                  <a:lnTo>
                    <a:pt x="404" y="99"/>
                  </a:lnTo>
                  <a:lnTo>
                    <a:pt x="418" y="114"/>
                  </a:lnTo>
                  <a:lnTo>
                    <a:pt x="431" y="131"/>
                  </a:lnTo>
                  <a:lnTo>
                    <a:pt x="441" y="149"/>
                  </a:lnTo>
                  <a:lnTo>
                    <a:pt x="450" y="167"/>
                  </a:lnTo>
                  <a:lnTo>
                    <a:pt x="458" y="188"/>
                  </a:lnTo>
                  <a:lnTo>
                    <a:pt x="463" y="208"/>
                  </a:lnTo>
                  <a:lnTo>
                    <a:pt x="465" y="219"/>
                  </a:lnTo>
                  <a:lnTo>
                    <a:pt x="466" y="230"/>
                  </a:lnTo>
                  <a:lnTo>
                    <a:pt x="467" y="241"/>
                  </a:lnTo>
                  <a:lnTo>
                    <a:pt x="467" y="252"/>
                  </a:lnTo>
                  <a:lnTo>
                    <a:pt x="467" y="262"/>
                  </a:lnTo>
                  <a:lnTo>
                    <a:pt x="466" y="273"/>
                  </a:lnTo>
                  <a:lnTo>
                    <a:pt x="465" y="285"/>
                  </a:lnTo>
                  <a:lnTo>
                    <a:pt x="463" y="295"/>
                  </a:lnTo>
                  <a:lnTo>
                    <a:pt x="458" y="315"/>
                  </a:lnTo>
                  <a:lnTo>
                    <a:pt x="450" y="336"/>
                  </a:lnTo>
                  <a:lnTo>
                    <a:pt x="441" y="354"/>
                  </a:lnTo>
                  <a:lnTo>
                    <a:pt x="431" y="373"/>
                  </a:lnTo>
                  <a:lnTo>
                    <a:pt x="418" y="389"/>
                  </a:lnTo>
                  <a:lnTo>
                    <a:pt x="404" y="404"/>
                  </a:lnTo>
                  <a:lnTo>
                    <a:pt x="388" y="418"/>
                  </a:lnTo>
                  <a:lnTo>
                    <a:pt x="372" y="431"/>
                  </a:lnTo>
                  <a:lnTo>
                    <a:pt x="354" y="442"/>
                  </a:lnTo>
                  <a:lnTo>
                    <a:pt x="336" y="450"/>
                  </a:lnTo>
                  <a:lnTo>
                    <a:pt x="315" y="458"/>
                  </a:lnTo>
                  <a:lnTo>
                    <a:pt x="294" y="463"/>
                  </a:lnTo>
                  <a:lnTo>
                    <a:pt x="284" y="465"/>
                  </a:lnTo>
                  <a:lnTo>
                    <a:pt x="273" y="467"/>
                  </a:lnTo>
                  <a:lnTo>
                    <a:pt x="262" y="468"/>
                  </a:lnTo>
                  <a:lnTo>
                    <a:pt x="251" y="468"/>
                  </a:lnTo>
                  <a:lnTo>
                    <a:pt x="251" y="468"/>
                  </a:lnTo>
                  <a:close/>
                  <a:moveTo>
                    <a:pt x="251" y="0"/>
                  </a:moveTo>
                  <a:lnTo>
                    <a:pt x="238" y="0"/>
                  </a:lnTo>
                  <a:lnTo>
                    <a:pt x="225" y="1"/>
                  </a:lnTo>
                  <a:lnTo>
                    <a:pt x="212" y="2"/>
                  </a:lnTo>
                  <a:lnTo>
                    <a:pt x="201" y="4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3" y="19"/>
                  </a:lnTo>
                  <a:lnTo>
                    <a:pt x="142" y="25"/>
                  </a:lnTo>
                  <a:lnTo>
                    <a:pt x="131" y="30"/>
                  </a:lnTo>
                  <a:lnTo>
                    <a:pt x="121" y="37"/>
                  </a:lnTo>
                  <a:lnTo>
                    <a:pt x="111" y="43"/>
                  </a:lnTo>
                  <a:lnTo>
                    <a:pt x="100" y="50"/>
                  </a:lnTo>
                  <a:lnTo>
                    <a:pt x="91" y="57"/>
                  </a:lnTo>
                  <a:lnTo>
                    <a:pt x="82" y="65"/>
                  </a:lnTo>
                  <a:lnTo>
                    <a:pt x="73" y="73"/>
                  </a:lnTo>
                  <a:lnTo>
                    <a:pt x="64" y="82"/>
                  </a:lnTo>
                  <a:lnTo>
                    <a:pt x="57" y="92"/>
                  </a:lnTo>
                  <a:lnTo>
                    <a:pt x="49" y="100"/>
                  </a:lnTo>
                  <a:lnTo>
                    <a:pt x="43" y="111"/>
                  </a:lnTo>
                  <a:lnTo>
                    <a:pt x="35" y="121"/>
                  </a:lnTo>
                  <a:lnTo>
                    <a:pt x="30" y="132"/>
                  </a:lnTo>
                  <a:lnTo>
                    <a:pt x="24" y="143"/>
                  </a:lnTo>
                  <a:lnTo>
                    <a:pt x="19" y="153"/>
                  </a:lnTo>
                  <a:lnTo>
                    <a:pt x="15" y="165"/>
                  </a:lnTo>
                  <a:lnTo>
                    <a:pt x="10" y="177"/>
                  </a:lnTo>
                  <a:lnTo>
                    <a:pt x="7" y="189"/>
                  </a:lnTo>
                  <a:lnTo>
                    <a:pt x="4" y="201"/>
                  </a:lnTo>
                  <a:lnTo>
                    <a:pt x="2" y="214"/>
                  </a:lnTo>
                  <a:lnTo>
                    <a:pt x="1" y="226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2" y="291"/>
                  </a:lnTo>
                  <a:lnTo>
                    <a:pt x="4" y="302"/>
                  </a:lnTo>
                  <a:lnTo>
                    <a:pt x="7" y="314"/>
                  </a:lnTo>
                  <a:lnTo>
                    <a:pt x="10" y="326"/>
                  </a:lnTo>
                  <a:lnTo>
                    <a:pt x="15" y="338"/>
                  </a:lnTo>
                  <a:lnTo>
                    <a:pt x="19" y="350"/>
                  </a:lnTo>
                  <a:lnTo>
                    <a:pt x="24" y="361"/>
                  </a:lnTo>
                  <a:lnTo>
                    <a:pt x="30" y="372"/>
                  </a:lnTo>
                  <a:lnTo>
                    <a:pt x="35" y="382"/>
                  </a:lnTo>
                  <a:lnTo>
                    <a:pt x="43" y="393"/>
                  </a:lnTo>
                  <a:lnTo>
                    <a:pt x="49" y="403"/>
                  </a:lnTo>
                  <a:lnTo>
                    <a:pt x="57" y="413"/>
                  </a:lnTo>
                  <a:lnTo>
                    <a:pt x="64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4"/>
                  </a:lnTo>
                  <a:lnTo>
                    <a:pt x="111" y="461"/>
                  </a:lnTo>
                  <a:lnTo>
                    <a:pt x="121" y="468"/>
                  </a:lnTo>
                  <a:lnTo>
                    <a:pt x="131" y="473"/>
                  </a:lnTo>
                  <a:lnTo>
                    <a:pt x="142" y="478"/>
                  </a:lnTo>
                  <a:lnTo>
                    <a:pt x="153" y="484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6"/>
                  </a:lnTo>
                  <a:lnTo>
                    <a:pt x="201" y="499"/>
                  </a:lnTo>
                  <a:lnTo>
                    <a:pt x="212" y="501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264" y="503"/>
                  </a:lnTo>
                  <a:lnTo>
                    <a:pt x="277" y="502"/>
                  </a:lnTo>
                  <a:lnTo>
                    <a:pt x="290" y="501"/>
                  </a:lnTo>
                  <a:lnTo>
                    <a:pt x="302" y="499"/>
                  </a:lnTo>
                  <a:lnTo>
                    <a:pt x="314" y="496"/>
                  </a:lnTo>
                  <a:lnTo>
                    <a:pt x="326" y="492"/>
                  </a:lnTo>
                  <a:lnTo>
                    <a:pt x="338" y="488"/>
                  </a:lnTo>
                  <a:lnTo>
                    <a:pt x="350" y="484"/>
                  </a:lnTo>
                  <a:lnTo>
                    <a:pt x="360" y="478"/>
                  </a:lnTo>
                  <a:lnTo>
                    <a:pt x="371" y="473"/>
                  </a:lnTo>
                  <a:lnTo>
                    <a:pt x="382" y="468"/>
                  </a:lnTo>
                  <a:lnTo>
                    <a:pt x="392" y="461"/>
                  </a:lnTo>
                  <a:lnTo>
                    <a:pt x="402" y="454"/>
                  </a:lnTo>
                  <a:lnTo>
                    <a:pt x="411" y="446"/>
                  </a:lnTo>
                  <a:lnTo>
                    <a:pt x="421" y="438"/>
                  </a:lnTo>
                  <a:lnTo>
                    <a:pt x="429" y="430"/>
                  </a:lnTo>
                  <a:lnTo>
                    <a:pt x="438" y="421"/>
                  </a:lnTo>
                  <a:lnTo>
                    <a:pt x="446" y="411"/>
                  </a:lnTo>
                  <a:lnTo>
                    <a:pt x="453" y="403"/>
                  </a:lnTo>
                  <a:lnTo>
                    <a:pt x="460" y="393"/>
                  </a:lnTo>
                  <a:lnTo>
                    <a:pt x="467" y="382"/>
                  </a:lnTo>
                  <a:lnTo>
                    <a:pt x="473" y="372"/>
                  </a:lnTo>
                  <a:lnTo>
                    <a:pt x="478" y="361"/>
                  </a:lnTo>
                  <a:lnTo>
                    <a:pt x="483" y="350"/>
                  </a:lnTo>
                  <a:lnTo>
                    <a:pt x="488" y="338"/>
                  </a:lnTo>
                  <a:lnTo>
                    <a:pt x="492" y="326"/>
                  </a:lnTo>
                  <a:lnTo>
                    <a:pt x="495" y="314"/>
                  </a:lnTo>
                  <a:lnTo>
                    <a:pt x="499" y="302"/>
                  </a:lnTo>
                  <a:lnTo>
                    <a:pt x="501" y="291"/>
                  </a:lnTo>
                  <a:lnTo>
                    <a:pt x="502" y="278"/>
                  </a:lnTo>
                  <a:lnTo>
                    <a:pt x="503" y="265"/>
                  </a:lnTo>
                  <a:lnTo>
                    <a:pt x="503" y="252"/>
                  </a:lnTo>
                  <a:lnTo>
                    <a:pt x="503" y="239"/>
                  </a:lnTo>
                  <a:lnTo>
                    <a:pt x="502" y="226"/>
                  </a:lnTo>
                  <a:lnTo>
                    <a:pt x="501" y="214"/>
                  </a:lnTo>
                  <a:lnTo>
                    <a:pt x="499" y="201"/>
                  </a:lnTo>
                  <a:lnTo>
                    <a:pt x="495" y="189"/>
                  </a:lnTo>
                  <a:lnTo>
                    <a:pt x="492" y="177"/>
                  </a:lnTo>
                  <a:lnTo>
                    <a:pt x="488" y="165"/>
                  </a:lnTo>
                  <a:lnTo>
                    <a:pt x="483" y="153"/>
                  </a:lnTo>
                  <a:lnTo>
                    <a:pt x="478" y="143"/>
                  </a:lnTo>
                  <a:lnTo>
                    <a:pt x="473" y="132"/>
                  </a:lnTo>
                  <a:lnTo>
                    <a:pt x="467" y="121"/>
                  </a:lnTo>
                  <a:lnTo>
                    <a:pt x="460" y="111"/>
                  </a:lnTo>
                  <a:lnTo>
                    <a:pt x="453" y="100"/>
                  </a:lnTo>
                  <a:lnTo>
                    <a:pt x="446" y="92"/>
                  </a:lnTo>
                  <a:lnTo>
                    <a:pt x="438" y="82"/>
                  </a:lnTo>
                  <a:lnTo>
                    <a:pt x="429" y="73"/>
                  </a:lnTo>
                  <a:lnTo>
                    <a:pt x="421" y="65"/>
                  </a:lnTo>
                  <a:lnTo>
                    <a:pt x="411" y="57"/>
                  </a:lnTo>
                  <a:lnTo>
                    <a:pt x="402" y="50"/>
                  </a:lnTo>
                  <a:lnTo>
                    <a:pt x="392" y="43"/>
                  </a:lnTo>
                  <a:lnTo>
                    <a:pt x="382" y="37"/>
                  </a:lnTo>
                  <a:lnTo>
                    <a:pt x="371" y="30"/>
                  </a:lnTo>
                  <a:lnTo>
                    <a:pt x="360" y="25"/>
                  </a:lnTo>
                  <a:lnTo>
                    <a:pt x="350" y="19"/>
                  </a:lnTo>
                  <a:lnTo>
                    <a:pt x="338" y="15"/>
                  </a:lnTo>
                  <a:lnTo>
                    <a:pt x="326" y="11"/>
                  </a:lnTo>
                  <a:lnTo>
                    <a:pt x="314" y="8"/>
                  </a:lnTo>
                  <a:lnTo>
                    <a:pt x="302" y="4"/>
                  </a:lnTo>
                  <a:lnTo>
                    <a:pt x="290" y="2"/>
                  </a:lnTo>
                  <a:lnTo>
                    <a:pt x="277" y="1"/>
                  </a:lnTo>
                  <a:lnTo>
                    <a:pt x="264" y="0"/>
                  </a:lnTo>
                  <a:lnTo>
                    <a:pt x="2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 dirty="0"/>
            </a:p>
          </p:txBody>
        </p:sp>
      </p:grpSp>
      <p:pic>
        <p:nvPicPr>
          <p:cNvPr id="44" name="Graphic 43">
            <a:extLst>
              <a:ext uri="{FF2B5EF4-FFF2-40B4-BE49-F238E27FC236}">
                <a16:creationId xmlns:a16="http://schemas.microsoft.com/office/drawing/2014/main" id="{713684B6-51DE-C74A-AC18-1E6ED20ACBD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017498" y="5738585"/>
            <a:ext cx="378508" cy="575647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AFE3F38F-E861-4649-93D2-1A47E61C8B6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835734" y="2408926"/>
            <a:ext cx="683826" cy="442069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8FC78744-AA24-F942-9E78-9FCBA878AC7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963717" y="4656481"/>
            <a:ext cx="486070" cy="462550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DCB41BD0-B700-C04E-AFD4-7A775155AEC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931283" y="3545461"/>
            <a:ext cx="622290" cy="502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01077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28" name="Diapositive think-cell" r:id="rId5" imgW="421" imgH="423" progId="TCLayout.ActiveDocument.1">
                  <p:embed/>
                </p:oleObj>
              </mc:Choice>
              <mc:Fallback>
                <p:oleObj name="Diapositive think-cell" r:id="rId5" imgW="421" imgH="423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133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CFC594C7-7DF6-AD41-83B1-D50026B545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290030" y="1143905"/>
            <a:ext cx="3596640" cy="861263"/>
          </a:xfrm>
        </p:spPr>
        <p:txBody>
          <a:bodyPr/>
          <a:lstStyle/>
          <a:p>
            <a:endParaRPr lang="en-US"/>
          </a:p>
        </p:txBody>
      </p:sp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152BE4C0-1D5B-2748-8F3E-410A8C97A37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290030" y="2249518"/>
            <a:ext cx="3596640" cy="86126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6" name="Text Placeholder 65">
            <a:extLst>
              <a:ext uri="{FF2B5EF4-FFF2-40B4-BE49-F238E27FC236}">
                <a16:creationId xmlns:a16="http://schemas.microsoft.com/office/drawing/2014/main" id="{F5DE8E3A-8542-4A4A-8976-619C83EC30B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290030" y="3351167"/>
            <a:ext cx="3596640" cy="86126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7" name="Text Placeholder 66">
            <a:extLst>
              <a:ext uri="{FF2B5EF4-FFF2-40B4-BE49-F238E27FC236}">
                <a16:creationId xmlns:a16="http://schemas.microsoft.com/office/drawing/2014/main" id="{28F3D213-887E-D14B-86A2-8908A1E7BA3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290030" y="4428188"/>
            <a:ext cx="3596640" cy="86126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8" name="Text Placeholder 67">
            <a:extLst>
              <a:ext uri="{FF2B5EF4-FFF2-40B4-BE49-F238E27FC236}">
                <a16:creationId xmlns:a16="http://schemas.microsoft.com/office/drawing/2014/main" id="{F9E44120-1984-4D4B-AE78-A2EECFBA5A5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290029" y="5571287"/>
            <a:ext cx="3596640" cy="861263"/>
          </a:xfrm>
        </p:spPr>
        <p:txBody>
          <a:bodyPr/>
          <a:lstStyle/>
          <a:p>
            <a:endParaRPr lang="en-US"/>
          </a:p>
        </p:txBody>
      </p:sp>
      <p:sp>
        <p:nvSpPr>
          <p:cNvPr id="70" name="Text Placeholder 69">
            <a:extLst>
              <a:ext uri="{FF2B5EF4-FFF2-40B4-BE49-F238E27FC236}">
                <a16:creationId xmlns:a16="http://schemas.microsoft.com/office/drawing/2014/main" id="{8D93F6A9-7AF9-DB4E-A4A9-D6275A422A0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321380" y="1143905"/>
            <a:ext cx="3596640" cy="861263"/>
          </a:xfrm>
        </p:spPr>
        <p:txBody>
          <a:bodyPr/>
          <a:lstStyle/>
          <a:p>
            <a:endParaRPr lang="en-US"/>
          </a:p>
        </p:txBody>
      </p:sp>
      <p:sp>
        <p:nvSpPr>
          <p:cNvPr id="71" name="Text Placeholder 70">
            <a:extLst>
              <a:ext uri="{FF2B5EF4-FFF2-40B4-BE49-F238E27FC236}">
                <a16:creationId xmlns:a16="http://schemas.microsoft.com/office/drawing/2014/main" id="{D205C5DC-22B2-C845-B323-F23E6694A91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321380" y="2214497"/>
            <a:ext cx="3596640" cy="861263"/>
          </a:xfrm>
        </p:spPr>
        <p:txBody>
          <a:bodyPr/>
          <a:lstStyle/>
          <a:p>
            <a:endParaRPr lang="en-US"/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CF6071C8-D039-5247-BA87-9871BF9204B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21380" y="3351166"/>
            <a:ext cx="3596640" cy="86126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3" name="Text Placeholder 72">
            <a:extLst>
              <a:ext uri="{FF2B5EF4-FFF2-40B4-BE49-F238E27FC236}">
                <a16:creationId xmlns:a16="http://schemas.microsoft.com/office/drawing/2014/main" id="{A043CFB7-FE14-6845-B3D9-1BF52C8F18E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321380" y="4428188"/>
            <a:ext cx="3596640" cy="861263"/>
          </a:xfrm>
        </p:spPr>
        <p:txBody>
          <a:bodyPr/>
          <a:lstStyle/>
          <a:p>
            <a:endParaRPr lang="en-US"/>
          </a:p>
        </p:txBody>
      </p:sp>
      <p:cxnSp>
        <p:nvCxnSpPr>
          <p:cNvPr id="9" name="Connecteur droit 15"/>
          <p:cNvCxnSpPr/>
          <p:nvPr/>
        </p:nvCxnSpPr>
        <p:spPr>
          <a:xfrm>
            <a:off x="2075229" y="1239732"/>
            <a:ext cx="0" cy="624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21"/>
          <p:cNvCxnSpPr/>
          <p:nvPr/>
        </p:nvCxnSpPr>
        <p:spPr>
          <a:xfrm>
            <a:off x="2065761" y="2364445"/>
            <a:ext cx="0" cy="624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Ellipse 1"/>
          <p:cNvSpPr>
            <a:spLocks noChangeAspect="1"/>
          </p:cNvSpPr>
          <p:nvPr/>
        </p:nvSpPr>
        <p:spPr>
          <a:xfrm>
            <a:off x="614165" y="1364356"/>
            <a:ext cx="374752" cy="37475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en-US" sz="1600" dirty="0">
                <a:solidFill>
                  <a:schemeClr val="accent1"/>
                </a:solidFill>
              </a:rPr>
              <a:t>1</a:t>
            </a:r>
          </a:p>
        </p:txBody>
      </p:sp>
      <p:sp>
        <p:nvSpPr>
          <p:cNvPr id="63" name="Ellipse 62"/>
          <p:cNvSpPr>
            <a:spLocks noChangeAspect="1"/>
          </p:cNvSpPr>
          <p:nvPr/>
        </p:nvSpPr>
        <p:spPr>
          <a:xfrm>
            <a:off x="614165" y="2489069"/>
            <a:ext cx="374752" cy="37475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en-US" sz="1600" dirty="0">
                <a:solidFill>
                  <a:schemeClr val="accent1"/>
                </a:solidFill>
              </a:rPr>
              <a:t>2</a:t>
            </a:r>
          </a:p>
        </p:txBody>
      </p:sp>
      <p:sp>
        <p:nvSpPr>
          <p:cNvPr id="69" name="Ellipse 68"/>
          <p:cNvSpPr>
            <a:spLocks noChangeAspect="1"/>
          </p:cNvSpPr>
          <p:nvPr/>
        </p:nvSpPr>
        <p:spPr>
          <a:xfrm>
            <a:off x="614165" y="3613783"/>
            <a:ext cx="374752" cy="37475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en-US" sz="1600" dirty="0">
                <a:solidFill>
                  <a:schemeClr val="accent1"/>
                </a:solidFill>
              </a:rPr>
              <a:t>3</a:t>
            </a:r>
          </a:p>
        </p:txBody>
      </p:sp>
      <p:sp>
        <p:nvSpPr>
          <p:cNvPr id="78" name="Ellipse 77"/>
          <p:cNvSpPr>
            <a:spLocks noChangeAspect="1"/>
          </p:cNvSpPr>
          <p:nvPr/>
        </p:nvSpPr>
        <p:spPr>
          <a:xfrm>
            <a:off x="614165" y="4738496"/>
            <a:ext cx="374752" cy="37475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en-US" sz="1600" dirty="0">
                <a:solidFill>
                  <a:schemeClr val="accent1"/>
                </a:solidFill>
              </a:rPr>
              <a:t>4</a:t>
            </a:r>
          </a:p>
        </p:txBody>
      </p:sp>
      <p:cxnSp>
        <p:nvCxnSpPr>
          <p:cNvPr id="16" name="Connecteur droit 21"/>
          <p:cNvCxnSpPr/>
          <p:nvPr/>
        </p:nvCxnSpPr>
        <p:spPr>
          <a:xfrm>
            <a:off x="2065761" y="3489159"/>
            <a:ext cx="0" cy="624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llipse 17"/>
          <p:cNvSpPr>
            <a:spLocks noChangeAspect="1"/>
          </p:cNvSpPr>
          <p:nvPr/>
        </p:nvSpPr>
        <p:spPr>
          <a:xfrm>
            <a:off x="614165" y="5863209"/>
            <a:ext cx="374752" cy="37475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en-US" sz="1600" dirty="0">
                <a:solidFill>
                  <a:schemeClr val="accent1"/>
                </a:solidFill>
              </a:rPr>
              <a:t>5</a:t>
            </a:r>
          </a:p>
        </p:txBody>
      </p:sp>
      <p:cxnSp>
        <p:nvCxnSpPr>
          <p:cNvPr id="22" name="Connecteur droit 21"/>
          <p:cNvCxnSpPr/>
          <p:nvPr/>
        </p:nvCxnSpPr>
        <p:spPr>
          <a:xfrm>
            <a:off x="2065761" y="4613872"/>
            <a:ext cx="0" cy="624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droit 21"/>
          <p:cNvCxnSpPr/>
          <p:nvPr/>
        </p:nvCxnSpPr>
        <p:spPr>
          <a:xfrm>
            <a:off x="2065761" y="5738585"/>
            <a:ext cx="0" cy="624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oup 40">
            <a:extLst>
              <a:ext uri="{FF2B5EF4-FFF2-40B4-BE49-F238E27FC236}">
                <a16:creationId xmlns:a16="http://schemas.microsoft.com/office/drawing/2014/main" id="{77ECE817-913F-064D-A9BC-3422FD1FD997}"/>
              </a:ext>
            </a:extLst>
          </p:cNvPr>
          <p:cNvGrpSpPr/>
          <p:nvPr/>
        </p:nvGrpSpPr>
        <p:grpSpPr>
          <a:xfrm>
            <a:off x="1250677" y="1363490"/>
            <a:ext cx="600284" cy="376485"/>
            <a:chOff x="1820068" y="4668440"/>
            <a:chExt cx="455613" cy="285750"/>
          </a:xfrm>
          <a:solidFill>
            <a:schemeClr val="tx1"/>
          </a:solidFill>
        </p:grpSpPr>
        <p:sp>
          <p:nvSpPr>
            <p:cNvPr id="28" name="Freeform 106">
              <a:extLst>
                <a:ext uri="{FF2B5EF4-FFF2-40B4-BE49-F238E27FC236}">
                  <a16:creationId xmlns:a16="http://schemas.microsoft.com/office/drawing/2014/main" id="{B37D750D-7279-C548-8B8C-D69C1A55A5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20068" y="4668440"/>
              <a:ext cx="455613" cy="285750"/>
            </a:xfrm>
            <a:custGeom>
              <a:avLst/>
              <a:gdLst>
                <a:gd name="T0" fmla="*/ 500 w 1150"/>
                <a:gd name="T1" fmla="*/ 642 h 719"/>
                <a:gd name="T2" fmla="*/ 408 w 1150"/>
                <a:gd name="T3" fmla="*/ 621 h 719"/>
                <a:gd name="T4" fmla="*/ 320 w 1150"/>
                <a:gd name="T5" fmla="*/ 586 h 719"/>
                <a:gd name="T6" fmla="*/ 239 w 1150"/>
                <a:gd name="T7" fmla="*/ 538 h 719"/>
                <a:gd name="T8" fmla="*/ 167 w 1150"/>
                <a:gd name="T9" fmla="*/ 477 h 719"/>
                <a:gd name="T10" fmla="*/ 107 w 1150"/>
                <a:gd name="T11" fmla="*/ 406 h 719"/>
                <a:gd name="T12" fmla="*/ 96 w 1150"/>
                <a:gd name="T13" fmla="*/ 327 h 719"/>
                <a:gd name="T14" fmla="*/ 155 w 1150"/>
                <a:gd name="T15" fmla="*/ 255 h 719"/>
                <a:gd name="T16" fmla="*/ 224 w 1150"/>
                <a:gd name="T17" fmla="*/ 192 h 719"/>
                <a:gd name="T18" fmla="*/ 304 w 1150"/>
                <a:gd name="T19" fmla="*/ 141 h 719"/>
                <a:gd name="T20" fmla="*/ 390 w 1150"/>
                <a:gd name="T21" fmla="*/ 104 h 719"/>
                <a:gd name="T22" fmla="*/ 481 w 1150"/>
                <a:gd name="T23" fmla="*/ 80 h 719"/>
                <a:gd name="T24" fmla="*/ 575 w 1150"/>
                <a:gd name="T25" fmla="*/ 72 h 719"/>
                <a:gd name="T26" fmla="*/ 669 w 1150"/>
                <a:gd name="T27" fmla="*/ 80 h 719"/>
                <a:gd name="T28" fmla="*/ 760 w 1150"/>
                <a:gd name="T29" fmla="*/ 104 h 719"/>
                <a:gd name="T30" fmla="*/ 846 w 1150"/>
                <a:gd name="T31" fmla="*/ 141 h 719"/>
                <a:gd name="T32" fmla="*/ 926 w 1150"/>
                <a:gd name="T33" fmla="*/ 192 h 719"/>
                <a:gd name="T34" fmla="*/ 995 w 1150"/>
                <a:gd name="T35" fmla="*/ 255 h 719"/>
                <a:gd name="T36" fmla="*/ 1054 w 1150"/>
                <a:gd name="T37" fmla="*/ 328 h 719"/>
                <a:gd name="T38" fmla="*/ 1043 w 1150"/>
                <a:gd name="T39" fmla="*/ 407 h 719"/>
                <a:gd name="T40" fmla="*/ 983 w 1150"/>
                <a:gd name="T41" fmla="*/ 477 h 719"/>
                <a:gd name="T42" fmla="*/ 910 w 1150"/>
                <a:gd name="T43" fmla="*/ 538 h 719"/>
                <a:gd name="T44" fmla="*/ 830 w 1150"/>
                <a:gd name="T45" fmla="*/ 586 h 719"/>
                <a:gd name="T46" fmla="*/ 743 w 1150"/>
                <a:gd name="T47" fmla="*/ 621 h 719"/>
                <a:gd name="T48" fmla="*/ 651 w 1150"/>
                <a:gd name="T49" fmla="*/ 643 h 719"/>
                <a:gd name="T50" fmla="*/ 1149 w 1150"/>
                <a:gd name="T51" fmla="*/ 352 h 719"/>
                <a:gd name="T52" fmla="*/ 1147 w 1150"/>
                <a:gd name="T53" fmla="*/ 345 h 719"/>
                <a:gd name="T54" fmla="*/ 1102 w 1150"/>
                <a:gd name="T55" fmla="*/ 271 h 719"/>
                <a:gd name="T56" fmla="*/ 1032 w 1150"/>
                <a:gd name="T57" fmla="*/ 190 h 719"/>
                <a:gd name="T58" fmla="*/ 948 w 1150"/>
                <a:gd name="T59" fmla="*/ 120 h 719"/>
                <a:gd name="T60" fmla="*/ 854 w 1150"/>
                <a:gd name="T61" fmla="*/ 65 h 719"/>
                <a:gd name="T62" fmla="*/ 751 w 1150"/>
                <a:gd name="T63" fmla="*/ 25 h 719"/>
                <a:gd name="T64" fmla="*/ 642 w 1150"/>
                <a:gd name="T65" fmla="*/ 3 h 719"/>
                <a:gd name="T66" fmla="*/ 530 w 1150"/>
                <a:gd name="T67" fmla="*/ 1 h 719"/>
                <a:gd name="T68" fmla="*/ 421 w 1150"/>
                <a:gd name="T69" fmla="*/ 19 h 719"/>
                <a:gd name="T70" fmla="*/ 316 w 1150"/>
                <a:gd name="T71" fmla="*/ 56 h 719"/>
                <a:gd name="T72" fmla="*/ 220 w 1150"/>
                <a:gd name="T73" fmla="*/ 108 h 719"/>
                <a:gd name="T74" fmla="*/ 135 w 1150"/>
                <a:gd name="T75" fmla="*/ 175 h 719"/>
                <a:gd name="T76" fmla="*/ 61 w 1150"/>
                <a:gd name="T77" fmla="*/ 254 h 719"/>
                <a:gd name="T78" fmla="*/ 4 w 1150"/>
                <a:gd name="T79" fmla="*/ 342 h 719"/>
                <a:gd name="T80" fmla="*/ 2 w 1150"/>
                <a:gd name="T81" fmla="*/ 349 h 719"/>
                <a:gd name="T82" fmla="*/ 1 w 1150"/>
                <a:gd name="T83" fmla="*/ 367 h 719"/>
                <a:gd name="T84" fmla="*/ 3 w 1150"/>
                <a:gd name="T85" fmla="*/ 375 h 719"/>
                <a:gd name="T86" fmla="*/ 48 w 1150"/>
                <a:gd name="T87" fmla="*/ 448 h 719"/>
                <a:gd name="T88" fmla="*/ 119 w 1150"/>
                <a:gd name="T89" fmla="*/ 529 h 719"/>
                <a:gd name="T90" fmla="*/ 202 w 1150"/>
                <a:gd name="T91" fmla="*/ 598 h 719"/>
                <a:gd name="T92" fmla="*/ 297 w 1150"/>
                <a:gd name="T93" fmla="*/ 654 h 719"/>
                <a:gd name="T94" fmla="*/ 399 w 1150"/>
                <a:gd name="T95" fmla="*/ 693 h 719"/>
                <a:gd name="T96" fmla="*/ 508 w 1150"/>
                <a:gd name="T97" fmla="*/ 716 h 719"/>
                <a:gd name="T98" fmla="*/ 620 w 1150"/>
                <a:gd name="T99" fmla="*/ 718 h 719"/>
                <a:gd name="T100" fmla="*/ 730 w 1150"/>
                <a:gd name="T101" fmla="*/ 700 h 719"/>
                <a:gd name="T102" fmla="*/ 833 w 1150"/>
                <a:gd name="T103" fmla="*/ 663 h 719"/>
                <a:gd name="T104" fmla="*/ 931 w 1150"/>
                <a:gd name="T105" fmla="*/ 611 h 719"/>
                <a:gd name="T106" fmla="*/ 1016 w 1150"/>
                <a:gd name="T107" fmla="*/ 544 h 719"/>
                <a:gd name="T108" fmla="*/ 1089 w 1150"/>
                <a:gd name="T109" fmla="*/ 465 h 719"/>
                <a:gd name="T110" fmla="*/ 1147 w 1150"/>
                <a:gd name="T111" fmla="*/ 377 h 719"/>
                <a:gd name="T112" fmla="*/ 1149 w 1150"/>
                <a:gd name="T113" fmla="*/ 370 h 719"/>
                <a:gd name="T114" fmla="*/ 1149 w 1150"/>
                <a:gd name="T115" fmla="*/ 352 h 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50" h="719">
                  <a:moveTo>
                    <a:pt x="575" y="647"/>
                  </a:moveTo>
                  <a:lnTo>
                    <a:pt x="556" y="647"/>
                  </a:lnTo>
                  <a:lnTo>
                    <a:pt x="538" y="646"/>
                  </a:lnTo>
                  <a:lnTo>
                    <a:pt x="518" y="645"/>
                  </a:lnTo>
                  <a:lnTo>
                    <a:pt x="500" y="642"/>
                  </a:lnTo>
                  <a:lnTo>
                    <a:pt x="481" y="639"/>
                  </a:lnTo>
                  <a:lnTo>
                    <a:pt x="463" y="635"/>
                  </a:lnTo>
                  <a:lnTo>
                    <a:pt x="444" y="632"/>
                  </a:lnTo>
                  <a:lnTo>
                    <a:pt x="426" y="626"/>
                  </a:lnTo>
                  <a:lnTo>
                    <a:pt x="408" y="621"/>
                  </a:lnTo>
                  <a:lnTo>
                    <a:pt x="390" y="616"/>
                  </a:lnTo>
                  <a:lnTo>
                    <a:pt x="372" y="609"/>
                  </a:lnTo>
                  <a:lnTo>
                    <a:pt x="355" y="602"/>
                  </a:lnTo>
                  <a:lnTo>
                    <a:pt x="338" y="594"/>
                  </a:lnTo>
                  <a:lnTo>
                    <a:pt x="320" y="586"/>
                  </a:lnTo>
                  <a:lnTo>
                    <a:pt x="303" y="578"/>
                  </a:lnTo>
                  <a:lnTo>
                    <a:pt x="287" y="568"/>
                  </a:lnTo>
                  <a:lnTo>
                    <a:pt x="271" y="558"/>
                  </a:lnTo>
                  <a:lnTo>
                    <a:pt x="255" y="549"/>
                  </a:lnTo>
                  <a:lnTo>
                    <a:pt x="239" y="538"/>
                  </a:lnTo>
                  <a:lnTo>
                    <a:pt x="224" y="527"/>
                  </a:lnTo>
                  <a:lnTo>
                    <a:pt x="209" y="515"/>
                  </a:lnTo>
                  <a:lnTo>
                    <a:pt x="195" y="503"/>
                  </a:lnTo>
                  <a:lnTo>
                    <a:pt x="181" y="490"/>
                  </a:lnTo>
                  <a:lnTo>
                    <a:pt x="167" y="477"/>
                  </a:lnTo>
                  <a:lnTo>
                    <a:pt x="154" y="464"/>
                  </a:lnTo>
                  <a:lnTo>
                    <a:pt x="142" y="450"/>
                  </a:lnTo>
                  <a:lnTo>
                    <a:pt x="129" y="436"/>
                  </a:lnTo>
                  <a:lnTo>
                    <a:pt x="119" y="421"/>
                  </a:lnTo>
                  <a:lnTo>
                    <a:pt x="107" y="406"/>
                  </a:lnTo>
                  <a:lnTo>
                    <a:pt x="96" y="391"/>
                  </a:lnTo>
                  <a:lnTo>
                    <a:pt x="86" y="376"/>
                  </a:lnTo>
                  <a:lnTo>
                    <a:pt x="76" y="360"/>
                  </a:lnTo>
                  <a:lnTo>
                    <a:pt x="86" y="343"/>
                  </a:lnTo>
                  <a:lnTo>
                    <a:pt x="96" y="327"/>
                  </a:lnTo>
                  <a:lnTo>
                    <a:pt x="107" y="312"/>
                  </a:lnTo>
                  <a:lnTo>
                    <a:pt x="119" y="297"/>
                  </a:lnTo>
                  <a:lnTo>
                    <a:pt x="129" y="283"/>
                  </a:lnTo>
                  <a:lnTo>
                    <a:pt x="142" y="269"/>
                  </a:lnTo>
                  <a:lnTo>
                    <a:pt x="155" y="255"/>
                  </a:lnTo>
                  <a:lnTo>
                    <a:pt x="168" y="242"/>
                  </a:lnTo>
                  <a:lnTo>
                    <a:pt x="181" y="229"/>
                  </a:lnTo>
                  <a:lnTo>
                    <a:pt x="195" y="216"/>
                  </a:lnTo>
                  <a:lnTo>
                    <a:pt x="210" y="204"/>
                  </a:lnTo>
                  <a:lnTo>
                    <a:pt x="224" y="192"/>
                  </a:lnTo>
                  <a:lnTo>
                    <a:pt x="239" y="181"/>
                  </a:lnTo>
                  <a:lnTo>
                    <a:pt x="256" y="171"/>
                  </a:lnTo>
                  <a:lnTo>
                    <a:pt x="271" y="161"/>
                  </a:lnTo>
                  <a:lnTo>
                    <a:pt x="287" y="151"/>
                  </a:lnTo>
                  <a:lnTo>
                    <a:pt x="304" y="141"/>
                  </a:lnTo>
                  <a:lnTo>
                    <a:pt x="320" y="133"/>
                  </a:lnTo>
                  <a:lnTo>
                    <a:pt x="338" y="125"/>
                  </a:lnTo>
                  <a:lnTo>
                    <a:pt x="355" y="118"/>
                  </a:lnTo>
                  <a:lnTo>
                    <a:pt x="372" y="110"/>
                  </a:lnTo>
                  <a:lnTo>
                    <a:pt x="390" y="104"/>
                  </a:lnTo>
                  <a:lnTo>
                    <a:pt x="408" y="98"/>
                  </a:lnTo>
                  <a:lnTo>
                    <a:pt x="426" y="93"/>
                  </a:lnTo>
                  <a:lnTo>
                    <a:pt x="445" y="87"/>
                  </a:lnTo>
                  <a:lnTo>
                    <a:pt x="463" y="83"/>
                  </a:lnTo>
                  <a:lnTo>
                    <a:pt x="481" y="80"/>
                  </a:lnTo>
                  <a:lnTo>
                    <a:pt x="500" y="77"/>
                  </a:lnTo>
                  <a:lnTo>
                    <a:pt x="518" y="75"/>
                  </a:lnTo>
                  <a:lnTo>
                    <a:pt x="538" y="73"/>
                  </a:lnTo>
                  <a:lnTo>
                    <a:pt x="556" y="72"/>
                  </a:lnTo>
                  <a:lnTo>
                    <a:pt x="575" y="72"/>
                  </a:lnTo>
                  <a:lnTo>
                    <a:pt x="594" y="72"/>
                  </a:lnTo>
                  <a:lnTo>
                    <a:pt x="613" y="73"/>
                  </a:lnTo>
                  <a:lnTo>
                    <a:pt x="632" y="75"/>
                  </a:lnTo>
                  <a:lnTo>
                    <a:pt x="651" y="77"/>
                  </a:lnTo>
                  <a:lnTo>
                    <a:pt x="669" y="80"/>
                  </a:lnTo>
                  <a:lnTo>
                    <a:pt x="688" y="83"/>
                  </a:lnTo>
                  <a:lnTo>
                    <a:pt x="706" y="87"/>
                  </a:lnTo>
                  <a:lnTo>
                    <a:pt x="724" y="93"/>
                  </a:lnTo>
                  <a:lnTo>
                    <a:pt x="743" y="98"/>
                  </a:lnTo>
                  <a:lnTo>
                    <a:pt x="760" y="104"/>
                  </a:lnTo>
                  <a:lnTo>
                    <a:pt x="778" y="110"/>
                  </a:lnTo>
                  <a:lnTo>
                    <a:pt x="796" y="118"/>
                  </a:lnTo>
                  <a:lnTo>
                    <a:pt x="813" y="125"/>
                  </a:lnTo>
                  <a:lnTo>
                    <a:pt x="830" y="133"/>
                  </a:lnTo>
                  <a:lnTo>
                    <a:pt x="846" y="141"/>
                  </a:lnTo>
                  <a:lnTo>
                    <a:pt x="864" y="151"/>
                  </a:lnTo>
                  <a:lnTo>
                    <a:pt x="880" y="161"/>
                  </a:lnTo>
                  <a:lnTo>
                    <a:pt x="895" y="171"/>
                  </a:lnTo>
                  <a:lnTo>
                    <a:pt x="911" y="181"/>
                  </a:lnTo>
                  <a:lnTo>
                    <a:pt x="926" y="192"/>
                  </a:lnTo>
                  <a:lnTo>
                    <a:pt x="940" y="204"/>
                  </a:lnTo>
                  <a:lnTo>
                    <a:pt x="956" y="216"/>
                  </a:lnTo>
                  <a:lnTo>
                    <a:pt x="970" y="229"/>
                  </a:lnTo>
                  <a:lnTo>
                    <a:pt x="983" y="242"/>
                  </a:lnTo>
                  <a:lnTo>
                    <a:pt x="995" y="255"/>
                  </a:lnTo>
                  <a:lnTo>
                    <a:pt x="1008" y="269"/>
                  </a:lnTo>
                  <a:lnTo>
                    <a:pt x="1020" y="283"/>
                  </a:lnTo>
                  <a:lnTo>
                    <a:pt x="1032" y="298"/>
                  </a:lnTo>
                  <a:lnTo>
                    <a:pt x="1043" y="312"/>
                  </a:lnTo>
                  <a:lnTo>
                    <a:pt x="1054" y="328"/>
                  </a:lnTo>
                  <a:lnTo>
                    <a:pt x="1065" y="343"/>
                  </a:lnTo>
                  <a:lnTo>
                    <a:pt x="1074" y="360"/>
                  </a:lnTo>
                  <a:lnTo>
                    <a:pt x="1065" y="376"/>
                  </a:lnTo>
                  <a:lnTo>
                    <a:pt x="1054" y="391"/>
                  </a:lnTo>
                  <a:lnTo>
                    <a:pt x="1043" y="407"/>
                  </a:lnTo>
                  <a:lnTo>
                    <a:pt x="1032" y="422"/>
                  </a:lnTo>
                  <a:lnTo>
                    <a:pt x="1020" y="436"/>
                  </a:lnTo>
                  <a:lnTo>
                    <a:pt x="1008" y="450"/>
                  </a:lnTo>
                  <a:lnTo>
                    <a:pt x="995" y="464"/>
                  </a:lnTo>
                  <a:lnTo>
                    <a:pt x="983" y="477"/>
                  </a:lnTo>
                  <a:lnTo>
                    <a:pt x="968" y="490"/>
                  </a:lnTo>
                  <a:lnTo>
                    <a:pt x="954" y="503"/>
                  </a:lnTo>
                  <a:lnTo>
                    <a:pt x="940" y="515"/>
                  </a:lnTo>
                  <a:lnTo>
                    <a:pt x="925" y="527"/>
                  </a:lnTo>
                  <a:lnTo>
                    <a:pt x="910" y="538"/>
                  </a:lnTo>
                  <a:lnTo>
                    <a:pt x="895" y="549"/>
                  </a:lnTo>
                  <a:lnTo>
                    <a:pt x="879" y="558"/>
                  </a:lnTo>
                  <a:lnTo>
                    <a:pt x="863" y="568"/>
                  </a:lnTo>
                  <a:lnTo>
                    <a:pt x="846" y="578"/>
                  </a:lnTo>
                  <a:lnTo>
                    <a:pt x="830" y="586"/>
                  </a:lnTo>
                  <a:lnTo>
                    <a:pt x="813" y="594"/>
                  </a:lnTo>
                  <a:lnTo>
                    <a:pt x="796" y="602"/>
                  </a:lnTo>
                  <a:lnTo>
                    <a:pt x="778" y="609"/>
                  </a:lnTo>
                  <a:lnTo>
                    <a:pt x="760" y="616"/>
                  </a:lnTo>
                  <a:lnTo>
                    <a:pt x="743" y="621"/>
                  </a:lnTo>
                  <a:lnTo>
                    <a:pt x="724" y="626"/>
                  </a:lnTo>
                  <a:lnTo>
                    <a:pt x="706" y="632"/>
                  </a:lnTo>
                  <a:lnTo>
                    <a:pt x="688" y="636"/>
                  </a:lnTo>
                  <a:lnTo>
                    <a:pt x="669" y="639"/>
                  </a:lnTo>
                  <a:lnTo>
                    <a:pt x="651" y="643"/>
                  </a:lnTo>
                  <a:lnTo>
                    <a:pt x="632" y="645"/>
                  </a:lnTo>
                  <a:lnTo>
                    <a:pt x="613" y="646"/>
                  </a:lnTo>
                  <a:lnTo>
                    <a:pt x="594" y="647"/>
                  </a:lnTo>
                  <a:lnTo>
                    <a:pt x="575" y="647"/>
                  </a:lnTo>
                  <a:close/>
                  <a:moveTo>
                    <a:pt x="1149" y="352"/>
                  </a:moveTo>
                  <a:lnTo>
                    <a:pt x="1149" y="349"/>
                  </a:lnTo>
                  <a:lnTo>
                    <a:pt x="1149" y="347"/>
                  </a:lnTo>
                  <a:lnTo>
                    <a:pt x="1148" y="347"/>
                  </a:lnTo>
                  <a:lnTo>
                    <a:pt x="1148" y="346"/>
                  </a:lnTo>
                  <a:lnTo>
                    <a:pt x="1147" y="345"/>
                  </a:lnTo>
                  <a:lnTo>
                    <a:pt x="1147" y="342"/>
                  </a:lnTo>
                  <a:lnTo>
                    <a:pt x="1137" y="324"/>
                  </a:lnTo>
                  <a:lnTo>
                    <a:pt x="1126" y="306"/>
                  </a:lnTo>
                  <a:lnTo>
                    <a:pt x="1114" y="288"/>
                  </a:lnTo>
                  <a:lnTo>
                    <a:pt x="1102" y="271"/>
                  </a:lnTo>
                  <a:lnTo>
                    <a:pt x="1089" y="254"/>
                  </a:lnTo>
                  <a:lnTo>
                    <a:pt x="1075" y="237"/>
                  </a:lnTo>
                  <a:lnTo>
                    <a:pt x="1061" y="220"/>
                  </a:lnTo>
                  <a:lnTo>
                    <a:pt x="1047" y="205"/>
                  </a:lnTo>
                  <a:lnTo>
                    <a:pt x="1032" y="190"/>
                  </a:lnTo>
                  <a:lnTo>
                    <a:pt x="1016" y="175"/>
                  </a:lnTo>
                  <a:lnTo>
                    <a:pt x="1000" y="161"/>
                  </a:lnTo>
                  <a:lnTo>
                    <a:pt x="984" y="147"/>
                  </a:lnTo>
                  <a:lnTo>
                    <a:pt x="966" y="133"/>
                  </a:lnTo>
                  <a:lnTo>
                    <a:pt x="948" y="120"/>
                  </a:lnTo>
                  <a:lnTo>
                    <a:pt x="931" y="108"/>
                  </a:lnTo>
                  <a:lnTo>
                    <a:pt x="911" y="96"/>
                  </a:lnTo>
                  <a:lnTo>
                    <a:pt x="893" y="85"/>
                  </a:lnTo>
                  <a:lnTo>
                    <a:pt x="873" y="75"/>
                  </a:lnTo>
                  <a:lnTo>
                    <a:pt x="854" y="65"/>
                  </a:lnTo>
                  <a:lnTo>
                    <a:pt x="833" y="56"/>
                  </a:lnTo>
                  <a:lnTo>
                    <a:pt x="813" y="48"/>
                  </a:lnTo>
                  <a:lnTo>
                    <a:pt x="792" y="39"/>
                  </a:lnTo>
                  <a:lnTo>
                    <a:pt x="772" y="32"/>
                  </a:lnTo>
                  <a:lnTo>
                    <a:pt x="751" y="25"/>
                  </a:lnTo>
                  <a:lnTo>
                    <a:pt x="730" y="19"/>
                  </a:lnTo>
                  <a:lnTo>
                    <a:pt x="708" y="14"/>
                  </a:lnTo>
                  <a:lnTo>
                    <a:pt x="687" y="10"/>
                  </a:lnTo>
                  <a:lnTo>
                    <a:pt x="664" y="6"/>
                  </a:lnTo>
                  <a:lnTo>
                    <a:pt x="642" y="3"/>
                  </a:lnTo>
                  <a:lnTo>
                    <a:pt x="620" y="1"/>
                  </a:lnTo>
                  <a:lnTo>
                    <a:pt x="598" y="0"/>
                  </a:lnTo>
                  <a:lnTo>
                    <a:pt x="575" y="0"/>
                  </a:lnTo>
                  <a:lnTo>
                    <a:pt x="553" y="0"/>
                  </a:lnTo>
                  <a:lnTo>
                    <a:pt x="530" y="1"/>
                  </a:lnTo>
                  <a:lnTo>
                    <a:pt x="508" y="3"/>
                  </a:lnTo>
                  <a:lnTo>
                    <a:pt x="486" y="6"/>
                  </a:lnTo>
                  <a:lnTo>
                    <a:pt x="464" y="10"/>
                  </a:lnTo>
                  <a:lnTo>
                    <a:pt x="443" y="14"/>
                  </a:lnTo>
                  <a:lnTo>
                    <a:pt x="421" y="19"/>
                  </a:lnTo>
                  <a:lnTo>
                    <a:pt x="399" y="25"/>
                  </a:lnTo>
                  <a:lnTo>
                    <a:pt x="379" y="32"/>
                  </a:lnTo>
                  <a:lnTo>
                    <a:pt x="357" y="39"/>
                  </a:lnTo>
                  <a:lnTo>
                    <a:pt x="337" y="48"/>
                  </a:lnTo>
                  <a:lnTo>
                    <a:pt x="316" y="56"/>
                  </a:lnTo>
                  <a:lnTo>
                    <a:pt x="297" y="65"/>
                  </a:lnTo>
                  <a:lnTo>
                    <a:pt x="277" y="75"/>
                  </a:lnTo>
                  <a:lnTo>
                    <a:pt x="258" y="85"/>
                  </a:lnTo>
                  <a:lnTo>
                    <a:pt x="238" y="96"/>
                  </a:lnTo>
                  <a:lnTo>
                    <a:pt x="220" y="108"/>
                  </a:lnTo>
                  <a:lnTo>
                    <a:pt x="202" y="120"/>
                  </a:lnTo>
                  <a:lnTo>
                    <a:pt x="184" y="133"/>
                  </a:lnTo>
                  <a:lnTo>
                    <a:pt x="167" y="147"/>
                  </a:lnTo>
                  <a:lnTo>
                    <a:pt x="151" y="160"/>
                  </a:lnTo>
                  <a:lnTo>
                    <a:pt x="135" y="175"/>
                  </a:lnTo>
                  <a:lnTo>
                    <a:pt x="119" y="189"/>
                  </a:lnTo>
                  <a:lnTo>
                    <a:pt x="103" y="205"/>
                  </a:lnTo>
                  <a:lnTo>
                    <a:pt x="88" y="220"/>
                  </a:lnTo>
                  <a:lnTo>
                    <a:pt x="74" y="237"/>
                  </a:lnTo>
                  <a:lnTo>
                    <a:pt x="61" y="254"/>
                  </a:lnTo>
                  <a:lnTo>
                    <a:pt x="48" y="270"/>
                  </a:lnTo>
                  <a:lnTo>
                    <a:pt x="36" y="288"/>
                  </a:lnTo>
                  <a:lnTo>
                    <a:pt x="25" y="306"/>
                  </a:lnTo>
                  <a:lnTo>
                    <a:pt x="14" y="324"/>
                  </a:lnTo>
                  <a:lnTo>
                    <a:pt x="4" y="342"/>
                  </a:lnTo>
                  <a:lnTo>
                    <a:pt x="3" y="343"/>
                  </a:lnTo>
                  <a:lnTo>
                    <a:pt x="3" y="346"/>
                  </a:lnTo>
                  <a:lnTo>
                    <a:pt x="3" y="346"/>
                  </a:lnTo>
                  <a:lnTo>
                    <a:pt x="2" y="347"/>
                  </a:lnTo>
                  <a:lnTo>
                    <a:pt x="2" y="349"/>
                  </a:lnTo>
                  <a:lnTo>
                    <a:pt x="1" y="351"/>
                  </a:lnTo>
                  <a:lnTo>
                    <a:pt x="1" y="355"/>
                  </a:lnTo>
                  <a:lnTo>
                    <a:pt x="0" y="360"/>
                  </a:lnTo>
                  <a:lnTo>
                    <a:pt x="1" y="364"/>
                  </a:lnTo>
                  <a:lnTo>
                    <a:pt x="1" y="367"/>
                  </a:lnTo>
                  <a:lnTo>
                    <a:pt x="2" y="369"/>
                  </a:lnTo>
                  <a:lnTo>
                    <a:pt x="2" y="373"/>
                  </a:lnTo>
                  <a:lnTo>
                    <a:pt x="3" y="373"/>
                  </a:lnTo>
                  <a:lnTo>
                    <a:pt x="3" y="374"/>
                  </a:lnTo>
                  <a:lnTo>
                    <a:pt x="3" y="375"/>
                  </a:lnTo>
                  <a:lnTo>
                    <a:pt x="4" y="376"/>
                  </a:lnTo>
                  <a:lnTo>
                    <a:pt x="14" y="395"/>
                  </a:lnTo>
                  <a:lnTo>
                    <a:pt x="25" y="414"/>
                  </a:lnTo>
                  <a:lnTo>
                    <a:pt x="36" y="431"/>
                  </a:lnTo>
                  <a:lnTo>
                    <a:pt x="48" y="448"/>
                  </a:lnTo>
                  <a:lnTo>
                    <a:pt x="61" y="465"/>
                  </a:lnTo>
                  <a:lnTo>
                    <a:pt x="74" y="482"/>
                  </a:lnTo>
                  <a:lnTo>
                    <a:pt x="88" y="498"/>
                  </a:lnTo>
                  <a:lnTo>
                    <a:pt x="103" y="514"/>
                  </a:lnTo>
                  <a:lnTo>
                    <a:pt x="119" y="529"/>
                  </a:lnTo>
                  <a:lnTo>
                    <a:pt x="135" y="544"/>
                  </a:lnTo>
                  <a:lnTo>
                    <a:pt x="151" y="558"/>
                  </a:lnTo>
                  <a:lnTo>
                    <a:pt x="167" y="572"/>
                  </a:lnTo>
                  <a:lnTo>
                    <a:pt x="184" y="586"/>
                  </a:lnTo>
                  <a:lnTo>
                    <a:pt x="202" y="598"/>
                  </a:lnTo>
                  <a:lnTo>
                    <a:pt x="220" y="611"/>
                  </a:lnTo>
                  <a:lnTo>
                    <a:pt x="238" y="623"/>
                  </a:lnTo>
                  <a:lnTo>
                    <a:pt x="258" y="634"/>
                  </a:lnTo>
                  <a:lnTo>
                    <a:pt x="277" y="645"/>
                  </a:lnTo>
                  <a:lnTo>
                    <a:pt x="297" y="654"/>
                  </a:lnTo>
                  <a:lnTo>
                    <a:pt x="316" y="663"/>
                  </a:lnTo>
                  <a:lnTo>
                    <a:pt x="337" y="672"/>
                  </a:lnTo>
                  <a:lnTo>
                    <a:pt x="357" y="680"/>
                  </a:lnTo>
                  <a:lnTo>
                    <a:pt x="379" y="687"/>
                  </a:lnTo>
                  <a:lnTo>
                    <a:pt x="399" y="693"/>
                  </a:lnTo>
                  <a:lnTo>
                    <a:pt x="421" y="700"/>
                  </a:lnTo>
                  <a:lnTo>
                    <a:pt x="443" y="705"/>
                  </a:lnTo>
                  <a:lnTo>
                    <a:pt x="464" y="710"/>
                  </a:lnTo>
                  <a:lnTo>
                    <a:pt x="486" y="713"/>
                  </a:lnTo>
                  <a:lnTo>
                    <a:pt x="508" y="716"/>
                  </a:lnTo>
                  <a:lnTo>
                    <a:pt x="530" y="718"/>
                  </a:lnTo>
                  <a:lnTo>
                    <a:pt x="553" y="719"/>
                  </a:lnTo>
                  <a:lnTo>
                    <a:pt x="575" y="719"/>
                  </a:lnTo>
                  <a:lnTo>
                    <a:pt x="598" y="719"/>
                  </a:lnTo>
                  <a:lnTo>
                    <a:pt x="620" y="718"/>
                  </a:lnTo>
                  <a:lnTo>
                    <a:pt x="642" y="716"/>
                  </a:lnTo>
                  <a:lnTo>
                    <a:pt x="664" y="713"/>
                  </a:lnTo>
                  <a:lnTo>
                    <a:pt x="687" y="710"/>
                  </a:lnTo>
                  <a:lnTo>
                    <a:pt x="708" y="705"/>
                  </a:lnTo>
                  <a:lnTo>
                    <a:pt x="730" y="700"/>
                  </a:lnTo>
                  <a:lnTo>
                    <a:pt x="751" y="693"/>
                  </a:lnTo>
                  <a:lnTo>
                    <a:pt x="772" y="687"/>
                  </a:lnTo>
                  <a:lnTo>
                    <a:pt x="792" y="680"/>
                  </a:lnTo>
                  <a:lnTo>
                    <a:pt x="813" y="672"/>
                  </a:lnTo>
                  <a:lnTo>
                    <a:pt x="833" y="663"/>
                  </a:lnTo>
                  <a:lnTo>
                    <a:pt x="854" y="654"/>
                  </a:lnTo>
                  <a:lnTo>
                    <a:pt x="873" y="645"/>
                  </a:lnTo>
                  <a:lnTo>
                    <a:pt x="893" y="634"/>
                  </a:lnTo>
                  <a:lnTo>
                    <a:pt x="911" y="623"/>
                  </a:lnTo>
                  <a:lnTo>
                    <a:pt x="931" y="611"/>
                  </a:lnTo>
                  <a:lnTo>
                    <a:pt x="948" y="599"/>
                  </a:lnTo>
                  <a:lnTo>
                    <a:pt x="966" y="586"/>
                  </a:lnTo>
                  <a:lnTo>
                    <a:pt x="984" y="572"/>
                  </a:lnTo>
                  <a:lnTo>
                    <a:pt x="1000" y="559"/>
                  </a:lnTo>
                  <a:lnTo>
                    <a:pt x="1016" y="544"/>
                  </a:lnTo>
                  <a:lnTo>
                    <a:pt x="1032" y="530"/>
                  </a:lnTo>
                  <a:lnTo>
                    <a:pt x="1047" y="514"/>
                  </a:lnTo>
                  <a:lnTo>
                    <a:pt x="1061" y="499"/>
                  </a:lnTo>
                  <a:lnTo>
                    <a:pt x="1075" y="483"/>
                  </a:lnTo>
                  <a:lnTo>
                    <a:pt x="1089" y="465"/>
                  </a:lnTo>
                  <a:lnTo>
                    <a:pt x="1102" y="448"/>
                  </a:lnTo>
                  <a:lnTo>
                    <a:pt x="1114" y="431"/>
                  </a:lnTo>
                  <a:lnTo>
                    <a:pt x="1126" y="414"/>
                  </a:lnTo>
                  <a:lnTo>
                    <a:pt x="1137" y="395"/>
                  </a:lnTo>
                  <a:lnTo>
                    <a:pt x="1147" y="377"/>
                  </a:lnTo>
                  <a:lnTo>
                    <a:pt x="1147" y="375"/>
                  </a:lnTo>
                  <a:lnTo>
                    <a:pt x="1148" y="374"/>
                  </a:lnTo>
                  <a:lnTo>
                    <a:pt x="1148" y="374"/>
                  </a:lnTo>
                  <a:lnTo>
                    <a:pt x="1149" y="373"/>
                  </a:lnTo>
                  <a:lnTo>
                    <a:pt x="1149" y="370"/>
                  </a:lnTo>
                  <a:lnTo>
                    <a:pt x="1149" y="368"/>
                  </a:lnTo>
                  <a:lnTo>
                    <a:pt x="1150" y="364"/>
                  </a:lnTo>
                  <a:lnTo>
                    <a:pt x="1150" y="360"/>
                  </a:lnTo>
                  <a:lnTo>
                    <a:pt x="1150" y="355"/>
                  </a:lnTo>
                  <a:lnTo>
                    <a:pt x="1149" y="3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 dirty="0"/>
            </a:p>
          </p:txBody>
        </p:sp>
        <p:sp>
          <p:nvSpPr>
            <p:cNvPr id="29" name="Freeform 107">
              <a:extLst>
                <a:ext uri="{FF2B5EF4-FFF2-40B4-BE49-F238E27FC236}">
                  <a16:creationId xmlns:a16="http://schemas.microsoft.com/office/drawing/2014/main" id="{8240EE68-C994-6846-BAF7-235E29B0114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1518" y="4754165"/>
              <a:ext cx="63500" cy="65088"/>
            </a:xfrm>
            <a:custGeom>
              <a:avLst/>
              <a:gdLst>
                <a:gd name="T0" fmla="*/ 143 w 161"/>
                <a:gd name="T1" fmla="*/ 0 h 162"/>
                <a:gd name="T2" fmla="*/ 128 w 161"/>
                <a:gd name="T3" fmla="*/ 0 h 162"/>
                <a:gd name="T4" fmla="*/ 100 w 161"/>
                <a:gd name="T5" fmla="*/ 6 h 162"/>
                <a:gd name="T6" fmla="*/ 74 w 161"/>
                <a:gd name="T7" fmla="*/ 17 h 162"/>
                <a:gd name="T8" fmla="*/ 52 w 161"/>
                <a:gd name="T9" fmla="*/ 32 h 162"/>
                <a:gd name="T10" fmla="*/ 32 w 161"/>
                <a:gd name="T11" fmla="*/ 52 h 162"/>
                <a:gd name="T12" fmla="*/ 17 w 161"/>
                <a:gd name="T13" fmla="*/ 76 h 162"/>
                <a:gd name="T14" fmla="*/ 6 w 161"/>
                <a:gd name="T15" fmla="*/ 100 h 162"/>
                <a:gd name="T16" fmla="*/ 0 w 161"/>
                <a:gd name="T17" fmla="*/ 129 h 162"/>
                <a:gd name="T18" fmla="*/ 0 w 161"/>
                <a:gd name="T19" fmla="*/ 147 h 162"/>
                <a:gd name="T20" fmla="*/ 2 w 161"/>
                <a:gd name="T21" fmla="*/ 153 h 162"/>
                <a:gd name="T22" fmla="*/ 7 w 161"/>
                <a:gd name="T23" fmla="*/ 159 h 162"/>
                <a:gd name="T24" fmla="*/ 14 w 161"/>
                <a:gd name="T25" fmla="*/ 161 h 162"/>
                <a:gd name="T26" fmla="*/ 21 w 161"/>
                <a:gd name="T27" fmla="*/ 161 h 162"/>
                <a:gd name="T28" fmla="*/ 28 w 161"/>
                <a:gd name="T29" fmla="*/ 159 h 162"/>
                <a:gd name="T30" fmla="*/ 32 w 161"/>
                <a:gd name="T31" fmla="*/ 153 h 162"/>
                <a:gd name="T32" fmla="*/ 35 w 161"/>
                <a:gd name="T33" fmla="*/ 147 h 162"/>
                <a:gd name="T34" fmla="*/ 35 w 161"/>
                <a:gd name="T35" fmla="*/ 133 h 162"/>
                <a:gd name="T36" fmla="*/ 40 w 161"/>
                <a:gd name="T37" fmla="*/ 111 h 162"/>
                <a:gd name="T38" fmla="*/ 48 w 161"/>
                <a:gd name="T39" fmla="*/ 92 h 162"/>
                <a:gd name="T40" fmla="*/ 60 w 161"/>
                <a:gd name="T41" fmla="*/ 75 h 162"/>
                <a:gd name="T42" fmla="*/ 74 w 161"/>
                <a:gd name="T43" fmla="*/ 60 h 162"/>
                <a:gd name="T44" fmla="*/ 92 w 161"/>
                <a:gd name="T45" fmla="*/ 49 h 162"/>
                <a:gd name="T46" fmla="*/ 111 w 161"/>
                <a:gd name="T47" fmla="*/ 41 h 162"/>
                <a:gd name="T48" fmla="*/ 133 w 161"/>
                <a:gd name="T49" fmla="*/ 37 h 162"/>
                <a:gd name="T50" fmla="*/ 143 w 161"/>
                <a:gd name="T51" fmla="*/ 36 h 162"/>
                <a:gd name="T52" fmla="*/ 150 w 161"/>
                <a:gd name="T53" fmla="*/ 35 h 162"/>
                <a:gd name="T54" fmla="*/ 156 w 161"/>
                <a:gd name="T55" fmla="*/ 30 h 162"/>
                <a:gd name="T56" fmla="*/ 160 w 161"/>
                <a:gd name="T57" fmla="*/ 25 h 162"/>
                <a:gd name="T58" fmla="*/ 161 w 161"/>
                <a:gd name="T59" fmla="*/ 17 h 162"/>
                <a:gd name="T60" fmla="*/ 160 w 161"/>
                <a:gd name="T61" fmla="*/ 11 h 162"/>
                <a:gd name="T62" fmla="*/ 156 w 161"/>
                <a:gd name="T63" fmla="*/ 5 h 162"/>
                <a:gd name="T64" fmla="*/ 150 w 161"/>
                <a:gd name="T65" fmla="*/ 1 h 162"/>
                <a:gd name="T66" fmla="*/ 143 w 161"/>
                <a:gd name="T67" fmla="*/ 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61" h="162">
                  <a:moveTo>
                    <a:pt x="143" y="0"/>
                  </a:moveTo>
                  <a:lnTo>
                    <a:pt x="143" y="0"/>
                  </a:lnTo>
                  <a:lnTo>
                    <a:pt x="143" y="0"/>
                  </a:lnTo>
                  <a:lnTo>
                    <a:pt x="128" y="0"/>
                  </a:lnTo>
                  <a:lnTo>
                    <a:pt x="114" y="2"/>
                  </a:lnTo>
                  <a:lnTo>
                    <a:pt x="100" y="6"/>
                  </a:lnTo>
                  <a:lnTo>
                    <a:pt x="87" y="11"/>
                  </a:lnTo>
                  <a:lnTo>
                    <a:pt x="74" y="17"/>
                  </a:lnTo>
                  <a:lnTo>
                    <a:pt x="62" y="25"/>
                  </a:lnTo>
                  <a:lnTo>
                    <a:pt x="52" y="32"/>
                  </a:lnTo>
                  <a:lnTo>
                    <a:pt x="42" y="42"/>
                  </a:lnTo>
                  <a:lnTo>
                    <a:pt x="32" y="52"/>
                  </a:lnTo>
                  <a:lnTo>
                    <a:pt x="23" y="64"/>
                  </a:lnTo>
                  <a:lnTo>
                    <a:pt x="17" y="76"/>
                  </a:lnTo>
                  <a:lnTo>
                    <a:pt x="11" y="87"/>
                  </a:lnTo>
                  <a:lnTo>
                    <a:pt x="6" y="100"/>
                  </a:lnTo>
                  <a:lnTo>
                    <a:pt x="2" y="114"/>
                  </a:lnTo>
                  <a:lnTo>
                    <a:pt x="0" y="129"/>
                  </a:lnTo>
                  <a:lnTo>
                    <a:pt x="0" y="144"/>
                  </a:lnTo>
                  <a:lnTo>
                    <a:pt x="0" y="147"/>
                  </a:lnTo>
                  <a:lnTo>
                    <a:pt x="1" y="150"/>
                  </a:lnTo>
                  <a:lnTo>
                    <a:pt x="2" y="153"/>
                  </a:lnTo>
                  <a:lnTo>
                    <a:pt x="4" y="157"/>
                  </a:lnTo>
                  <a:lnTo>
                    <a:pt x="7" y="159"/>
                  </a:lnTo>
                  <a:lnTo>
                    <a:pt x="11" y="160"/>
                  </a:lnTo>
                  <a:lnTo>
                    <a:pt x="14" y="161"/>
                  </a:lnTo>
                  <a:lnTo>
                    <a:pt x="17" y="162"/>
                  </a:lnTo>
                  <a:lnTo>
                    <a:pt x="21" y="161"/>
                  </a:lnTo>
                  <a:lnTo>
                    <a:pt x="25" y="160"/>
                  </a:lnTo>
                  <a:lnTo>
                    <a:pt x="28" y="159"/>
                  </a:lnTo>
                  <a:lnTo>
                    <a:pt x="30" y="157"/>
                  </a:lnTo>
                  <a:lnTo>
                    <a:pt x="32" y="153"/>
                  </a:lnTo>
                  <a:lnTo>
                    <a:pt x="34" y="150"/>
                  </a:lnTo>
                  <a:lnTo>
                    <a:pt x="35" y="147"/>
                  </a:lnTo>
                  <a:lnTo>
                    <a:pt x="35" y="144"/>
                  </a:lnTo>
                  <a:lnTo>
                    <a:pt x="35" y="133"/>
                  </a:lnTo>
                  <a:lnTo>
                    <a:pt x="38" y="122"/>
                  </a:lnTo>
                  <a:lnTo>
                    <a:pt x="40" y="111"/>
                  </a:lnTo>
                  <a:lnTo>
                    <a:pt x="44" y="102"/>
                  </a:lnTo>
                  <a:lnTo>
                    <a:pt x="48" y="92"/>
                  </a:lnTo>
                  <a:lnTo>
                    <a:pt x="54" y="83"/>
                  </a:lnTo>
                  <a:lnTo>
                    <a:pt x="60" y="75"/>
                  </a:lnTo>
                  <a:lnTo>
                    <a:pt x="67" y="67"/>
                  </a:lnTo>
                  <a:lnTo>
                    <a:pt x="74" y="60"/>
                  </a:lnTo>
                  <a:lnTo>
                    <a:pt x="83" y="54"/>
                  </a:lnTo>
                  <a:lnTo>
                    <a:pt x="92" y="49"/>
                  </a:lnTo>
                  <a:lnTo>
                    <a:pt x="101" y="44"/>
                  </a:lnTo>
                  <a:lnTo>
                    <a:pt x="111" y="41"/>
                  </a:lnTo>
                  <a:lnTo>
                    <a:pt x="122" y="38"/>
                  </a:lnTo>
                  <a:lnTo>
                    <a:pt x="133" y="37"/>
                  </a:lnTo>
                  <a:lnTo>
                    <a:pt x="143" y="36"/>
                  </a:lnTo>
                  <a:lnTo>
                    <a:pt x="143" y="36"/>
                  </a:lnTo>
                  <a:lnTo>
                    <a:pt x="147" y="36"/>
                  </a:lnTo>
                  <a:lnTo>
                    <a:pt x="150" y="35"/>
                  </a:lnTo>
                  <a:lnTo>
                    <a:pt x="153" y="32"/>
                  </a:lnTo>
                  <a:lnTo>
                    <a:pt x="156" y="30"/>
                  </a:lnTo>
                  <a:lnTo>
                    <a:pt x="158" y="28"/>
                  </a:lnTo>
                  <a:lnTo>
                    <a:pt x="160" y="25"/>
                  </a:lnTo>
                  <a:lnTo>
                    <a:pt x="161" y="22"/>
                  </a:lnTo>
                  <a:lnTo>
                    <a:pt x="161" y="17"/>
                  </a:lnTo>
                  <a:lnTo>
                    <a:pt x="161" y="14"/>
                  </a:lnTo>
                  <a:lnTo>
                    <a:pt x="160" y="11"/>
                  </a:lnTo>
                  <a:lnTo>
                    <a:pt x="158" y="8"/>
                  </a:lnTo>
                  <a:lnTo>
                    <a:pt x="156" y="5"/>
                  </a:lnTo>
                  <a:lnTo>
                    <a:pt x="153" y="3"/>
                  </a:lnTo>
                  <a:lnTo>
                    <a:pt x="150" y="1"/>
                  </a:lnTo>
                  <a:lnTo>
                    <a:pt x="147" y="0"/>
                  </a:lnTo>
                  <a:lnTo>
                    <a:pt x="14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 dirty="0"/>
            </a:p>
          </p:txBody>
        </p:sp>
        <p:sp>
          <p:nvSpPr>
            <p:cNvPr id="30" name="Freeform 108">
              <a:extLst>
                <a:ext uri="{FF2B5EF4-FFF2-40B4-BE49-F238E27FC236}">
                  <a16:creationId xmlns:a16="http://schemas.microsoft.com/office/drawing/2014/main" id="{8574B3CA-A78E-AD49-AD4D-30CE481BB9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48656" y="4711303"/>
              <a:ext cx="198438" cy="200025"/>
            </a:xfrm>
            <a:custGeom>
              <a:avLst/>
              <a:gdLst>
                <a:gd name="T0" fmla="*/ 219 w 503"/>
                <a:gd name="T1" fmla="*/ 465 h 503"/>
                <a:gd name="T2" fmla="*/ 149 w 503"/>
                <a:gd name="T3" fmla="*/ 442 h 503"/>
                <a:gd name="T4" fmla="*/ 85 w 503"/>
                <a:gd name="T5" fmla="*/ 389 h 503"/>
                <a:gd name="T6" fmla="*/ 45 w 503"/>
                <a:gd name="T7" fmla="*/ 315 h 503"/>
                <a:gd name="T8" fmla="*/ 35 w 503"/>
                <a:gd name="T9" fmla="*/ 262 h 503"/>
                <a:gd name="T10" fmla="*/ 37 w 503"/>
                <a:gd name="T11" fmla="*/ 219 h 503"/>
                <a:gd name="T12" fmla="*/ 61 w 503"/>
                <a:gd name="T13" fmla="*/ 149 h 503"/>
                <a:gd name="T14" fmla="*/ 114 w 503"/>
                <a:gd name="T15" fmla="*/ 85 h 503"/>
                <a:gd name="T16" fmla="*/ 188 w 503"/>
                <a:gd name="T17" fmla="*/ 45 h 503"/>
                <a:gd name="T18" fmla="*/ 240 w 503"/>
                <a:gd name="T19" fmla="*/ 36 h 503"/>
                <a:gd name="T20" fmla="*/ 284 w 503"/>
                <a:gd name="T21" fmla="*/ 38 h 503"/>
                <a:gd name="T22" fmla="*/ 354 w 503"/>
                <a:gd name="T23" fmla="*/ 62 h 503"/>
                <a:gd name="T24" fmla="*/ 418 w 503"/>
                <a:gd name="T25" fmla="*/ 114 h 503"/>
                <a:gd name="T26" fmla="*/ 458 w 503"/>
                <a:gd name="T27" fmla="*/ 188 h 503"/>
                <a:gd name="T28" fmla="*/ 467 w 503"/>
                <a:gd name="T29" fmla="*/ 241 h 503"/>
                <a:gd name="T30" fmla="*/ 465 w 503"/>
                <a:gd name="T31" fmla="*/ 285 h 503"/>
                <a:gd name="T32" fmla="*/ 441 w 503"/>
                <a:gd name="T33" fmla="*/ 354 h 503"/>
                <a:gd name="T34" fmla="*/ 388 w 503"/>
                <a:gd name="T35" fmla="*/ 418 h 503"/>
                <a:gd name="T36" fmla="*/ 315 w 503"/>
                <a:gd name="T37" fmla="*/ 458 h 503"/>
                <a:gd name="T38" fmla="*/ 262 w 503"/>
                <a:gd name="T39" fmla="*/ 468 h 503"/>
                <a:gd name="T40" fmla="*/ 238 w 503"/>
                <a:gd name="T41" fmla="*/ 0 h 503"/>
                <a:gd name="T42" fmla="*/ 189 w 503"/>
                <a:gd name="T43" fmla="*/ 8 h 503"/>
                <a:gd name="T44" fmla="*/ 142 w 503"/>
                <a:gd name="T45" fmla="*/ 25 h 503"/>
                <a:gd name="T46" fmla="*/ 100 w 503"/>
                <a:gd name="T47" fmla="*/ 50 h 503"/>
                <a:gd name="T48" fmla="*/ 64 w 503"/>
                <a:gd name="T49" fmla="*/ 82 h 503"/>
                <a:gd name="T50" fmla="*/ 35 w 503"/>
                <a:gd name="T51" fmla="*/ 121 h 503"/>
                <a:gd name="T52" fmla="*/ 15 w 503"/>
                <a:gd name="T53" fmla="*/ 165 h 503"/>
                <a:gd name="T54" fmla="*/ 2 w 503"/>
                <a:gd name="T55" fmla="*/ 214 h 503"/>
                <a:gd name="T56" fmla="*/ 0 w 503"/>
                <a:gd name="T57" fmla="*/ 265 h 503"/>
                <a:gd name="T58" fmla="*/ 7 w 503"/>
                <a:gd name="T59" fmla="*/ 314 h 503"/>
                <a:gd name="T60" fmla="*/ 24 w 503"/>
                <a:gd name="T61" fmla="*/ 361 h 503"/>
                <a:gd name="T62" fmla="*/ 49 w 503"/>
                <a:gd name="T63" fmla="*/ 403 h 503"/>
                <a:gd name="T64" fmla="*/ 82 w 503"/>
                <a:gd name="T65" fmla="*/ 438 h 503"/>
                <a:gd name="T66" fmla="*/ 121 w 503"/>
                <a:gd name="T67" fmla="*/ 468 h 503"/>
                <a:gd name="T68" fmla="*/ 165 w 503"/>
                <a:gd name="T69" fmla="*/ 488 h 503"/>
                <a:gd name="T70" fmla="*/ 212 w 503"/>
                <a:gd name="T71" fmla="*/ 501 h 503"/>
                <a:gd name="T72" fmla="*/ 264 w 503"/>
                <a:gd name="T73" fmla="*/ 503 h 503"/>
                <a:gd name="T74" fmla="*/ 314 w 503"/>
                <a:gd name="T75" fmla="*/ 496 h 503"/>
                <a:gd name="T76" fmla="*/ 360 w 503"/>
                <a:gd name="T77" fmla="*/ 478 h 503"/>
                <a:gd name="T78" fmla="*/ 402 w 503"/>
                <a:gd name="T79" fmla="*/ 454 h 503"/>
                <a:gd name="T80" fmla="*/ 438 w 503"/>
                <a:gd name="T81" fmla="*/ 421 h 503"/>
                <a:gd name="T82" fmla="*/ 467 w 503"/>
                <a:gd name="T83" fmla="*/ 382 h 503"/>
                <a:gd name="T84" fmla="*/ 488 w 503"/>
                <a:gd name="T85" fmla="*/ 338 h 503"/>
                <a:gd name="T86" fmla="*/ 501 w 503"/>
                <a:gd name="T87" fmla="*/ 291 h 503"/>
                <a:gd name="T88" fmla="*/ 503 w 503"/>
                <a:gd name="T89" fmla="*/ 239 h 503"/>
                <a:gd name="T90" fmla="*/ 495 w 503"/>
                <a:gd name="T91" fmla="*/ 189 h 503"/>
                <a:gd name="T92" fmla="*/ 478 w 503"/>
                <a:gd name="T93" fmla="*/ 143 h 503"/>
                <a:gd name="T94" fmla="*/ 453 w 503"/>
                <a:gd name="T95" fmla="*/ 100 h 503"/>
                <a:gd name="T96" fmla="*/ 421 w 503"/>
                <a:gd name="T97" fmla="*/ 65 h 503"/>
                <a:gd name="T98" fmla="*/ 382 w 503"/>
                <a:gd name="T99" fmla="*/ 37 h 503"/>
                <a:gd name="T100" fmla="*/ 338 w 503"/>
                <a:gd name="T101" fmla="*/ 15 h 503"/>
                <a:gd name="T102" fmla="*/ 290 w 503"/>
                <a:gd name="T103" fmla="*/ 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03" h="503">
                  <a:moveTo>
                    <a:pt x="251" y="468"/>
                  </a:moveTo>
                  <a:lnTo>
                    <a:pt x="240" y="468"/>
                  </a:lnTo>
                  <a:lnTo>
                    <a:pt x="230" y="467"/>
                  </a:lnTo>
                  <a:lnTo>
                    <a:pt x="219" y="465"/>
                  </a:lnTo>
                  <a:lnTo>
                    <a:pt x="208" y="463"/>
                  </a:lnTo>
                  <a:lnTo>
                    <a:pt x="188" y="458"/>
                  </a:lnTo>
                  <a:lnTo>
                    <a:pt x="167" y="450"/>
                  </a:lnTo>
                  <a:lnTo>
                    <a:pt x="149" y="442"/>
                  </a:lnTo>
                  <a:lnTo>
                    <a:pt x="130" y="431"/>
                  </a:lnTo>
                  <a:lnTo>
                    <a:pt x="114" y="418"/>
                  </a:lnTo>
                  <a:lnTo>
                    <a:pt x="99" y="404"/>
                  </a:lnTo>
                  <a:lnTo>
                    <a:pt x="85" y="389"/>
                  </a:lnTo>
                  <a:lnTo>
                    <a:pt x="72" y="373"/>
                  </a:lnTo>
                  <a:lnTo>
                    <a:pt x="61" y="354"/>
                  </a:lnTo>
                  <a:lnTo>
                    <a:pt x="53" y="336"/>
                  </a:lnTo>
                  <a:lnTo>
                    <a:pt x="45" y="315"/>
                  </a:lnTo>
                  <a:lnTo>
                    <a:pt x="40" y="295"/>
                  </a:lnTo>
                  <a:lnTo>
                    <a:pt x="37" y="285"/>
                  </a:lnTo>
                  <a:lnTo>
                    <a:pt x="36" y="273"/>
                  </a:lnTo>
                  <a:lnTo>
                    <a:pt x="35" y="262"/>
                  </a:lnTo>
                  <a:lnTo>
                    <a:pt x="35" y="252"/>
                  </a:lnTo>
                  <a:lnTo>
                    <a:pt x="35" y="241"/>
                  </a:lnTo>
                  <a:lnTo>
                    <a:pt x="36" y="230"/>
                  </a:lnTo>
                  <a:lnTo>
                    <a:pt x="37" y="219"/>
                  </a:lnTo>
                  <a:lnTo>
                    <a:pt x="40" y="208"/>
                  </a:lnTo>
                  <a:lnTo>
                    <a:pt x="45" y="188"/>
                  </a:lnTo>
                  <a:lnTo>
                    <a:pt x="53" y="167"/>
                  </a:lnTo>
                  <a:lnTo>
                    <a:pt x="61" y="149"/>
                  </a:lnTo>
                  <a:lnTo>
                    <a:pt x="72" y="131"/>
                  </a:lnTo>
                  <a:lnTo>
                    <a:pt x="85" y="114"/>
                  </a:lnTo>
                  <a:lnTo>
                    <a:pt x="99" y="99"/>
                  </a:lnTo>
                  <a:lnTo>
                    <a:pt x="114" y="85"/>
                  </a:lnTo>
                  <a:lnTo>
                    <a:pt x="130" y="72"/>
                  </a:lnTo>
                  <a:lnTo>
                    <a:pt x="149" y="62"/>
                  </a:lnTo>
                  <a:lnTo>
                    <a:pt x="167" y="53"/>
                  </a:lnTo>
                  <a:lnTo>
                    <a:pt x="188" y="45"/>
                  </a:lnTo>
                  <a:lnTo>
                    <a:pt x="208" y="40"/>
                  </a:lnTo>
                  <a:lnTo>
                    <a:pt x="219" y="38"/>
                  </a:lnTo>
                  <a:lnTo>
                    <a:pt x="230" y="37"/>
                  </a:lnTo>
                  <a:lnTo>
                    <a:pt x="240" y="36"/>
                  </a:lnTo>
                  <a:lnTo>
                    <a:pt x="251" y="36"/>
                  </a:lnTo>
                  <a:lnTo>
                    <a:pt x="262" y="36"/>
                  </a:lnTo>
                  <a:lnTo>
                    <a:pt x="273" y="37"/>
                  </a:lnTo>
                  <a:lnTo>
                    <a:pt x="284" y="38"/>
                  </a:lnTo>
                  <a:lnTo>
                    <a:pt x="294" y="40"/>
                  </a:lnTo>
                  <a:lnTo>
                    <a:pt x="315" y="45"/>
                  </a:lnTo>
                  <a:lnTo>
                    <a:pt x="336" y="53"/>
                  </a:lnTo>
                  <a:lnTo>
                    <a:pt x="354" y="62"/>
                  </a:lnTo>
                  <a:lnTo>
                    <a:pt x="372" y="72"/>
                  </a:lnTo>
                  <a:lnTo>
                    <a:pt x="388" y="85"/>
                  </a:lnTo>
                  <a:lnTo>
                    <a:pt x="404" y="99"/>
                  </a:lnTo>
                  <a:lnTo>
                    <a:pt x="418" y="114"/>
                  </a:lnTo>
                  <a:lnTo>
                    <a:pt x="431" y="131"/>
                  </a:lnTo>
                  <a:lnTo>
                    <a:pt x="441" y="149"/>
                  </a:lnTo>
                  <a:lnTo>
                    <a:pt x="450" y="167"/>
                  </a:lnTo>
                  <a:lnTo>
                    <a:pt x="458" y="188"/>
                  </a:lnTo>
                  <a:lnTo>
                    <a:pt x="463" y="208"/>
                  </a:lnTo>
                  <a:lnTo>
                    <a:pt x="465" y="219"/>
                  </a:lnTo>
                  <a:lnTo>
                    <a:pt x="466" y="230"/>
                  </a:lnTo>
                  <a:lnTo>
                    <a:pt x="467" y="241"/>
                  </a:lnTo>
                  <a:lnTo>
                    <a:pt x="467" y="252"/>
                  </a:lnTo>
                  <a:lnTo>
                    <a:pt x="467" y="262"/>
                  </a:lnTo>
                  <a:lnTo>
                    <a:pt x="466" y="273"/>
                  </a:lnTo>
                  <a:lnTo>
                    <a:pt x="465" y="285"/>
                  </a:lnTo>
                  <a:lnTo>
                    <a:pt x="463" y="295"/>
                  </a:lnTo>
                  <a:lnTo>
                    <a:pt x="458" y="315"/>
                  </a:lnTo>
                  <a:lnTo>
                    <a:pt x="450" y="336"/>
                  </a:lnTo>
                  <a:lnTo>
                    <a:pt x="441" y="354"/>
                  </a:lnTo>
                  <a:lnTo>
                    <a:pt x="431" y="373"/>
                  </a:lnTo>
                  <a:lnTo>
                    <a:pt x="418" y="389"/>
                  </a:lnTo>
                  <a:lnTo>
                    <a:pt x="404" y="404"/>
                  </a:lnTo>
                  <a:lnTo>
                    <a:pt x="388" y="418"/>
                  </a:lnTo>
                  <a:lnTo>
                    <a:pt x="372" y="431"/>
                  </a:lnTo>
                  <a:lnTo>
                    <a:pt x="354" y="442"/>
                  </a:lnTo>
                  <a:lnTo>
                    <a:pt x="336" y="450"/>
                  </a:lnTo>
                  <a:lnTo>
                    <a:pt x="315" y="458"/>
                  </a:lnTo>
                  <a:lnTo>
                    <a:pt x="294" y="463"/>
                  </a:lnTo>
                  <a:lnTo>
                    <a:pt x="284" y="465"/>
                  </a:lnTo>
                  <a:lnTo>
                    <a:pt x="273" y="467"/>
                  </a:lnTo>
                  <a:lnTo>
                    <a:pt x="262" y="468"/>
                  </a:lnTo>
                  <a:lnTo>
                    <a:pt x="251" y="468"/>
                  </a:lnTo>
                  <a:lnTo>
                    <a:pt x="251" y="468"/>
                  </a:lnTo>
                  <a:close/>
                  <a:moveTo>
                    <a:pt x="251" y="0"/>
                  </a:moveTo>
                  <a:lnTo>
                    <a:pt x="238" y="0"/>
                  </a:lnTo>
                  <a:lnTo>
                    <a:pt x="225" y="1"/>
                  </a:lnTo>
                  <a:lnTo>
                    <a:pt x="212" y="2"/>
                  </a:lnTo>
                  <a:lnTo>
                    <a:pt x="201" y="4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3" y="19"/>
                  </a:lnTo>
                  <a:lnTo>
                    <a:pt x="142" y="25"/>
                  </a:lnTo>
                  <a:lnTo>
                    <a:pt x="131" y="30"/>
                  </a:lnTo>
                  <a:lnTo>
                    <a:pt x="121" y="37"/>
                  </a:lnTo>
                  <a:lnTo>
                    <a:pt x="111" y="43"/>
                  </a:lnTo>
                  <a:lnTo>
                    <a:pt x="100" y="50"/>
                  </a:lnTo>
                  <a:lnTo>
                    <a:pt x="91" y="57"/>
                  </a:lnTo>
                  <a:lnTo>
                    <a:pt x="82" y="65"/>
                  </a:lnTo>
                  <a:lnTo>
                    <a:pt x="73" y="73"/>
                  </a:lnTo>
                  <a:lnTo>
                    <a:pt x="64" y="82"/>
                  </a:lnTo>
                  <a:lnTo>
                    <a:pt x="57" y="92"/>
                  </a:lnTo>
                  <a:lnTo>
                    <a:pt x="49" y="100"/>
                  </a:lnTo>
                  <a:lnTo>
                    <a:pt x="43" y="111"/>
                  </a:lnTo>
                  <a:lnTo>
                    <a:pt x="35" y="121"/>
                  </a:lnTo>
                  <a:lnTo>
                    <a:pt x="30" y="132"/>
                  </a:lnTo>
                  <a:lnTo>
                    <a:pt x="24" y="143"/>
                  </a:lnTo>
                  <a:lnTo>
                    <a:pt x="19" y="153"/>
                  </a:lnTo>
                  <a:lnTo>
                    <a:pt x="15" y="165"/>
                  </a:lnTo>
                  <a:lnTo>
                    <a:pt x="10" y="177"/>
                  </a:lnTo>
                  <a:lnTo>
                    <a:pt x="7" y="189"/>
                  </a:lnTo>
                  <a:lnTo>
                    <a:pt x="4" y="201"/>
                  </a:lnTo>
                  <a:lnTo>
                    <a:pt x="2" y="214"/>
                  </a:lnTo>
                  <a:lnTo>
                    <a:pt x="1" y="226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2" y="291"/>
                  </a:lnTo>
                  <a:lnTo>
                    <a:pt x="4" y="302"/>
                  </a:lnTo>
                  <a:lnTo>
                    <a:pt x="7" y="314"/>
                  </a:lnTo>
                  <a:lnTo>
                    <a:pt x="10" y="326"/>
                  </a:lnTo>
                  <a:lnTo>
                    <a:pt x="15" y="338"/>
                  </a:lnTo>
                  <a:lnTo>
                    <a:pt x="19" y="350"/>
                  </a:lnTo>
                  <a:lnTo>
                    <a:pt x="24" y="361"/>
                  </a:lnTo>
                  <a:lnTo>
                    <a:pt x="30" y="372"/>
                  </a:lnTo>
                  <a:lnTo>
                    <a:pt x="35" y="382"/>
                  </a:lnTo>
                  <a:lnTo>
                    <a:pt x="43" y="393"/>
                  </a:lnTo>
                  <a:lnTo>
                    <a:pt x="49" y="403"/>
                  </a:lnTo>
                  <a:lnTo>
                    <a:pt x="57" y="413"/>
                  </a:lnTo>
                  <a:lnTo>
                    <a:pt x="64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4"/>
                  </a:lnTo>
                  <a:lnTo>
                    <a:pt x="111" y="461"/>
                  </a:lnTo>
                  <a:lnTo>
                    <a:pt x="121" y="468"/>
                  </a:lnTo>
                  <a:lnTo>
                    <a:pt x="131" y="473"/>
                  </a:lnTo>
                  <a:lnTo>
                    <a:pt x="142" y="478"/>
                  </a:lnTo>
                  <a:lnTo>
                    <a:pt x="153" y="484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6"/>
                  </a:lnTo>
                  <a:lnTo>
                    <a:pt x="201" y="499"/>
                  </a:lnTo>
                  <a:lnTo>
                    <a:pt x="212" y="501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264" y="503"/>
                  </a:lnTo>
                  <a:lnTo>
                    <a:pt x="277" y="502"/>
                  </a:lnTo>
                  <a:lnTo>
                    <a:pt x="290" y="501"/>
                  </a:lnTo>
                  <a:lnTo>
                    <a:pt x="302" y="499"/>
                  </a:lnTo>
                  <a:lnTo>
                    <a:pt x="314" y="496"/>
                  </a:lnTo>
                  <a:lnTo>
                    <a:pt x="326" y="492"/>
                  </a:lnTo>
                  <a:lnTo>
                    <a:pt x="338" y="488"/>
                  </a:lnTo>
                  <a:lnTo>
                    <a:pt x="350" y="484"/>
                  </a:lnTo>
                  <a:lnTo>
                    <a:pt x="360" y="478"/>
                  </a:lnTo>
                  <a:lnTo>
                    <a:pt x="371" y="473"/>
                  </a:lnTo>
                  <a:lnTo>
                    <a:pt x="382" y="468"/>
                  </a:lnTo>
                  <a:lnTo>
                    <a:pt x="392" y="461"/>
                  </a:lnTo>
                  <a:lnTo>
                    <a:pt x="402" y="454"/>
                  </a:lnTo>
                  <a:lnTo>
                    <a:pt x="411" y="446"/>
                  </a:lnTo>
                  <a:lnTo>
                    <a:pt x="421" y="438"/>
                  </a:lnTo>
                  <a:lnTo>
                    <a:pt x="429" y="430"/>
                  </a:lnTo>
                  <a:lnTo>
                    <a:pt x="438" y="421"/>
                  </a:lnTo>
                  <a:lnTo>
                    <a:pt x="446" y="411"/>
                  </a:lnTo>
                  <a:lnTo>
                    <a:pt x="453" y="403"/>
                  </a:lnTo>
                  <a:lnTo>
                    <a:pt x="460" y="393"/>
                  </a:lnTo>
                  <a:lnTo>
                    <a:pt x="467" y="382"/>
                  </a:lnTo>
                  <a:lnTo>
                    <a:pt x="473" y="372"/>
                  </a:lnTo>
                  <a:lnTo>
                    <a:pt x="478" y="361"/>
                  </a:lnTo>
                  <a:lnTo>
                    <a:pt x="483" y="350"/>
                  </a:lnTo>
                  <a:lnTo>
                    <a:pt x="488" y="338"/>
                  </a:lnTo>
                  <a:lnTo>
                    <a:pt x="492" y="326"/>
                  </a:lnTo>
                  <a:lnTo>
                    <a:pt x="495" y="314"/>
                  </a:lnTo>
                  <a:lnTo>
                    <a:pt x="499" y="302"/>
                  </a:lnTo>
                  <a:lnTo>
                    <a:pt x="501" y="291"/>
                  </a:lnTo>
                  <a:lnTo>
                    <a:pt x="502" y="278"/>
                  </a:lnTo>
                  <a:lnTo>
                    <a:pt x="503" y="265"/>
                  </a:lnTo>
                  <a:lnTo>
                    <a:pt x="503" y="252"/>
                  </a:lnTo>
                  <a:lnTo>
                    <a:pt x="503" y="239"/>
                  </a:lnTo>
                  <a:lnTo>
                    <a:pt x="502" y="226"/>
                  </a:lnTo>
                  <a:lnTo>
                    <a:pt x="501" y="214"/>
                  </a:lnTo>
                  <a:lnTo>
                    <a:pt x="499" y="201"/>
                  </a:lnTo>
                  <a:lnTo>
                    <a:pt x="495" y="189"/>
                  </a:lnTo>
                  <a:lnTo>
                    <a:pt x="492" y="177"/>
                  </a:lnTo>
                  <a:lnTo>
                    <a:pt x="488" y="165"/>
                  </a:lnTo>
                  <a:lnTo>
                    <a:pt x="483" y="153"/>
                  </a:lnTo>
                  <a:lnTo>
                    <a:pt x="478" y="143"/>
                  </a:lnTo>
                  <a:lnTo>
                    <a:pt x="473" y="132"/>
                  </a:lnTo>
                  <a:lnTo>
                    <a:pt x="467" y="121"/>
                  </a:lnTo>
                  <a:lnTo>
                    <a:pt x="460" y="111"/>
                  </a:lnTo>
                  <a:lnTo>
                    <a:pt x="453" y="100"/>
                  </a:lnTo>
                  <a:lnTo>
                    <a:pt x="446" y="92"/>
                  </a:lnTo>
                  <a:lnTo>
                    <a:pt x="438" y="82"/>
                  </a:lnTo>
                  <a:lnTo>
                    <a:pt x="429" y="73"/>
                  </a:lnTo>
                  <a:lnTo>
                    <a:pt x="421" y="65"/>
                  </a:lnTo>
                  <a:lnTo>
                    <a:pt x="411" y="57"/>
                  </a:lnTo>
                  <a:lnTo>
                    <a:pt x="402" y="50"/>
                  </a:lnTo>
                  <a:lnTo>
                    <a:pt x="392" y="43"/>
                  </a:lnTo>
                  <a:lnTo>
                    <a:pt x="382" y="37"/>
                  </a:lnTo>
                  <a:lnTo>
                    <a:pt x="371" y="30"/>
                  </a:lnTo>
                  <a:lnTo>
                    <a:pt x="360" y="25"/>
                  </a:lnTo>
                  <a:lnTo>
                    <a:pt x="350" y="19"/>
                  </a:lnTo>
                  <a:lnTo>
                    <a:pt x="338" y="15"/>
                  </a:lnTo>
                  <a:lnTo>
                    <a:pt x="326" y="11"/>
                  </a:lnTo>
                  <a:lnTo>
                    <a:pt x="314" y="8"/>
                  </a:lnTo>
                  <a:lnTo>
                    <a:pt x="302" y="4"/>
                  </a:lnTo>
                  <a:lnTo>
                    <a:pt x="290" y="2"/>
                  </a:lnTo>
                  <a:lnTo>
                    <a:pt x="277" y="1"/>
                  </a:lnTo>
                  <a:lnTo>
                    <a:pt x="264" y="0"/>
                  </a:lnTo>
                  <a:lnTo>
                    <a:pt x="2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 dirty="0"/>
            </a:p>
          </p:txBody>
        </p:sp>
      </p:grpSp>
      <p:pic>
        <p:nvPicPr>
          <p:cNvPr id="44" name="Graphic 43">
            <a:extLst>
              <a:ext uri="{FF2B5EF4-FFF2-40B4-BE49-F238E27FC236}">
                <a16:creationId xmlns:a16="http://schemas.microsoft.com/office/drawing/2014/main" id="{713684B6-51DE-C74A-AC18-1E6ED20ACBD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354293" y="5745524"/>
            <a:ext cx="378508" cy="575647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AFE3F38F-E861-4649-93D2-1A47E61C8B6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55128" y="2408926"/>
            <a:ext cx="683826" cy="442069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8FC78744-AA24-F942-9E78-9FCBA878AC7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284304" y="4665782"/>
            <a:ext cx="486070" cy="462550"/>
          </a:xfrm>
          <a:prstGeom prst="rect">
            <a:avLst/>
          </a:prstGeom>
        </p:spPr>
      </p:pic>
      <p:cxnSp>
        <p:nvCxnSpPr>
          <p:cNvPr id="36" name="Connecteur droit 15">
            <a:extLst>
              <a:ext uri="{FF2B5EF4-FFF2-40B4-BE49-F238E27FC236}">
                <a16:creationId xmlns:a16="http://schemas.microsoft.com/office/drawing/2014/main" id="{760DC905-C2CD-8043-8F9A-437792126BFE}"/>
              </a:ext>
            </a:extLst>
          </p:cNvPr>
          <p:cNvCxnSpPr/>
          <p:nvPr/>
        </p:nvCxnSpPr>
        <p:spPr>
          <a:xfrm>
            <a:off x="8155109" y="1239732"/>
            <a:ext cx="0" cy="624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droit 21">
            <a:extLst>
              <a:ext uri="{FF2B5EF4-FFF2-40B4-BE49-F238E27FC236}">
                <a16:creationId xmlns:a16="http://schemas.microsoft.com/office/drawing/2014/main" id="{6296A8D6-DC99-D948-847F-5A0CA1E10512}"/>
              </a:ext>
            </a:extLst>
          </p:cNvPr>
          <p:cNvCxnSpPr/>
          <p:nvPr/>
        </p:nvCxnSpPr>
        <p:spPr>
          <a:xfrm>
            <a:off x="8145641" y="2364445"/>
            <a:ext cx="0" cy="624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Ellipse 1">
            <a:extLst>
              <a:ext uri="{FF2B5EF4-FFF2-40B4-BE49-F238E27FC236}">
                <a16:creationId xmlns:a16="http://schemas.microsoft.com/office/drawing/2014/main" id="{25D71B12-FB4E-3F48-B136-1FC6927F284C}"/>
              </a:ext>
            </a:extLst>
          </p:cNvPr>
          <p:cNvSpPr>
            <a:spLocks noChangeAspect="1"/>
          </p:cNvSpPr>
          <p:nvPr/>
        </p:nvSpPr>
        <p:spPr>
          <a:xfrm>
            <a:off x="6758933" y="1364356"/>
            <a:ext cx="374752" cy="37475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en-US" sz="1600" dirty="0">
                <a:solidFill>
                  <a:schemeClr val="accent1"/>
                </a:solidFill>
              </a:rPr>
              <a:t>6</a:t>
            </a:r>
          </a:p>
        </p:txBody>
      </p:sp>
      <p:sp>
        <p:nvSpPr>
          <p:cNvPr id="39" name="Ellipse 62">
            <a:extLst>
              <a:ext uri="{FF2B5EF4-FFF2-40B4-BE49-F238E27FC236}">
                <a16:creationId xmlns:a16="http://schemas.microsoft.com/office/drawing/2014/main" id="{AE39101D-3FE1-B845-8D00-CE91AC500CBC}"/>
              </a:ext>
            </a:extLst>
          </p:cNvPr>
          <p:cNvSpPr>
            <a:spLocks noChangeAspect="1"/>
          </p:cNvSpPr>
          <p:nvPr/>
        </p:nvSpPr>
        <p:spPr>
          <a:xfrm>
            <a:off x="6758933" y="2489069"/>
            <a:ext cx="374752" cy="37475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en-US" sz="1600" dirty="0">
                <a:solidFill>
                  <a:schemeClr val="accent1"/>
                </a:solidFill>
              </a:rPr>
              <a:t>7</a:t>
            </a:r>
          </a:p>
        </p:txBody>
      </p:sp>
      <p:sp>
        <p:nvSpPr>
          <p:cNvPr id="41" name="Ellipse 68">
            <a:extLst>
              <a:ext uri="{FF2B5EF4-FFF2-40B4-BE49-F238E27FC236}">
                <a16:creationId xmlns:a16="http://schemas.microsoft.com/office/drawing/2014/main" id="{650CA7B9-0339-D64F-A9C2-252AE5268CF4}"/>
              </a:ext>
            </a:extLst>
          </p:cNvPr>
          <p:cNvSpPr>
            <a:spLocks noChangeAspect="1"/>
          </p:cNvSpPr>
          <p:nvPr/>
        </p:nvSpPr>
        <p:spPr>
          <a:xfrm>
            <a:off x="6758933" y="3613783"/>
            <a:ext cx="374752" cy="37475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en-US" sz="1600" dirty="0">
                <a:solidFill>
                  <a:schemeClr val="accent1"/>
                </a:solidFill>
              </a:rPr>
              <a:t>8</a:t>
            </a:r>
          </a:p>
        </p:txBody>
      </p:sp>
      <p:sp>
        <p:nvSpPr>
          <p:cNvPr id="42" name="Ellipse 77">
            <a:extLst>
              <a:ext uri="{FF2B5EF4-FFF2-40B4-BE49-F238E27FC236}">
                <a16:creationId xmlns:a16="http://schemas.microsoft.com/office/drawing/2014/main" id="{24ACEA90-6A4D-244C-8B61-0275BC1CE2D6}"/>
              </a:ext>
            </a:extLst>
          </p:cNvPr>
          <p:cNvSpPr>
            <a:spLocks noChangeAspect="1"/>
          </p:cNvSpPr>
          <p:nvPr/>
        </p:nvSpPr>
        <p:spPr>
          <a:xfrm>
            <a:off x="6758933" y="4738496"/>
            <a:ext cx="374752" cy="37475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en-US" sz="1600" dirty="0">
                <a:solidFill>
                  <a:schemeClr val="accent1"/>
                </a:solidFill>
              </a:rPr>
              <a:t>9</a:t>
            </a:r>
          </a:p>
        </p:txBody>
      </p:sp>
      <p:cxnSp>
        <p:nvCxnSpPr>
          <p:cNvPr id="43" name="Connecteur droit 21">
            <a:extLst>
              <a:ext uri="{FF2B5EF4-FFF2-40B4-BE49-F238E27FC236}">
                <a16:creationId xmlns:a16="http://schemas.microsoft.com/office/drawing/2014/main" id="{FC4F0EB5-11AC-2142-8CAD-31E4FDAEF978}"/>
              </a:ext>
            </a:extLst>
          </p:cNvPr>
          <p:cNvCxnSpPr/>
          <p:nvPr/>
        </p:nvCxnSpPr>
        <p:spPr>
          <a:xfrm>
            <a:off x="8145641" y="3489159"/>
            <a:ext cx="0" cy="624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necteur droit 21">
            <a:extLst>
              <a:ext uri="{FF2B5EF4-FFF2-40B4-BE49-F238E27FC236}">
                <a16:creationId xmlns:a16="http://schemas.microsoft.com/office/drawing/2014/main" id="{9E87C9B6-FD37-4041-952A-37F49F14FF23}"/>
              </a:ext>
            </a:extLst>
          </p:cNvPr>
          <p:cNvCxnSpPr/>
          <p:nvPr/>
        </p:nvCxnSpPr>
        <p:spPr>
          <a:xfrm>
            <a:off x="8145641" y="4613872"/>
            <a:ext cx="0" cy="624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9" name="Graphic 58">
            <a:extLst>
              <a:ext uri="{FF2B5EF4-FFF2-40B4-BE49-F238E27FC236}">
                <a16:creationId xmlns:a16="http://schemas.microsoft.com/office/drawing/2014/main" id="{BF6EDC3A-0DEE-8B42-BB10-FFD0FC6320E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267694" y="3554762"/>
            <a:ext cx="622290" cy="502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27929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C5D6EF27-3969-6F40-AAAD-5249070E25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Picture Placeholder 15" descr="A close up of a hand&#10;&#10;Description automatically generated">
            <a:extLst>
              <a:ext uri="{FF2B5EF4-FFF2-40B4-BE49-F238E27FC236}">
                <a16:creationId xmlns:a16="http://schemas.microsoft.com/office/drawing/2014/main" id="{3B0EBA33-5C30-9245-8262-DF38DE0697F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7784" y="3159046"/>
            <a:ext cx="1652651" cy="1652651"/>
          </a:xfrm>
          <a:prstGeom prst="ellipse">
            <a:avLst/>
          </a:prstGeom>
        </p:spPr>
      </p:pic>
      <p:sp>
        <p:nvSpPr>
          <p:cNvPr id="10" name="Oval 9">
            <a:extLst>
              <a:ext uri="{FF2B5EF4-FFF2-40B4-BE49-F238E27FC236}">
                <a16:creationId xmlns:a16="http://schemas.microsoft.com/office/drawing/2014/main" id="{C4004C61-F97B-844F-9675-6BC607251184}"/>
              </a:ext>
            </a:extLst>
          </p:cNvPr>
          <p:cNvSpPr/>
          <p:nvPr/>
        </p:nvSpPr>
        <p:spPr>
          <a:xfrm rot="16200000">
            <a:off x="1119315" y="3793421"/>
            <a:ext cx="750275" cy="774739"/>
          </a:xfrm>
          <a:prstGeom prst="ellipse">
            <a:avLst/>
          </a:prstGeom>
          <a:gradFill>
            <a:gsLst>
              <a:gs pos="48000">
                <a:schemeClr val="accent1">
                  <a:alpha val="73000"/>
                </a:schemeClr>
              </a:gs>
              <a:gs pos="99000">
                <a:schemeClr val="accent6">
                  <a:alpha val="47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03A90B54-22BA-2D4C-8C71-C3966DFD8A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0334" y="1087622"/>
            <a:ext cx="2960713" cy="983049"/>
          </a:xfrm>
          <a:prstGeom prst="rect">
            <a:avLst/>
          </a:prstGeom>
        </p:spPr>
      </p:pic>
      <p:grpSp>
        <p:nvGrpSpPr>
          <p:cNvPr id="2" name="Graphic 6">
            <a:extLst>
              <a:ext uri="{FF2B5EF4-FFF2-40B4-BE49-F238E27FC236}">
                <a16:creationId xmlns:a16="http://schemas.microsoft.com/office/drawing/2014/main" id="{5542BCB4-A478-5446-B953-842E618B04D5}"/>
              </a:ext>
            </a:extLst>
          </p:cNvPr>
          <p:cNvGrpSpPr/>
          <p:nvPr/>
        </p:nvGrpSpPr>
        <p:grpSpPr>
          <a:xfrm>
            <a:off x="3245777" y="725396"/>
            <a:ext cx="8635115" cy="5816438"/>
            <a:chOff x="3245777" y="725396"/>
            <a:chExt cx="8635115" cy="5816438"/>
          </a:xfrm>
          <a:solidFill>
            <a:schemeClr val="accent1"/>
          </a:solidFill>
        </p:grpSpPr>
        <p:sp>
          <p:nvSpPr>
            <p:cNvPr id="3" name="Freeform 2">
              <a:extLst>
                <a:ext uri="{FF2B5EF4-FFF2-40B4-BE49-F238E27FC236}">
                  <a16:creationId xmlns:a16="http://schemas.microsoft.com/office/drawing/2014/main" id="{F07377F4-5DD1-B944-9453-1E1766959DA8}"/>
                </a:ext>
              </a:extLst>
            </p:cNvPr>
            <p:cNvSpPr/>
            <p:nvPr/>
          </p:nvSpPr>
          <p:spPr>
            <a:xfrm>
              <a:off x="3245777" y="6459125"/>
              <a:ext cx="8635115" cy="82710"/>
            </a:xfrm>
            <a:custGeom>
              <a:avLst/>
              <a:gdLst>
                <a:gd name="connsiteX0" fmla="*/ 8597708 w 8635115"/>
                <a:gd name="connsiteY0" fmla="*/ 82710 h 82710"/>
                <a:gd name="connsiteX1" fmla="*/ 40128 w 8635115"/>
                <a:gd name="connsiteY1" fmla="*/ 82710 h 82710"/>
                <a:gd name="connsiteX2" fmla="*/ 322 w 8635115"/>
                <a:gd name="connsiteY2" fmla="*/ 45036 h 82710"/>
                <a:gd name="connsiteX3" fmla="*/ 35092 w 8635115"/>
                <a:gd name="connsiteY3" fmla="*/ 260 h 82710"/>
                <a:gd name="connsiteX4" fmla="*/ 38067 w 8635115"/>
                <a:gd name="connsiteY4" fmla="*/ 0 h 82710"/>
                <a:gd name="connsiteX5" fmla="*/ 8595647 w 8635115"/>
                <a:gd name="connsiteY5" fmla="*/ 0 h 82710"/>
                <a:gd name="connsiteX6" fmla="*/ 8635062 w 8635115"/>
                <a:gd name="connsiteY6" fmla="*/ 43477 h 82710"/>
                <a:gd name="connsiteX7" fmla="*/ 8597274 w 8635115"/>
                <a:gd name="connsiteY7" fmla="*/ 82710 h 82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635115" h="82710">
                  <a:moveTo>
                    <a:pt x="8597708" y="82710"/>
                  </a:moveTo>
                  <a:lnTo>
                    <a:pt x="40128" y="82710"/>
                  </a:lnTo>
                  <a:cubicBezTo>
                    <a:pt x="19074" y="82363"/>
                    <a:pt x="1783" y="66005"/>
                    <a:pt x="322" y="45036"/>
                  </a:cubicBezTo>
                  <a:cubicBezTo>
                    <a:pt x="-2463" y="23092"/>
                    <a:pt x="13105" y="3042"/>
                    <a:pt x="35092" y="260"/>
                  </a:cubicBezTo>
                  <a:cubicBezTo>
                    <a:pt x="36080" y="141"/>
                    <a:pt x="37072" y="54"/>
                    <a:pt x="38067" y="0"/>
                  </a:cubicBezTo>
                  <a:lnTo>
                    <a:pt x="8595647" y="0"/>
                  </a:lnTo>
                  <a:cubicBezTo>
                    <a:pt x="8618565" y="1148"/>
                    <a:pt x="8636211" y="20612"/>
                    <a:pt x="8635062" y="43477"/>
                  </a:cubicBezTo>
                  <a:cubicBezTo>
                    <a:pt x="8634031" y="64133"/>
                    <a:pt x="8617903" y="80869"/>
                    <a:pt x="8597274" y="82710"/>
                  </a:cubicBezTo>
                  <a:close/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651ACA60-D6DC-9C42-A604-0FB5F6C3E991}"/>
                </a:ext>
              </a:extLst>
            </p:cNvPr>
            <p:cNvSpPr/>
            <p:nvPr/>
          </p:nvSpPr>
          <p:spPr>
            <a:xfrm>
              <a:off x="4807993" y="5200287"/>
              <a:ext cx="167952" cy="54562"/>
            </a:xfrm>
            <a:custGeom>
              <a:avLst/>
              <a:gdLst>
                <a:gd name="connsiteX0" fmla="*/ 163723 w 167952"/>
                <a:gd name="connsiteY0" fmla="*/ 0 h 54562"/>
                <a:gd name="connsiteX1" fmla="*/ 7213 w 167952"/>
                <a:gd name="connsiteY1" fmla="*/ 35617 h 54562"/>
                <a:gd name="connsiteX2" fmla="*/ 315 w 167952"/>
                <a:gd name="connsiteY2" fmla="*/ 47374 h 54562"/>
                <a:gd name="connsiteX3" fmla="*/ 9166 w 167952"/>
                <a:gd name="connsiteY3" fmla="*/ 54563 h 54562"/>
                <a:gd name="connsiteX4" fmla="*/ 11335 w 167952"/>
                <a:gd name="connsiteY4" fmla="*/ 54563 h 54562"/>
                <a:gd name="connsiteX5" fmla="*/ 167953 w 167952"/>
                <a:gd name="connsiteY5" fmla="*/ 18945 h 54562"/>
                <a:gd name="connsiteX6" fmla="*/ 163723 w 167952"/>
                <a:gd name="connsiteY6" fmla="*/ 216 h 5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7952" h="54562">
                  <a:moveTo>
                    <a:pt x="163723" y="0"/>
                  </a:moveTo>
                  <a:lnTo>
                    <a:pt x="7213" y="35617"/>
                  </a:lnTo>
                  <a:cubicBezTo>
                    <a:pt x="2051" y="36960"/>
                    <a:pt x="-1030" y="42221"/>
                    <a:pt x="315" y="47374"/>
                  </a:cubicBezTo>
                  <a:cubicBezTo>
                    <a:pt x="1378" y="51445"/>
                    <a:pt x="4958" y="54346"/>
                    <a:pt x="9166" y="54563"/>
                  </a:cubicBezTo>
                  <a:lnTo>
                    <a:pt x="11335" y="54563"/>
                  </a:lnTo>
                  <a:lnTo>
                    <a:pt x="167953" y="18945"/>
                  </a:lnTo>
                  <a:cubicBezTo>
                    <a:pt x="166434" y="12774"/>
                    <a:pt x="165024" y="6496"/>
                    <a:pt x="163723" y="216"/>
                  </a:cubicBezTo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7121069B-D9FF-154E-827B-7B03354AD13D}"/>
                </a:ext>
              </a:extLst>
            </p:cNvPr>
            <p:cNvSpPr/>
            <p:nvPr/>
          </p:nvSpPr>
          <p:spPr>
            <a:xfrm>
              <a:off x="4889640" y="4759294"/>
              <a:ext cx="145742" cy="102358"/>
            </a:xfrm>
            <a:custGeom>
              <a:avLst/>
              <a:gdLst>
                <a:gd name="connsiteX0" fmla="*/ 4417 w 145742"/>
                <a:gd name="connsiteY0" fmla="*/ 17700 h 102358"/>
                <a:gd name="connsiteX1" fmla="*/ 135764 w 145742"/>
                <a:gd name="connsiteY1" fmla="*/ 102358 h 102358"/>
                <a:gd name="connsiteX2" fmla="*/ 145742 w 145742"/>
                <a:gd name="connsiteY2" fmla="*/ 86011 h 102358"/>
                <a:gd name="connsiteX3" fmla="*/ 14504 w 145742"/>
                <a:gd name="connsiteY3" fmla="*/ 1461 h 102358"/>
                <a:gd name="connsiteX4" fmla="*/ 1489 w 145742"/>
                <a:gd name="connsiteY4" fmla="*/ 4384 h 102358"/>
                <a:gd name="connsiteX5" fmla="*/ 4417 w 145742"/>
                <a:gd name="connsiteY5" fmla="*/ 17700 h 102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5742" h="102358">
                  <a:moveTo>
                    <a:pt x="4417" y="17700"/>
                  </a:moveTo>
                  <a:lnTo>
                    <a:pt x="135764" y="102358"/>
                  </a:lnTo>
                  <a:cubicBezTo>
                    <a:pt x="138909" y="96837"/>
                    <a:pt x="142271" y="91533"/>
                    <a:pt x="145742" y="86011"/>
                  </a:cubicBezTo>
                  <a:lnTo>
                    <a:pt x="14504" y="1461"/>
                  </a:lnTo>
                  <a:cubicBezTo>
                    <a:pt x="10101" y="-1321"/>
                    <a:pt x="4276" y="-11"/>
                    <a:pt x="1489" y="4384"/>
                  </a:cubicBezTo>
                  <a:cubicBezTo>
                    <a:pt x="-1331" y="8877"/>
                    <a:pt x="-30" y="14798"/>
                    <a:pt x="4417" y="17700"/>
                  </a:cubicBezTo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6A101FC8-44CF-514B-9C17-03EB4713F57B}"/>
                </a:ext>
              </a:extLst>
            </p:cNvPr>
            <p:cNvSpPr/>
            <p:nvPr/>
          </p:nvSpPr>
          <p:spPr>
            <a:xfrm>
              <a:off x="7482156" y="6254515"/>
              <a:ext cx="1652079" cy="165852"/>
            </a:xfrm>
            <a:custGeom>
              <a:avLst/>
              <a:gdLst>
                <a:gd name="connsiteX0" fmla="*/ 1568998 w 1652079"/>
                <a:gd name="connsiteY0" fmla="*/ 165853 h 165852"/>
                <a:gd name="connsiteX1" fmla="*/ 83081 w 1652079"/>
                <a:gd name="connsiteY1" fmla="*/ 165853 h 165852"/>
                <a:gd name="connsiteX2" fmla="*/ 0 w 1652079"/>
                <a:gd name="connsiteY2" fmla="*/ 82927 h 165852"/>
                <a:gd name="connsiteX3" fmla="*/ 83081 w 1652079"/>
                <a:gd name="connsiteY3" fmla="*/ 0 h 165852"/>
                <a:gd name="connsiteX4" fmla="*/ 1568998 w 1652079"/>
                <a:gd name="connsiteY4" fmla="*/ 0 h 165852"/>
                <a:gd name="connsiteX5" fmla="*/ 1652080 w 1652079"/>
                <a:gd name="connsiteY5" fmla="*/ 82927 h 165852"/>
                <a:gd name="connsiteX6" fmla="*/ 1568998 w 1652079"/>
                <a:gd name="connsiteY6" fmla="*/ 165853 h 165852"/>
                <a:gd name="connsiteX7" fmla="*/ 83298 w 1652079"/>
                <a:gd name="connsiteY7" fmla="*/ 24575 h 165852"/>
                <a:gd name="connsiteX8" fmla="*/ 27202 w 1652079"/>
                <a:gd name="connsiteY8" fmla="*/ 85611 h 165852"/>
                <a:gd name="connsiteX9" fmla="*/ 83298 w 1652079"/>
                <a:gd name="connsiteY9" fmla="*/ 141603 h 165852"/>
                <a:gd name="connsiteX10" fmla="*/ 1569215 w 1652079"/>
                <a:gd name="connsiteY10" fmla="*/ 141603 h 165852"/>
                <a:gd name="connsiteX11" fmla="*/ 1625311 w 1652079"/>
                <a:gd name="connsiteY11" fmla="*/ 80566 h 165852"/>
                <a:gd name="connsiteX12" fmla="*/ 1569215 w 1652079"/>
                <a:gd name="connsiteY12" fmla="*/ 24575 h 165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652079" h="165852">
                  <a:moveTo>
                    <a:pt x="1568998" y="165853"/>
                  </a:moveTo>
                  <a:lnTo>
                    <a:pt x="83081" y="165853"/>
                  </a:lnTo>
                  <a:cubicBezTo>
                    <a:pt x="37202" y="165853"/>
                    <a:pt x="0" y="128720"/>
                    <a:pt x="0" y="82927"/>
                  </a:cubicBezTo>
                  <a:cubicBezTo>
                    <a:pt x="0" y="37122"/>
                    <a:pt x="37202" y="0"/>
                    <a:pt x="83081" y="0"/>
                  </a:cubicBezTo>
                  <a:lnTo>
                    <a:pt x="1568998" y="0"/>
                  </a:lnTo>
                  <a:cubicBezTo>
                    <a:pt x="1614888" y="0"/>
                    <a:pt x="1652080" y="37122"/>
                    <a:pt x="1652080" y="82927"/>
                  </a:cubicBezTo>
                  <a:cubicBezTo>
                    <a:pt x="1652080" y="128731"/>
                    <a:pt x="1614877" y="165853"/>
                    <a:pt x="1568998" y="165853"/>
                  </a:cubicBezTo>
                  <a:close/>
                  <a:moveTo>
                    <a:pt x="83298" y="24575"/>
                  </a:moveTo>
                  <a:cubicBezTo>
                    <a:pt x="50923" y="25960"/>
                    <a:pt x="25803" y="53285"/>
                    <a:pt x="27202" y="85611"/>
                  </a:cubicBezTo>
                  <a:cubicBezTo>
                    <a:pt x="28503" y="115978"/>
                    <a:pt x="52875" y="140293"/>
                    <a:pt x="83298" y="141603"/>
                  </a:cubicBezTo>
                  <a:lnTo>
                    <a:pt x="1569215" y="141603"/>
                  </a:lnTo>
                  <a:cubicBezTo>
                    <a:pt x="1601591" y="140217"/>
                    <a:pt x="1626711" y="112893"/>
                    <a:pt x="1625311" y="80566"/>
                  </a:cubicBezTo>
                  <a:cubicBezTo>
                    <a:pt x="1624010" y="50200"/>
                    <a:pt x="1599638" y="25884"/>
                    <a:pt x="1569215" y="24575"/>
                  </a:cubicBezTo>
                  <a:close/>
                </a:path>
              </a:pathLst>
            </a:custGeom>
            <a:solidFill>
              <a:srgbClr val="00000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9" name="Graphic 6">
              <a:extLst>
                <a:ext uri="{FF2B5EF4-FFF2-40B4-BE49-F238E27FC236}">
                  <a16:creationId xmlns:a16="http://schemas.microsoft.com/office/drawing/2014/main" id="{5542BCB4-A478-5446-B953-842E618B04D5}"/>
                </a:ext>
              </a:extLst>
            </p:cNvPr>
            <p:cNvGrpSpPr/>
            <p:nvPr/>
          </p:nvGrpSpPr>
          <p:grpSpPr>
            <a:xfrm>
              <a:off x="5050350" y="1968536"/>
              <a:ext cx="6277946" cy="3894513"/>
              <a:chOff x="5050350" y="1968536"/>
              <a:chExt cx="6277946" cy="3894513"/>
            </a:xfrm>
            <a:solidFill>
              <a:schemeClr val="accent1"/>
            </a:solidFill>
          </p:grpSpPr>
          <p:sp>
            <p:nvSpPr>
              <p:cNvPr id="12" name="Freeform 11">
                <a:extLst>
                  <a:ext uri="{FF2B5EF4-FFF2-40B4-BE49-F238E27FC236}">
                    <a16:creationId xmlns:a16="http://schemas.microsoft.com/office/drawing/2014/main" id="{8696B5BC-AB73-8544-B942-4F4186BEC435}"/>
                  </a:ext>
                </a:extLst>
              </p:cNvPr>
              <p:cNvSpPr/>
              <p:nvPr/>
            </p:nvSpPr>
            <p:spPr>
              <a:xfrm>
                <a:off x="5752416" y="2660742"/>
                <a:ext cx="34710" cy="34638"/>
              </a:xfrm>
              <a:custGeom>
                <a:avLst/>
                <a:gdLst>
                  <a:gd name="connsiteX0" fmla="*/ 17682 w 34710"/>
                  <a:gd name="connsiteY0" fmla="*/ 3 h 34638"/>
                  <a:gd name="connsiteX1" fmla="*/ 3 w 34710"/>
                  <a:gd name="connsiteY1" fmla="*/ 17000 h 34638"/>
                  <a:gd name="connsiteX2" fmla="*/ 17031 w 34710"/>
                  <a:gd name="connsiteY2" fmla="*/ 34635 h 34638"/>
                  <a:gd name="connsiteX3" fmla="*/ 34710 w 34710"/>
                  <a:gd name="connsiteY3" fmla="*/ 17649 h 34638"/>
                  <a:gd name="connsiteX4" fmla="*/ 34710 w 34710"/>
                  <a:gd name="connsiteY4" fmla="*/ 17216 h 34638"/>
                  <a:gd name="connsiteX5" fmla="*/ 17682 w 34710"/>
                  <a:gd name="connsiteY5" fmla="*/ 3 h 34638"/>
                  <a:gd name="connsiteX6" fmla="*/ 17682 w 34710"/>
                  <a:gd name="connsiteY6" fmla="*/ 3 h 346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4710" h="34638">
                    <a:moveTo>
                      <a:pt x="17682" y="3"/>
                    </a:moveTo>
                    <a:cubicBezTo>
                      <a:pt x="8105" y="-181"/>
                      <a:pt x="187" y="7430"/>
                      <a:pt x="3" y="17000"/>
                    </a:cubicBezTo>
                    <a:cubicBezTo>
                      <a:pt x="-171" y="26559"/>
                      <a:pt x="7454" y="34462"/>
                      <a:pt x="17031" y="34635"/>
                    </a:cubicBezTo>
                    <a:cubicBezTo>
                      <a:pt x="26619" y="34819"/>
                      <a:pt x="34526" y="27209"/>
                      <a:pt x="34710" y="17649"/>
                    </a:cubicBezTo>
                    <a:cubicBezTo>
                      <a:pt x="34710" y="17498"/>
                      <a:pt x="34710" y="17357"/>
                      <a:pt x="34710" y="17216"/>
                    </a:cubicBezTo>
                    <a:cubicBezTo>
                      <a:pt x="34775" y="7765"/>
                      <a:pt x="27151" y="68"/>
                      <a:pt x="17682" y="3"/>
                    </a:cubicBezTo>
                    <a:cubicBezTo>
                      <a:pt x="17682" y="3"/>
                      <a:pt x="17682" y="3"/>
                      <a:pt x="17682" y="3"/>
                    </a:cubicBezTo>
                  </a:path>
                </a:pathLst>
              </a:custGeom>
              <a:solidFill>
                <a:srgbClr val="00000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" name="Freeform 12">
                <a:extLst>
                  <a:ext uri="{FF2B5EF4-FFF2-40B4-BE49-F238E27FC236}">
                    <a16:creationId xmlns:a16="http://schemas.microsoft.com/office/drawing/2014/main" id="{25315670-6797-344C-A4B8-7248AE823D0C}"/>
                  </a:ext>
                </a:extLst>
              </p:cNvPr>
              <p:cNvSpPr/>
              <p:nvPr/>
            </p:nvSpPr>
            <p:spPr>
              <a:xfrm>
                <a:off x="5633979" y="2244813"/>
                <a:ext cx="272237" cy="488465"/>
              </a:xfrm>
              <a:custGeom>
                <a:avLst/>
                <a:gdLst>
                  <a:gd name="connsiteX0" fmla="*/ 218766 w 272237"/>
                  <a:gd name="connsiteY0" fmla="*/ 459235 h 488465"/>
                  <a:gd name="connsiteX1" fmla="*/ 53471 w 272237"/>
                  <a:gd name="connsiteY1" fmla="*/ 459235 h 488465"/>
                  <a:gd name="connsiteX2" fmla="*/ 29176 w 272237"/>
                  <a:gd name="connsiteY2" fmla="*/ 434552 h 488465"/>
                  <a:gd name="connsiteX3" fmla="*/ 29176 w 272237"/>
                  <a:gd name="connsiteY3" fmla="*/ 434552 h 488465"/>
                  <a:gd name="connsiteX4" fmla="*/ 29176 w 272237"/>
                  <a:gd name="connsiteY4" fmla="*/ 409869 h 488465"/>
                  <a:gd name="connsiteX5" fmla="*/ 243061 w 272237"/>
                  <a:gd name="connsiteY5" fmla="*/ 409869 h 488465"/>
                  <a:gd name="connsiteX6" fmla="*/ 243061 w 272237"/>
                  <a:gd name="connsiteY6" fmla="*/ 434552 h 488465"/>
                  <a:gd name="connsiteX7" fmla="*/ 218766 w 272237"/>
                  <a:gd name="connsiteY7" fmla="*/ 459235 h 488465"/>
                  <a:gd name="connsiteX8" fmla="*/ 218766 w 272237"/>
                  <a:gd name="connsiteY8" fmla="*/ 459235 h 488465"/>
                  <a:gd name="connsiteX9" fmla="*/ 243061 w 272237"/>
                  <a:gd name="connsiteY9" fmla="*/ 390058 h 488465"/>
                  <a:gd name="connsiteX10" fmla="*/ 29176 w 272237"/>
                  <a:gd name="connsiteY10" fmla="*/ 390058 h 488465"/>
                  <a:gd name="connsiteX11" fmla="*/ 29176 w 272237"/>
                  <a:gd name="connsiteY11" fmla="*/ 83901 h 488465"/>
                  <a:gd name="connsiteX12" fmla="*/ 243061 w 272237"/>
                  <a:gd name="connsiteY12" fmla="*/ 83901 h 488465"/>
                  <a:gd name="connsiteX13" fmla="*/ 53471 w 272237"/>
                  <a:gd name="connsiteY13" fmla="*/ 29663 h 488465"/>
                  <a:gd name="connsiteX14" fmla="*/ 218766 w 272237"/>
                  <a:gd name="connsiteY14" fmla="*/ 29663 h 488465"/>
                  <a:gd name="connsiteX15" fmla="*/ 243061 w 272237"/>
                  <a:gd name="connsiteY15" fmla="*/ 54346 h 488465"/>
                  <a:gd name="connsiteX16" fmla="*/ 243061 w 272237"/>
                  <a:gd name="connsiteY16" fmla="*/ 54346 h 488465"/>
                  <a:gd name="connsiteX17" fmla="*/ 243061 w 272237"/>
                  <a:gd name="connsiteY17" fmla="*/ 64198 h 488465"/>
                  <a:gd name="connsiteX18" fmla="*/ 29176 w 272237"/>
                  <a:gd name="connsiteY18" fmla="*/ 64198 h 488465"/>
                  <a:gd name="connsiteX19" fmla="*/ 29176 w 272237"/>
                  <a:gd name="connsiteY19" fmla="*/ 54346 h 488465"/>
                  <a:gd name="connsiteX20" fmla="*/ 53471 w 272237"/>
                  <a:gd name="connsiteY20" fmla="*/ 29663 h 488465"/>
                  <a:gd name="connsiteX21" fmla="*/ 53471 w 272237"/>
                  <a:gd name="connsiteY21" fmla="*/ 29663 h 488465"/>
                  <a:gd name="connsiteX22" fmla="*/ 218766 w 272237"/>
                  <a:gd name="connsiteY22" fmla="*/ 0 h 488465"/>
                  <a:gd name="connsiteX23" fmla="*/ 53471 w 272237"/>
                  <a:gd name="connsiteY23" fmla="*/ 0 h 488465"/>
                  <a:gd name="connsiteX24" fmla="*/ 0 w 272237"/>
                  <a:gd name="connsiteY24" fmla="*/ 54130 h 488465"/>
                  <a:gd name="connsiteX25" fmla="*/ 0 w 272237"/>
                  <a:gd name="connsiteY25" fmla="*/ 434336 h 488465"/>
                  <a:gd name="connsiteX26" fmla="*/ 53471 w 272237"/>
                  <a:gd name="connsiteY26" fmla="*/ 488465 h 488465"/>
                  <a:gd name="connsiteX27" fmla="*/ 218766 w 272237"/>
                  <a:gd name="connsiteY27" fmla="*/ 488465 h 488465"/>
                  <a:gd name="connsiteX28" fmla="*/ 272237 w 272237"/>
                  <a:gd name="connsiteY28" fmla="*/ 434336 h 488465"/>
                  <a:gd name="connsiteX29" fmla="*/ 272237 w 272237"/>
                  <a:gd name="connsiteY29" fmla="*/ 54346 h 488465"/>
                  <a:gd name="connsiteX30" fmla="*/ 218766 w 272237"/>
                  <a:gd name="connsiteY30" fmla="*/ 216 h 4884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272237" h="488465">
                    <a:moveTo>
                      <a:pt x="218766" y="459235"/>
                    </a:moveTo>
                    <a:lnTo>
                      <a:pt x="53471" y="459235"/>
                    </a:lnTo>
                    <a:cubicBezTo>
                      <a:pt x="39935" y="459116"/>
                      <a:pt x="29057" y="448063"/>
                      <a:pt x="29176" y="434552"/>
                    </a:cubicBezTo>
                    <a:cubicBezTo>
                      <a:pt x="29176" y="434552"/>
                      <a:pt x="29176" y="434552"/>
                      <a:pt x="29176" y="434552"/>
                    </a:cubicBezTo>
                    <a:lnTo>
                      <a:pt x="29176" y="409869"/>
                    </a:lnTo>
                    <a:lnTo>
                      <a:pt x="243061" y="409869"/>
                    </a:lnTo>
                    <a:lnTo>
                      <a:pt x="243061" y="434552"/>
                    </a:lnTo>
                    <a:cubicBezTo>
                      <a:pt x="243181" y="448063"/>
                      <a:pt x="232302" y="459116"/>
                      <a:pt x="218766" y="459235"/>
                    </a:cubicBezTo>
                    <a:cubicBezTo>
                      <a:pt x="218766" y="459235"/>
                      <a:pt x="218766" y="459235"/>
                      <a:pt x="218766" y="459235"/>
                    </a:cubicBezTo>
                    <a:moveTo>
                      <a:pt x="243061" y="390058"/>
                    </a:moveTo>
                    <a:lnTo>
                      <a:pt x="29176" y="390058"/>
                    </a:lnTo>
                    <a:lnTo>
                      <a:pt x="29176" y="83901"/>
                    </a:lnTo>
                    <a:lnTo>
                      <a:pt x="243061" y="83901"/>
                    </a:lnTo>
                    <a:close/>
                    <a:moveTo>
                      <a:pt x="53471" y="29663"/>
                    </a:moveTo>
                    <a:lnTo>
                      <a:pt x="218766" y="29663"/>
                    </a:lnTo>
                    <a:cubicBezTo>
                      <a:pt x="232302" y="29782"/>
                      <a:pt x="243181" y="40835"/>
                      <a:pt x="243061" y="54346"/>
                    </a:cubicBezTo>
                    <a:cubicBezTo>
                      <a:pt x="243061" y="54346"/>
                      <a:pt x="243061" y="54346"/>
                      <a:pt x="243061" y="54346"/>
                    </a:cubicBezTo>
                    <a:lnTo>
                      <a:pt x="243061" y="64198"/>
                    </a:lnTo>
                    <a:lnTo>
                      <a:pt x="29176" y="64198"/>
                    </a:lnTo>
                    <a:lnTo>
                      <a:pt x="29176" y="54346"/>
                    </a:lnTo>
                    <a:cubicBezTo>
                      <a:pt x="29057" y="40835"/>
                      <a:pt x="39935" y="29782"/>
                      <a:pt x="53471" y="29663"/>
                    </a:cubicBezTo>
                    <a:cubicBezTo>
                      <a:pt x="53471" y="29663"/>
                      <a:pt x="53471" y="29663"/>
                      <a:pt x="53471" y="29663"/>
                    </a:cubicBezTo>
                    <a:moveTo>
                      <a:pt x="218766" y="0"/>
                    </a:moveTo>
                    <a:lnTo>
                      <a:pt x="53471" y="0"/>
                    </a:lnTo>
                    <a:cubicBezTo>
                      <a:pt x="23818" y="411"/>
                      <a:pt x="0" y="24531"/>
                      <a:pt x="0" y="54130"/>
                    </a:cubicBezTo>
                    <a:lnTo>
                      <a:pt x="0" y="434336"/>
                    </a:lnTo>
                    <a:cubicBezTo>
                      <a:pt x="0" y="463934"/>
                      <a:pt x="23818" y="488054"/>
                      <a:pt x="53471" y="488465"/>
                    </a:cubicBezTo>
                    <a:lnTo>
                      <a:pt x="218766" y="488465"/>
                    </a:lnTo>
                    <a:cubicBezTo>
                      <a:pt x="248419" y="488054"/>
                      <a:pt x="272237" y="463934"/>
                      <a:pt x="272237" y="434336"/>
                    </a:cubicBezTo>
                    <a:lnTo>
                      <a:pt x="272237" y="54346"/>
                    </a:lnTo>
                    <a:cubicBezTo>
                      <a:pt x="272237" y="24748"/>
                      <a:pt x="248419" y="628"/>
                      <a:pt x="218766" y="216"/>
                    </a:cubicBezTo>
                  </a:path>
                </a:pathLst>
              </a:custGeom>
              <a:solidFill>
                <a:srgbClr val="00000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id="{9322A928-0E41-7E48-8C2F-5777302BC6C3}"/>
                  </a:ext>
                </a:extLst>
              </p:cNvPr>
              <p:cNvSpPr/>
              <p:nvPr/>
            </p:nvSpPr>
            <p:spPr>
              <a:xfrm>
                <a:off x="5050350" y="1968536"/>
                <a:ext cx="787969" cy="621732"/>
              </a:xfrm>
              <a:custGeom>
                <a:avLst/>
                <a:gdLst>
                  <a:gd name="connsiteX0" fmla="*/ 53580 w 787969"/>
                  <a:gd name="connsiteY0" fmla="*/ 29446 h 621732"/>
                  <a:gd name="connsiteX1" fmla="*/ 734282 w 787969"/>
                  <a:gd name="connsiteY1" fmla="*/ 29446 h 621732"/>
                  <a:gd name="connsiteX2" fmla="*/ 758685 w 787969"/>
                  <a:gd name="connsiteY2" fmla="*/ 54130 h 621732"/>
                  <a:gd name="connsiteX3" fmla="*/ 758685 w 787969"/>
                  <a:gd name="connsiteY3" fmla="*/ 88448 h 621732"/>
                  <a:gd name="connsiteX4" fmla="*/ 28742 w 787969"/>
                  <a:gd name="connsiteY4" fmla="*/ 88448 h 621732"/>
                  <a:gd name="connsiteX5" fmla="*/ 28742 w 787969"/>
                  <a:gd name="connsiteY5" fmla="*/ 53913 h 621732"/>
                  <a:gd name="connsiteX6" fmla="*/ 53146 w 787969"/>
                  <a:gd name="connsiteY6" fmla="*/ 29230 h 621732"/>
                  <a:gd name="connsiteX7" fmla="*/ 28742 w 787969"/>
                  <a:gd name="connsiteY7" fmla="*/ 108367 h 621732"/>
                  <a:gd name="connsiteX8" fmla="*/ 758685 w 787969"/>
                  <a:gd name="connsiteY8" fmla="*/ 108367 h 621732"/>
                  <a:gd name="connsiteX9" fmla="*/ 758685 w 787969"/>
                  <a:gd name="connsiteY9" fmla="*/ 246722 h 621732"/>
                  <a:gd name="connsiteX10" fmla="*/ 787970 w 787969"/>
                  <a:gd name="connsiteY10" fmla="*/ 246722 h 621732"/>
                  <a:gd name="connsiteX11" fmla="*/ 787970 w 787969"/>
                  <a:gd name="connsiteY11" fmla="*/ 54130 h 621732"/>
                  <a:gd name="connsiteX12" fmla="*/ 734390 w 787969"/>
                  <a:gd name="connsiteY12" fmla="*/ 0 h 621732"/>
                  <a:gd name="connsiteX13" fmla="*/ 53580 w 787969"/>
                  <a:gd name="connsiteY13" fmla="*/ 0 h 621732"/>
                  <a:gd name="connsiteX14" fmla="*/ 0 w 787969"/>
                  <a:gd name="connsiteY14" fmla="*/ 54130 h 621732"/>
                  <a:gd name="connsiteX15" fmla="*/ 0 w 787969"/>
                  <a:gd name="connsiteY15" fmla="*/ 567603 h 621732"/>
                  <a:gd name="connsiteX16" fmla="*/ 53580 w 787969"/>
                  <a:gd name="connsiteY16" fmla="*/ 621732 h 621732"/>
                  <a:gd name="connsiteX17" fmla="*/ 554453 w 787969"/>
                  <a:gd name="connsiteY17" fmla="*/ 621732 h 621732"/>
                  <a:gd name="connsiteX18" fmla="*/ 554453 w 787969"/>
                  <a:gd name="connsiteY18" fmla="*/ 592069 h 621732"/>
                  <a:gd name="connsiteX19" fmla="*/ 53580 w 787969"/>
                  <a:gd name="connsiteY19" fmla="*/ 592069 h 621732"/>
                  <a:gd name="connsiteX20" fmla="*/ 29176 w 787969"/>
                  <a:gd name="connsiteY20" fmla="*/ 567386 h 621732"/>
                  <a:gd name="connsiteX21" fmla="*/ 29176 w 787969"/>
                  <a:gd name="connsiteY21" fmla="*/ 543136 h 621732"/>
                  <a:gd name="connsiteX22" fmla="*/ 554453 w 787969"/>
                  <a:gd name="connsiteY22" fmla="*/ 543136 h 621732"/>
                  <a:gd name="connsiteX23" fmla="*/ 554453 w 787969"/>
                  <a:gd name="connsiteY23" fmla="*/ 523433 h 621732"/>
                  <a:gd name="connsiteX24" fmla="*/ 28742 w 787969"/>
                  <a:gd name="connsiteY24" fmla="*/ 523433 h 621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787969" h="621732">
                    <a:moveTo>
                      <a:pt x="53580" y="29446"/>
                    </a:moveTo>
                    <a:lnTo>
                      <a:pt x="734282" y="29446"/>
                    </a:lnTo>
                    <a:cubicBezTo>
                      <a:pt x="747839" y="29566"/>
                      <a:pt x="758750" y="40597"/>
                      <a:pt x="758685" y="54130"/>
                    </a:cubicBezTo>
                    <a:lnTo>
                      <a:pt x="758685" y="88448"/>
                    </a:lnTo>
                    <a:lnTo>
                      <a:pt x="28742" y="88448"/>
                    </a:lnTo>
                    <a:lnTo>
                      <a:pt x="28742" y="53913"/>
                    </a:lnTo>
                    <a:cubicBezTo>
                      <a:pt x="28677" y="40381"/>
                      <a:pt x="39588" y="29349"/>
                      <a:pt x="53146" y="29230"/>
                    </a:cubicBezTo>
                    <a:moveTo>
                      <a:pt x="28742" y="108367"/>
                    </a:moveTo>
                    <a:lnTo>
                      <a:pt x="758685" y="108367"/>
                    </a:lnTo>
                    <a:lnTo>
                      <a:pt x="758685" y="246722"/>
                    </a:lnTo>
                    <a:lnTo>
                      <a:pt x="787970" y="246722"/>
                    </a:lnTo>
                    <a:lnTo>
                      <a:pt x="787970" y="54130"/>
                    </a:lnTo>
                    <a:cubicBezTo>
                      <a:pt x="787970" y="24488"/>
                      <a:pt x="764087" y="357"/>
                      <a:pt x="734390" y="0"/>
                    </a:cubicBezTo>
                    <a:lnTo>
                      <a:pt x="53580" y="0"/>
                    </a:lnTo>
                    <a:cubicBezTo>
                      <a:pt x="23883" y="357"/>
                      <a:pt x="0" y="24488"/>
                      <a:pt x="0" y="54130"/>
                    </a:cubicBezTo>
                    <a:lnTo>
                      <a:pt x="0" y="567603"/>
                    </a:lnTo>
                    <a:cubicBezTo>
                      <a:pt x="0" y="597244"/>
                      <a:pt x="23883" y="621375"/>
                      <a:pt x="53580" y="621732"/>
                    </a:cubicBezTo>
                    <a:lnTo>
                      <a:pt x="554453" y="621732"/>
                    </a:lnTo>
                    <a:lnTo>
                      <a:pt x="554453" y="592069"/>
                    </a:lnTo>
                    <a:lnTo>
                      <a:pt x="53580" y="592069"/>
                    </a:lnTo>
                    <a:cubicBezTo>
                      <a:pt x="40022" y="591950"/>
                      <a:pt x="29111" y="580919"/>
                      <a:pt x="29176" y="567386"/>
                    </a:cubicBezTo>
                    <a:lnTo>
                      <a:pt x="29176" y="543136"/>
                    </a:lnTo>
                    <a:lnTo>
                      <a:pt x="554453" y="543136"/>
                    </a:lnTo>
                    <a:lnTo>
                      <a:pt x="554453" y="523433"/>
                    </a:lnTo>
                    <a:lnTo>
                      <a:pt x="28742" y="523433"/>
                    </a:lnTo>
                    <a:close/>
                  </a:path>
                </a:pathLst>
              </a:custGeom>
              <a:solidFill>
                <a:srgbClr val="00000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id="{F4D39696-60D3-E540-8B94-984D6F5186CE}"/>
                  </a:ext>
                </a:extLst>
              </p:cNvPr>
              <p:cNvSpPr/>
              <p:nvPr/>
            </p:nvSpPr>
            <p:spPr>
              <a:xfrm>
                <a:off x="5249810" y="2610188"/>
                <a:ext cx="354993" cy="123523"/>
              </a:xfrm>
              <a:custGeom>
                <a:avLst/>
                <a:gdLst>
                  <a:gd name="connsiteX0" fmla="*/ 306511 w 354993"/>
                  <a:gd name="connsiteY0" fmla="*/ 93861 h 123523"/>
                  <a:gd name="connsiteX1" fmla="*/ 272454 w 354993"/>
                  <a:gd name="connsiteY1" fmla="*/ 59218 h 123523"/>
                  <a:gd name="connsiteX2" fmla="*/ 272454 w 354993"/>
                  <a:gd name="connsiteY2" fmla="*/ 0 h 123523"/>
                  <a:gd name="connsiteX3" fmla="*/ 243278 w 354993"/>
                  <a:gd name="connsiteY3" fmla="*/ 0 h 123523"/>
                  <a:gd name="connsiteX4" fmla="*/ 243278 w 354993"/>
                  <a:gd name="connsiteY4" fmla="*/ 59218 h 123523"/>
                  <a:gd name="connsiteX5" fmla="*/ 253365 w 354993"/>
                  <a:gd name="connsiteY5" fmla="*/ 93861 h 123523"/>
                  <a:gd name="connsiteX6" fmla="*/ 135793 w 354993"/>
                  <a:gd name="connsiteY6" fmla="*/ 93861 h 123523"/>
                  <a:gd name="connsiteX7" fmla="*/ 145880 w 354993"/>
                  <a:gd name="connsiteY7" fmla="*/ 59218 h 123523"/>
                  <a:gd name="connsiteX8" fmla="*/ 145880 w 354993"/>
                  <a:gd name="connsiteY8" fmla="*/ 0 h 123523"/>
                  <a:gd name="connsiteX9" fmla="*/ 116704 w 354993"/>
                  <a:gd name="connsiteY9" fmla="*/ 0 h 123523"/>
                  <a:gd name="connsiteX10" fmla="*/ 116704 w 354993"/>
                  <a:gd name="connsiteY10" fmla="*/ 59218 h 123523"/>
                  <a:gd name="connsiteX11" fmla="*/ 82647 w 354993"/>
                  <a:gd name="connsiteY11" fmla="*/ 93861 h 123523"/>
                  <a:gd name="connsiteX12" fmla="*/ 0 w 354993"/>
                  <a:gd name="connsiteY12" fmla="*/ 93861 h 123523"/>
                  <a:gd name="connsiteX13" fmla="*/ 0 w 354993"/>
                  <a:gd name="connsiteY13" fmla="*/ 123524 h 123523"/>
                  <a:gd name="connsiteX14" fmla="*/ 354993 w 354993"/>
                  <a:gd name="connsiteY14" fmla="*/ 123524 h 123523"/>
                  <a:gd name="connsiteX15" fmla="*/ 354993 w 354993"/>
                  <a:gd name="connsiteY15" fmla="*/ 93861 h 123523"/>
                  <a:gd name="connsiteX16" fmla="*/ 306511 w 354993"/>
                  <a:gd name="connsiteY16" fmla="*/ 93861 h 1235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54993" h="123523">
                    <a:moveTo>
                      <a:pt x="306511" y="93861"/>
                    </a:moveTo>
                    <a:cubicBezTo>
                      <a:pt x="287552" y="93622"/>
                      <a:pt x="272335" y="78152"/>
                      <a:pt x="272454" y="59218"/>
                    </a:cubicBezTo>
                    <a:lnTo>
                      <a:pt x="272454" y="0"/>
                    </a:lnTo>
                    <a:lnTo>
                      <a:pt x="243278" y="0"/>
                    </a:lnTo>
                    <a:lnTo>
                      <a:pt x="243278" y="59218"/>
                    </a:lnTo>
                    <a:cubicBezTo>
                      <a:pt x="243300" y="71483"/>
                      <a:pt x="246792" y="83500"/>
                      <a:pt x="253365" y="93861"/>
                    </a:cubicBezTo>
                    <a:lnTo>
                      <a:pt x="135793" y="93861"/>
                    </a:lnTo>
                    <a:cubicBezTo>
                      <a:pt x="142366" y="83500"/>
                      <a:pt x="145858" y="71483"/>
                      <a:pt x="145880" y="59218"/>
                    </a:cubicBezTo>
                    <a:lnTo>
                      <a:pt x="145880" y="0"/>
                    </a:lnTo>
                    <a:lnTo>
                      <a:pt x="116704" y="0"/>
                    </a:lnTo>
                    <a:lnTo>
                      <a:pt x="116704" y="59218"/>
                    </a:lnTo>
                    <a:cubicBezTo>
                      <a:pt x="116823" y="78152"/>
                      <a:pt x="101606" y="93622"/>
                      <a:pt x="82647" y="93861"/>
                    </a:cubicBezTo>
                    <a:lnTo>
                      <a:pt x="0" y="93861"/>
                    </a:lnTo>
                    <a:lnTo>
                      <a:pt x="0" y="123524"/>
                    </a:lnTo>
                    <a:lnTo>
                      <a:pt x="354993" y="123524"/>
                    </a:lnTo>
                    <a:lnTo>
                      <a:pt x="354993" y="93861"/>
                    </a:lnTo>
                    <a:lnTo>
                      <a:pt x="306511" y="93861"/>
                    </a:lnTo>
                    <a:close/>
                  </a:path>
                </a:pathLst>
              </a:custGeom>
              <a:solidFill>
                <a:srgbClr val="00000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" name="Freeform 16">
                <a:extLst>
                  <a:ext uri="{FF2B5EF4-FFF2-40B4-BE49-F238E27FC236}">
                    <a16:creationId xmlns:a16="http://schemas.microsoft.com/office/drawing/2014/main" id="{678269B3-E8C1-6C4C-837B-79ADB6A817A6}"/>
                  </a:ext>
                </a:extLst>
              </p:cNvPr>
              <p:cNvSpPr/>
              <p:nvPr/>
            </p:nvSpPr>
            <p:spPr>
              <a:xfrm>
                <a:off x="5480397" y="2520982"/>
                <a:ext cx="24297" cy="24252"/>
              </a:xfrm>
              <a:custGeom>
                <a:avLst/>
                <a:gdLst>
                  <a:gd name="connsiteX0" fmla="*/ 1 w 24297"/>
                  <a:gd name="connsiteY0" fmla="*/ 12342 h 24252"/>
                  <a:gd name="connsiteX1" fmla="*/ 12365 w 24297"/>
                  <a:gd name="connsiteY1" fmla="*/ 24250 h 24252"/>
                  <a:gd name="connsiteX2" fmla="*/ 24296 w 24297"/>
                  <a:gd name="connsiteY2" fmla="*/ 11909 h 24252"/>
                  <a:gd name="connsiteX3" fmla="*/ 12148 w 24297"/>
                  <a:gd name="connsiteY3" fmla="*/ 0 h 24252"/>
                  <a:gd name="connsiteX4" fmla="*/ 1 w 24297"/>
                  <a:gd name="connsiteY4" fmla="*/ 12342 h 24252"/>
                  <a:gd name="connsiteX5" fmla="*/ 1 w 24297"/>
                  <a:gd name="connsiteY5" fmla="*/ 12342 h 242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4297" h="24252">
                    <a:moveTo>
                      <a:pt x="1" y="12342"/>
                    </a:moveTo>
                    <a:cubicBezTo>
                      <a:pt x="120" y="19032"/>
                      <a:pt x="5651" y="24369"/>
                      <a:pt x="12365" y="24250"/>
                    </a:cubicBezTo>
                    <a:cubicBezTo>
                      <a:pt x="19068" y="24131"/>
                      <a:pt x="24415" y="18599"/>
                      <a:pt x="24296" y="11909"/>
                    </a:cubicBezTo>
                    <a:cubicBezTo>
                      <a:pt x="24177" y="5294"/>
                      <a:pt x="18775" y="0"/>
                      <a:pt x="12148" y="0"/>
                    </a:cubicBezTo>
                    <a:cubicBezTo>
                      <a:pt x="5380" y="54"/>
                      <a:pt x="-64" y="5586"/>
                      <a:pt x="1" y="12342"/>
                    </a:cubicBezTo>
                    <a:cubicBezTo>
                      <a:pt x="1" y="12342"/>
                      <a:pt x="1" y="12342"/>
                      <a:pt x="1" y="12342"/>
                    </a:cubicBezTo>
                  </a:path>
                </a:pathLst>
              </a:custGeom>
              <a:solidFill>
                <a:srgbClr val="00000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id="{3F38B100-26A5-2B44-BCC6-FF16BFB3C811}"/>
                  </a:ext>
                </a:extLst>
              </p:cNvPr>
              <p:cNvSpPr/>
              <p:nvPr/>
            </p:nvSpPr>
            <p:spPr>
              <a:xfrm>
                <a:off x="5432132" y="2520982"/>
                <a:ext cx="24297" cy="24252"/>
              </a:xfrm>
              <a:custGeom>
                <a:avLst/>
                <a:gdLst>
                  <a:gd name="connsiteX0" fmla="*/ 1 w 24297"/>
                  <a:gd name="connsiteY0" fmla="*/ 12342 h 24252"/>
                  <a:gd name="connsiteX1" fmla="*/ 12365 w 24297"/>
                  <a:gd name="connsiteY1" fmla="*/ 24250 h 24252"/>
                  <a:gd name="connsiteX2" fmla="*/ 24296 w 24297"/>
                  <a:gd name="connsiteY2" fmla="*/ 11909 h 24252"/>
                  <a:gd name="connsiteX3" fmla="*/ 12148 w 24297"/>
                  <a:gd name="connsiteY3" fmla="*/ 0 h 24252"/>
                  <a:gd name="connsiteX4" fmla="*/ 1 w 24297"/>
                  <a:gd name="connsiteY4" fmla="*/ 12342 h 24252"/>
                  <a:gd name="connsiteX5" fmla="*/ 1 w 24297"/>
                  <a:gd name="connsiteY5" fmla="*/ 12342 h 242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4297" h="24252">
                    <a:moveTo>
                      <a:pt x="1" y="12342"/>
                    </a:moveTo>
                    <a:cubicBezTo>
                      <a:pt x="120" y="19032"/>
                      <a:pt x="5651" y="24369"/>
                      <a:pt x="12365" y="24250"/>
                    </a:cubicBezTo>
                    <a:cubicBezTo>
                      <a:pt x="19068" y="24131"/>
                      <a:pt x="24415" y="18599"/>
                      <a:pt x="24296" y="11909"/>
                    </a:cubicBezTo>
                    <a:cubicBezTo>
                      <a:pt x="24177" y="5294"/>
                      <a:pt x="18775" y="0"/>
                      <a:pt x="12148" y="0"/>
                    </a:cubicBezTo>
                    <a:cubicBezTo>
                      <a:pt x="5380" y="54"/>
                      <a:pt x="-64" y="5586"/>
                      <a:pt x="1" y="12342"/>
                    </a:cubicBezTo>
                    <a:cubicBezTo>
                      <a:pt x="1" y="12342"/>
                      <a:pt x="1" y="12342"/>
                      <a:pt x="1" y="12342"/>
                    </a:cubicBezTo>
                  </a:path>
                </a:pathLst>
              </a:custGeom>
              <a:solidFill>
                <a:srgbClr val="00000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id="{F88270BD-A3D9-554E-A585-47CDCEF2225B}"/>
                  </a:ext>
                </a:extLst>
              </p:cNvPr>
              <p:cNvSpPr/>
              <p:nvPr/>
            </p:nvSpPr>
            <p:spPr>
              <a:xfrm>
                <a:off x="5383542" y="2520982"/>
                <a:ext cx="24297" cy="24252"/>
              </a:xfrm>
              <a:custGeom>
                <a:avLst/>
                <a:gdLst>
                  <a:gd name="connsiteX0" fmla="*/ 1 w 24297"/>
                  <a:gd name="connsiteY0" fmla="*/ 12342 h 24252"/>
                  <a:gd name="connsiteX1" fmla="*/ 12365 w 24297"/>
                  <a:gd name="connsiteY1" fmla="*/ 24250 h 24252"/>
                  <a:gd name="connsiteX2" fmla="*/ 24296 w 24297"/>
                  <a:gd name="connsiteY2" fmla="*/ 11909 h 24252"/>
                  <a:gd name="connsiteX3" fmla="*/ 12148 w 24297"/>
                  <a:gd name="connsiteY3" fmla="*/ 0 h 24252"/>
                  <a:gd name="connsiteX4" fmla="*/ 1 w 24297"/>
                  <a:gd name="connsiteY4" fmla="*/ 12342 h 24252"/>
                  <a:gd name="connsiteX5" fmla="*/ 1 w 24297"/>
                  <a:gd name="connsiteY5" fmla="*/ 12342 h 242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4297" h="24252">
                    <a:moveTo>
                      <a:pt x="1" y="12342"/>
                    </a:moveTo>
                    <a:cubicBezTo>
                      <a:pt x="120" y="19032"/>
                      <a:pt x="5651" y="24369"/>
                      <a:pt x="12365" y="24250"/>
                    </a:cubicBezTo>
                    <a:cubicBezTo>
                      <a:pt x="19068" y="24131"/>
                      <a:pt x="24415" y="18599"/>
                      <a:pt x="24296" y="11909"/>
                    </a:cubicBezTo>
                    <a:cubicBezTo>
                      <a:pt x="24176" y="5294"/>
                      <a:pt x="18775" y="0"/>
                      <a:pt x="12148" y="0"/>
                    </a:cubicBezTo>
                    <a:cubicBezTo>
                      <a:pt x="5380" y="54"/>
                      <a:pt x="-65" y="5586"/>
                      <a:pt x="1" y="12342"/>
                    </a:cubicBezTo>
                    <a:cubicBezTo>
                      <a:pt x="1" y="12342"/>
                      <a:pt x="1" y="12342"/>
                      <a:pt x="1" y="12342"/>
                    </a:cubicBezTo>
                  </a:path>
                </a:pathLst>
              </a:custGeom>
              <a:solidFill>
                <a:srgbClr val="00000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" name="Freeform 19">
                <a:extLst>
                  <a:ext uri="{FF2B5EF4-FFF2-40B4-BE49-F238E27FC236}">
                    <a16:creationId xmlns:a16="http://schemas.microsoft.com/office/drawing/2014/main" id="{43A3918E-C2F3-CC49-8EA3-ED9D4129B169}"/>
                  </a:ext>
                </a:extLst>
              </p:cNvPr>
              <p:cNvSpPr/>
              <p:nvPr/>
            </p:nvSpPr>
            <p:spPr>
              <a:xfrm>
                <a:off x="5303932" y="2141188"/>
                <a:ext cx="276362" cy="275843"/>
              </a:xfrm>
              <a:custGeom>
                <a:avLst/>
                <a:gdLst>
                  <a:gd name="connsiteX0" fmla="*/ 21583 w 276362"/>
                  <a:gd name="connsiteY0" fmla="*/ 124844 h 275843"/>
                  <a:gd name="connsiteX1" fmla="*/ 21583 w 276362"/>
                  <a:gd name="connsiteY1" fmla="*/ 124844 h 275843"/>
                  <a:gd name="connsiteX2" fmla="*/ 23644 w 276362"/>
                  <a:gd name="connsiteY2" fmla="*/ 112394 h 275843"/>
                  <a:gd name="connsiteX3" fmla="*/ 64642 w 276362"/>
                  <a:gd name="connsiteY3" fmla="*/ 112394 h 275843"/>
                  <a:gd name="connsiteX4" fmla="*/ 64642 w 276362"/>
                  <a:gd name="connsiteY4" fmla="*/ 164142 h 275843"/>
                  <a:gd name="connsiteX5" fmla="*/ 23644 w 276362"/>
                  <a:gd name="connsiteY5" fmla="*/ 164142 h 275843"/>
                  <a:gd name="connsiteX6" fmla="*/ 21583 w 276362"/>
                  <a:gd name="connsiteY6" fmla="*/ 151692 h 275843"/>
                  <a:gd name="connsiteX7" fmla="*/ 21583 w 276362"/>
                  <a:gd name="connsiteY7" fmla="*/ 151692 h 275843"/>
                  <a:gd name="connsiteX8" fmla="*/ 20824 w 276362"/>
                  <a:gd name="connsiteY8" fmla="*/ 138593 h 275843"/>
                  <a:gd name="connsiteX9" fmla="*/ 21583 w 276362"/>
                  <a:gd name="connsiteY9" fmla="*/ 125493 h 275843"/>
                  <a:gd name="connsiteX10" fmla="*/ 131129 w 276362"/>
                  <a:gd name="connsiteY10" fmla="*/ 95506 h 275843"/>
                  <a:gd name="connsiteX11" fmla="*/ 84382 w 276362"/>
                  <a:gd name="connsiteY11" fmla="*/ 95506 h 275843"/>
                  <a:gd name="connsiteX12" fmla="*/ 131129 w 276362"/>
                  <a:gd name="connsiteY12" fmla="*/ 19724 h 275843"/>
                  <a:gd name="connsiteX13" fmla="*/ 131129 w 276362"/>
                  <a:gd name="connsiteY13" fmla="*/ 182113 h 275843"/>
                  <a:gd name="connsiteX14" fmla="*/ 131129 w 276362"/>
                  <a:gd name="connsiteY14" fmla="*/ 257894 h 275843"/>
                  <a:gd name="connsiteX15" fmla="*/ 84382 w 276362"/>
                  <a:gd name="connsiteY15" fmla="*/ 182113 h 275843"/>
                  <a:gd name="connsiteX16" fmla="*/ 81779 w 276362"/>
                  <a:gd name="connsiteY16" fmla="*/ 164900 h 275843"/>
                  <a:gd name="connsiteX17" fmla="*/ 80261 w 276362"/>
                  <a:gd name="connsiteY17" fmla="*/ 139026 h 275843"/>
                  <a:gd name="connsiteX18" fmla="*/ 81779 w 276362"/>
                  <a:gd name="connsiteY18" fmla="*/ 113152 h 275843"/>
                  <a:gd name="connsiteX19" fmla="*/ 131129 w 276362"/>
                  <a:gd name="connsiteY19" fmla="*/ 113152 h 275843"/>
                  <a:gd name="connsiteX20" fmla="*/ 131129 w 276362"/>
                  <a:gd name="connsiteY20" fmla="*/ 164900 h 275843"/>
                  <a:gd name="connsiteX21" fmla="*/ 94361 w 276362"/>
                  <a:gd name="connsiteY21" fmla="*/ 27519 h 275843"/>
                  <a:gd name="connsiteX22" fmla="*/ 67029 w 276362"/>
                  <a:gd name="connsiteY22" fmla="*/ 95939 h 275843"/>
                  <a:gd name="connsiteX23" fmla="*/ 28850 w 276362"/>
                  <a:gd name="connsiteY23" fmla="*/ 95939 h 275843"/>
                  <a:gd name="connsiteX24" fmla="*/ 93927 w 276362"/>
                  <a:gd name="connsiteY24" fmla="*/ 27519 h 275843"/>
                  <a:gd name="connsiteX25" fmla="*/ 28850 w 276362"/>
                  <a:gd name="connsiteY25" fmla="*/ 182113 h 275843"/>
                  <a:gd name="connsiteX26" fmla="*/ 67029 w 276362"/>
                  <a:gd name="connsiteY26" fmla="*/ 182113 h 275843"/>
                  <a:gd name="connsiteX27" fmla="*/ 94361 w 276362"/>
                  <a:gd name="connsiteY27" fmla="*/ 250425 h 275843"/>
                  <a:gd name="connsiteX28" fmla="*/ 29284 w 276362"/>
                  <a:gd name="connsiteY28" fmla="*/ 182113 h 275843"/>
                  <a:gd name="connsiteX29" fmla="*/ 148591 w 276362"/>
                  <a:gd name="connsiteY29" fmla="*/ 182113 h 275843"/>
                  <a:gd name="connsiteX30" fmla="*/ 195338 w 276362"/>
                  <a:gd name="connsiteY30" fmla="*/ 182113 h 275843"/>
                  <a:gd name="connsiteX31" fmla="*/ 148591 w 276362"/>
                  <a:gd name="connsiteY31" fmla="*/ 257894 h 275843"/>
                  <a:gd name="connsiteX32" fmla="*/ 148591 w 276362"/>
                  <a:gd name="connsiteY32" fmla="*/ 95506 h 275843"/>
                  <a:gd name="connsiteX33" fmla="*/ 148591 w 276362"/>
                  <a:gd name="connsiteY33" fmla="*/ 19724 h 275843"/>
                  <a:gd name="connsiteX34" fmla="*/ 195338 w 276362"/>
                  <a:gd name="connsiteY34" fmla="*/ 95506 h 275843"/>
                  <a:gd name="connsiteX35" fmla="*/ 198050 w 276362"/>
                  <a:gd name="connsiteY35" fmla="*/ 112719 h 275843"/>
                  <a:gd name="connsiteX36" fmla="*/ 199459 w 276362"/>
                  <a:gd name="connsiteY36" fmla="*/ 138593 h 275843"/>
                  <a:gd name="connsiteX37" fmla="*/ 198050 w 276362"/>
                  <a:gd name="connsiteY37" fmla="*/ 164467 h 275843"/>
                  <a:gd name="connsiteX38" fmla="*/ 148591 w 276362"/>
                  <a:gd name="connsiteY38" fmla="*/ 164467 h 275843"/>
                  <a:gd name="connsiteX39" fmla="*/ 148591 w 276362"/>
                  <a:gd name="connsiteY39" fmla="*/ 112719 h 275843"/>
                  <a:gd name="connsiteX40" fmla="*/ 250978 w 276362"/>
                  <a:gd name="connsiteY40" fmla="*/ 95506 h 275843"/>
                  <a:gd name="connsiteX41" fmla="*/ 212800 w 276362"/>
                  <a:gd name="connsiteY41" fmla="*/ 95506 h 275843"/>
                  <a:gd name="connsiteX42" fmla="*/ 185468 w 276362"/>
                  <a:gd name="connsiteY42" fmla="*/ 27086 h 275843"/>
                  <a:gd name="connsiteX43" fmla="*/ 250545 w 276362"/>
                  <a:gd name="connsiteY43" fmla="*/ 95506 h 275843"/>
                  <a:gd name="connsiteX44" fmla="*/ 185468 w 276362"/>
                  <a:gd name="connsiteY44" fmla="*/ 249991 h 275843"/>
                  <a:gd name="connsiteX45" fmla="*/ 212800 w 276362"/>
                  <a:gd name="connsiteY45" fmla="*/ 181680 h 275843"/>
                  <a:gd name="connsiteX46" fmla="*/ 250978 w 276362"/>
                  <a:gd name="connsiteY46" fmla="*/ 181680 h 275843"/>
                  <a:gd name="connsiteX47" fmla="*/ 185902 w 276362"/>
                  <a:gd name="connsiteY47" fmla="*/ 249991 h 275843"/>
                  <a:gd name="connsiteX48" fmla="*/ 258571 w 276362"/>
                  <a:gd name="connsiteY48" fmla="*/ 151692 h 275843"/>
                  <a:gd name="connsiteX49" fmla="*/ 258571 w 276362"/>
                  <a:gd name="connsiteY49" fmla="*/ 151692 h 275843"/>
                  <a:gd name="connsiteX50" fmla="*/ 256510 w 276362"/>
                  <a:gd name="connsiteY50" fmla="*/ 164142 h 275843"/>
                  <a:gd name="connsiteX51" fmla="*/ 215620 w 276362"/>
                  <a:gd name="connsiteY51" fmla="*/ 164142 h 275843"/>
                  <a:gd name="connsiteX52" fmla="*/ 216922 w 276362"/>
                  <a:gd name="connsiteY52" fmla="*/ 138268 h 275843"/>
                  <a:gd name="connsiteX53" fmla="*/ 215620 w 276362"/>
                  <a:gd name="connsiteY53" fmla="*/ 112394 h 275843"/>
                  <a:gd name="connsiteX54" fmla="*/ 256510 w 276362"/>
                  <a:gd name="connsiteY54" fmla="*/ 112394 h 275843"/>
                  <a:gd name="connsiteX55" fmla="*/ 258571 w 276362"/>
                  <a:gd name="connsiteY55" fmla="*/ 124844 h 275843"/>
                  <a:gd name="connsiteX56" fmla="*/ 258571 w 276362"/>
                  <a:gd name="connsiteY56" fmla="*/ 124844 h 275843"/>
                  <a:gd name="connsiteX57" fmla="*/ 258571 w 276362"/>
                  <a:gd name="connsiteY57" fmla="*/ 151043 h 275843"/>
                  <a:gd name="connsiteX58" fmla="*/ 140565 w 276362"/>
                  <a:gd name="connsiteY58" fmla="*/ 21 h 275843"/>
                  <a:gd name="connsiteX59" fmla="*/ 21 w 276362"/>
                  <a:gd name="connsiteY59" fmla="*/ 135540 h 275843"/>
                  <a:gd name="connsiteX60" fmla="*/ 135793 w 276362"/>
                  <a:gd name="connsiteY60" fmla="*/ 275822 h 275843"/>
                  <a:gd name="connsiteX61" fmla="*/ 276337 w 276362"/>
                  <a:gd name="connsiteY61" fmla="*/ 140303 h 275843"/>
                  <a:gd name="connsiteX62" fmla="*/ 276359 w 276362"/>
                  <a:gd name="connsiteY62" fmla="*/ 137943 h 275843"/>
                  <a:gd name="connsiteX63" fmla="*/ 140565 w 276362"/>
                  <a:gd name="connsiteY63" fmla="*/ 21 h 275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276362" h="275843">
                    <a:moveTo>
                      <a:pt x="21583" y="124844"/>
                    </a:moveTo>
                    <a:lnTo>
                      <a:pt x="21583" y="124844"/>
                    </a:lnTo>
                    <a:cubicBezTo>
                      <a:pt x="22126" y="120622"/>
                      <a:pt x="22776" y="116508"/>
                      <a:pt x="23644" y="112394"/>
                    </a:cubicBezTo>
                    <a:lnTo>
                      <a:pt x="64642" y="112394"/>
                    </a:lnTo>
                    <a:cubicBezTo>
                      <a:pt x="62755" y="129596"/>
                      <a:pt x="62755" y="146940"/>
                      <a:pt x="64642" y="164142"/>
                    </a:cubicBezTo>
                    <a:lnTo>
                      <a:pt x="23644" y="164142"/>
                    </a:lnTo>
                    <a:cubicBezTo>
                      <a:pt x="22776" y="160028"/>
                      <a:pt x="22126" y="155806"/>
                      <a:pt x="21583" y="151692"/>
                    </a:cubicBezTo>
                    <a:lnTo>
                      <a:pt x="21583" y="151692"/>
                    </a:lnTo>
                    <a:cubicBezTo>
                      <a:pt x="21106" y="147340"/>
                      <a:pt x="20857" y="142966"/>
                      <a:pt x="20824" y="138593"/>
                    </a:cubicBezTo>
                    <a:cubicBezTo>
                      <a:pt x="20857" y="134219"/>
                      <a:pt x="21106" y="129846"/>
                      <a:pt x="21583" y="125493"/>
                    </a:cubicBezTo>
                    <a:moveTo>
                      <a:pt x="131129" y="95506"/>
                    </a:moveTo>
                    <a:lnTo>
                      <a:pt x="84382" y="95506"/>
                    </a:lnTo>
                    <a:cubicBezTo>
                      <a:pt x="92191" y="55883"/>
                      <a:pt x="109979" y="25787"/>
                      <a:pt x="131129" y="19724"/>
                    </a:cubicBezTo>
                    <a:close/>
                    <a:moveTo>
                      <a:pt x="131129" y="182113"/>
                    </a:moveTo>
                    <a:lnTo>
                      <a:pt x="131129" y="257894"/>
                    </a:lnTo>
                    <a:cubicBezTo>
                      <a:pt x="109979" y="251399"/>
                      <a:pt x="92191" y="221411"/>
                      <a:pt x="84382" y="182113"/>
                    </a:cubicBezTo>
                    <a:close/>
                    <a:moveTo>
                      <a:pt x="81779" y="164900"/>
                    </a:moveTo>
                    <a:cubicBezTo>
                      <a:pt x="80781" y="156315"/>
                      <a:pt x="80272" y="147676"/>
                      <a:pt x="80261" y="139026"/>
                    </a:cubicBezTo>
                    <a:cubicBezTo>
                      <a:pt x="80261" y="130376"/>
                      <a:pt x="80771" y="121737"/>
                      <a:pt x="81779" y="113152"/>
                    </a:cubicBezTo>
                    <a:lnTo>
                      <a:pt x="131129" y="113152"/>
                    </a:lnTo>
                    <a:lnTo>
                      <a:pt x="131129" y="164900"/>
                    </a:lnTo>
                    <a:close/>
                    <a:moveTo>
                      <a:pt x="94361" y="27519"/>
                    </a:moveTo>
                    <a:cubicBezTo>
                      <a:pt x="80011" y="47872"/>
                      <a:pt x="70640" y="71310"/>
                      <a:pt x="67029" y="95939"/>
                    </a:cubicBezTo>
                    <a:lnTo>
                      <a:pt x="28850" y="95939"/>
                    </a:lnTo>
                    <a:cubicBezTo>
                      <a:pt x="40271" y="65215"/>
                      <a:pt x="63785" y="40499"/>
                      <a:pt x="93927" y="27519"/>
                    </a:cubicBezTo>
                    <a:moveTo>
                      <a:pt x="28850" y="182113"/>
                    </a:moveTo>
                    <a:lnTo>
                      <a:pt x="67029" y="182113"/>
                    </a:lnTo>
                    <a:cubicBezTo>
                      <a:pt x="70619" y="206709"/>
                      <a:pt x="79990" y="230115"/>
                      <a:pt x="94361" y="250425"/>
                    </a:cubicBezTo>
                    <a:cubicBezTo>
                      <a:pt x="64241" y="237466"/>
                      <a:pt x="40737" y="212783"/>
                      <a:pt x="29284" y="182113"/>
                    </a:cubicBezTo>
                    <a:moveTo>
                      <a:pt x="148591" y="182113"/>
                    </a:moveTo>
                    <a:lnTo>
                      <a:pt x="195338" y="182113"/>
                    </a:lnTo>
                    <a:cubicBezTo>
                      <a:pt x="187637" y="221736"/>
                      <a:pt x="169741" y="251724"/>
                      <a:pt x="148591" y="257894"/>
                    </a:cubicBezTo>
                    <a:close/>
                    <a:moveTo>
                      <a:pt x="148591" y="95506"/>
                    </a:moveTo>
                    <a:lnTo>
                      <a:pt x="148591" y="19724"/>
                    </a:lnTo>
                    <a:cubicBezTo>
                      <a:pt x="170283" y="26112"/>
                      <a:pt x="187637" y="56208"/>
                      <a:pt x="195338" y="95506"/>
                    </a:cubicBezTo>
                    <a:close/>
                    <a:moveTo>
                      <a:pt x="198050" y="112719"/>
                    </a:moveTo>
                    <a:cubicBezTo>
                      <a:pt x="199026" y="121304"/>
                      <a:pt x="199492" y="129943"/>
                      <a:pt x="199459" y="138593"/>
                    </a:cubicBezTo>
                    <a:cubicBezTo>
                      <a:pt x="199481" y="147232"/>
                      <a:pt x="199015" y="155871"/>
                      <a:pt x="198050" y="164467"/>
                    </a:cubicBezTo>
                    <a:lnTo>
                      <a:pt x="148591" y="164467"/>
                    </a:lnTo>
                    <a:lnTo>
                      <a:pt x="148591" y="112719"/>
                    </a:lnTo>
                    <a:close/>
                    <a:moveTo>
                      <a:pt x="250978" y="95506"/>
                    </a:moveTo>
                    <a:lnTo>
                      <a:pt x="212800" y="95506"/>
                    </a:lnTo>
                    <a:cubicBezTo>
                      <a:pt x="209091" y="70898"/>
                      <a:pt x="199731" y="47493"/>
                      <a:pt x="185468" y="27086"/>
                    </a:cubicBezTo>
                    <a:cubicBezTo>
                      <a:pt x="215588" y="40099"/>
                      <a:pt x="239091" y="64804"/>
                      <a:pt x="250545" y="95506"/>
                    </a:cubicBezTo>
                    <a:moveTo>
                      <a:pt x="185468" y="249991"/>
                    </a:moveTo>
                    <a:cubicBezTo>
                      <a:pt x="199752" y="229639"/>
                      <a:pt x="209112" y="206255"/>
                      <a:pt x="212800" y="181680"/>
                    </a:cubicBezTo>
                    <a:lnTo>
                      <a:pt x="250978" y="181680"/>
                    </a:lnTo>
                    <a:cubicBezTo>
                      <a:pt x="239493" y="212328"/>
                      <a:pt x="216000" y="237000"/>
                      <a:pt x="185902" y="249991"/>
                    </a:cubicBezTo>
                    <a:moveTo>
                      <a:pt x="258571" y="151692"/>
                    </a:moveTo>
                    <a:lnTo>
                      <a:pt x="258571" y="151692"/>
                    </a:lnTo>
                    <a:cubicBezTo>
                      <a:pt x="258104" y="155871"/>
                      <a:pt x="257421" y="160028"/>
                      <a:pt x="256510" y="164142"/>
                    </a:cubicBezTo>
                    <a:lnTo>
                      <a:pt x="215620" y="164142"/>
                    </a:lnTo>
                    <a:cubicBezTo>
                      <a:pt x="216379" y="155698"/>
                      <a:pt x="216922" y="147145"/>
                      <a:pt x="216922" y="138268"/>
                    </a:cubicBezTo>
                    <a:cubicBezTo>
                      <a:pt x="216922" y="129391"/>
                      <a:pt x="216379" y="120730"/>
                      <a:pt x="215620" y="112394"/>
                    </a:cubicBezTo>
                    <a:lnTo>
                      <a:pt x="256510" y="112394"/>
                    </a:lnTo>
                    <a:cubicBezTo>
                      <a:pt x="257421" y="116508"/>
                      <a:pt x="258104" y="120665"/>
                      <a:pt x="258571" y="124844"/>
                    </a:cubicBezTo>
                    <a:lnTo>
                      <a:pt x="258571" y="124844"/>
                    </a:lnTo>
                    <a:cubicBezTo>
                      <a:pt x="259579" y="133548"/>
                      <a:pt x="259579" y="142339"/>
                      <a:pt x="258571" y="151043"/>
                    </a:cubicBezTo>
                    <a:moveTo>
                      <a:pt x="140565" y="21"/>
                    </a:moveTo>
                    <a:cubicBezTo>
                      <a:pt x="64263" y="-1300"/>
                      <a:pt x="1334" y="59380"/>
                      <a:pt x="21" y="135540"/>
                    </a:cubicBezTo>
                    <a:cubicBezTo>
                      <a:pt x="-1302" y="211700"/>
                      <a:pt x="59490" y="274512"/>
                      <a:pt x="135793" y="275822"/>
                    </a:cubicBezTo>
                    <a:cubicBezTo>
                      <a:pt x="212095" y="277143"/>
                      <a:pt x="275024" y="216464"/>
                      <a:pt x="276337" y="140303"/>
                    </a:cubicBezTo>
                    <a:cubicBezTo>
                      <a:pt x="276348" y="139513"/>
                      <a:pt x="276359" y="138734"/>
                      <a:pt x="276359" y="137943"/>
                    </a:cubicBezTo>
                    <a:cubicBezTo>
                      <a:pt x="276955" y="62454"/>
                      <a:pt x="216195" y="736"/>
                      <a:pt x="140565" y="21"/>
                    </a:cubicBezTo>
                  </a:path>
                </a:pathLst>
              </a:custGeom>
              <a:solidFill>
                <a:srgbClr val="00000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id="{B27EE8F1-3C00-514E-9FF6-AF372523CEB9}"/>
                  </a:ext>
                </a:extLst>
              </p:cNvPr>
              <p:cNvSpPr/>
              <p:nvPr/>
            </p:nvSpPr>
            <p:spPr>
              <a:xfrm>
                <a:off x="10763319" y="5018087"/>
                <a:ext cx="564976" cy="844962"/>
              </a:xfrm>
              <a:custGeom>
                <a:avLst/>
                <a:gdLst>
                  <a:gd name="connsiteX0" fmla="*/ 477664 w 564976"/>
                  <a:gd name="connsiteY0" fmla="*/ 844963 h 844962"/>
                  <a:gd name="connsiteX1" fmla="*/ 88072 w 564976"/>
                  <a:gd name="connsiteY1" fmla="*/ 844963 h 844962"/>
                  <a:gd name="connsiteX2" fmla="*/ 435 w 564976"/>
                  <a:gd name="connsiteY2" fmla="*/ 755974 h 844962"/>
                  <a:gd name="connsiteX3" fmla="*/ 435 w 564976"/>
                  <a:gd name="connsiteY3" fmla="*/ 594343 h 844962"/>
                  <a:gd name="connsiteX4" fmla="*/ 16705 w 564976"/>
                  <a:gd name="connsiteY4" fmla="*/ 578104 h 844962"/>
                  <a:gd name="connsiteX5" fmla="*/ 32974 w 564976"/>
                  <a:gd name="connsiteY5" fmla="*/ 594343 h 844962"/>
                  <a:gd name="connsiteX6" fmla="*/ 32974 w 564976"/>
                  <a:gd name="connsiteY6" fmla="*/ 755974 h 844962"/>
                  <a:gd name="connsiteX7" fmla="*/ 88506 w 564976"/>
                  <a:gd name="connsiteY7" fmla="*/ 812377 h 844962"/>
                  <a:gd name="connsiteX8" fmla="*/ 478098 w 564976"/>
                  <a:gd name="connsiteY8" fmla="*/ 812377 h 844962"/>
                  <a:gd name="connsiteX9" fmla="*/ 533738 w 564976"/>
                  <a:gd name="connsiteY9" fmla="*/ 755974 h 844962"/>
                  <a:gd name="connsiteX10" fmla="*/ 533738 w 564976"/>
                  <a:gd name="connsiteY10" fmla="*/ 88989 h 844962"/>
                  <a:gd name="connsiteX11" fmla="*/ 478098 w 564976"/>
                  <a:gd name="connsiteY11" fmla="*/ 32586 h 844962"/>
                  <a:gd name="connsiteX12" fmla="*/ 88072 w 564976"/>
                  <a:gd name="connsiteY12" fmla="*/ 32586 h 844962"/>
                  <a:gd name="connsiteX13" fmla="*/ 32540 w 564976"/>
                  <a:gd name="connsiteY13" fmla="*/ 88989 h 844962"/>
                  <a:gd name="connsiteX14" fmla="*/ 32540 w 564976"/>
                  <a:gd name="connsiteY14" fmla="*/ 473526 h 844962"/>
                  <a:gd name="connsiteX15" fmla="*/ 16271 w 564976"/>
                  <a:gd name="connsiteY15" fmla="*/ 489765 h 844962"/>
                  <a:gd name="connsiteX16" fmla="*/ 2 w 564976"/>
                  <a:gd name="connsiteY16" fmla="*/ 473526 h 844962"/>
                  <a:gd name="connsiteX17" fmla="*/ 2 w 564976"/>
                  <a:gd name="connsiteY17" fmla="*/ 88989 h 844962"/>
                  <a:gd name="connsiteX18" fmla="*/ 87638 w 564976"/>
                  <a:gd name="connsiteY18" fmla="*/ 0 h 844962"/>
                  <a:gd name="connsiteX19" fmla="*/ 477231 w 564976"/>
                  <a:gd name="connsiteY19" fmla="*/ 0 h 844962"/>
                  <a:gd name="connsiteX20" fmla="*/ 564975 w 564976"/>
                  <a:gd name="connsiteY20" fmla="*/ 88989 h 844962"/>
                  <a:gd name="connsiteX21" fmla="*/ 564975 w 564976"/>
                  <a:gd name="connsiteY21" fmla="*/ 755974 h 844962"/>
                  <a:gd name="connsiteX22" fmla="*/ 477231 w 564976"/>
                  <a:gd name="connsiteY22" fmla="*/ 844963 h 844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64976" h="844962">
                    <a:moveTo>
                      <a:pt x="477664" y="844963"/>
                    </a:moveTo>
                    <a:lnTo>
                      <a:pt x="88072" y="844963"/>
                    </a:lnTo>
                    <a:cubicBezTo>
                      <a:pt x="39297" y="844432"/>
                      <a:pt x="132" y="804658"/>
                      <a:pt x="435" y="755974"/>
                    </a:cubicBezTo>
                    <a:lnTo>
                      <a:pt x="435" y="594343"/>
                    </a:lnTo>
                    <a:cubicBezTo>
                      <a:pt x="435" y="585379"/>
                      <a:pt x="7724" y="578104"/>
                      <a:pt x="16705" y="578104"/>
                    </a:cubicBezTo>
                    <a:cubicBezTo>
                      <a:pt x="25685" y="578104"/>
                      <a:pt x="32974" y="585379"/>
                      <a:pt x="32974" y="594343"/>
                    </a:cubicBezTo>
                    <a:lnTo>
                      <a:pt x="32974" y="755974"/>
                    </a:lnTo>
                    <a:cubicBezTo>
                      <a:pt x="32790" y="786817"/>
                      <a:pt x="57605" y="812019"/>
                      <a:pt x="88506" y="812377"/>
                    </a:cubicBezTo>
                    <a:lnTo>
                      <a:pt x="478098" y="812377"/>
                    </a:lnTo>
                    <a:cubicBezTo>
                      <a:pt x="509042" y="812084"/>
                      <a:pt x="533923" y="786860"/>
                      <a:pt x="533738" y="755974"/>
                    </a:cubicBezTo>
                    <a:lnTo>
                      <a:pt x="533738" y="88989"/>
                    </a:lnTo>
                    <a:cubicBezTo>
                      <a:pt x="533923" y="58103"/>
                      <a:pt x="509042" y="32878"/>
                      <a:pt x="478098" y="32586"/>
                    </a:cubicBezTo>
                    <a:lnTo>
                      <a:pt x="88072" y="32586"/>
                    </a:lnTo>
                    <a:cubicBezTo>
                      <a:pt x="57172" y="32943"/>
                      <a:pt x="32355" y="58146"/>
                      <a:pt x="32540" y="88989"/>
                    </a:cubicBezTo>
                    <a:lnTo>
                      <a:pt x="32540" y="473526"/>
                    </a:lnTo>
                    <a:cubicBezTo>
                      <a:pt x="32540" y="482490"/>
                      <a:pt x="25252" y="489765"/>
                      <a:pt x="16271" y="489765"/>
                    </a:cubicBezTo>
                    <a:cubicBezTo>
                      <a:pt x="7290" y="489765"/>
                      <a:pt x="2" y="482490"/>
                      <a:pt x="2" y="473526"/>
                    </a:cubicBezTo>
                    <a:lnTo>
                      <a:pt x="2" y="88989"/>
                    </a:lnTo>
                    <a:cubicBezTo>
                      <a:pt x="-302" y="40305"/>
                      <a:pt x="38863" y="531"/>
                      <a:pt x="87638" y="0"/>
                    </a:cubicBezTo>
                    <a:lnTo>
                      <a:pt x="477231" y="0"/>
                    </a:lnTo>
                    <a:cubicBezTo>
                      <a:pt x="526038" y="476"/>
                      <a:pt x="565279" y="40262"/>
                      <a:pt x="564975" y="88989"/>
                    </a:cubicBezTo>
                    <a:lnTo>
                      <a:pt x="564975" y="755974"/>
                    </a:lnTo>
                    <a:cubicBezTo>
                      <a:pt x="565279" y="804701"/>
                      <a:pt x="526038" y="844486"/>
                      <a:pt x="477231" y="844963"/>
                    </a:cubicBezTo>
                  </a:path>
                </a:pathLst>
              </a:custGeom>
              <a:solidFill>
                <a:srgbClr val="231F2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" name="Freeform 21">
                <a:extLst>
                  <a:ext uri="{FF2B5EF4-FFF2-40B4-BE49-F238E27FC236}">
                    <a16:creationId xmlns:a16="http://schemas.microsoft.com/office/drawing/2014/main" id="{3F401409-5D50-CE40-861A-13848E706D3E}"/>
                  </a:ext>
                </a:extLst>
              </p:cNvPr>
              <p:cNvSpPr/>
              <p:nvPr/>
            </p:nvSpPr>
            <p:spPr>
              <a:xfrm>
                <a:off x="10768352" y="5107942"/>
                <a:ext cx="555780" cy="32477"/>
              </a:xfrm>
              <a:custGeom>
                <a:avLst/>
                <a:gdLst>
                  <a:gd name="connsiteX0" fmla="*/ 541288 w 555780"/>
                  <a:gd name="connsiteY0" fmla="*/ 32478 h 32477"/>
                  <a:gd name="connsiteX1" fmla="*/ 14492 w 555780"/>
                  <a:gd name="connsiteY1" fmla="*/ 32478 h 32477"/>
                  <a:gd name="connsiteX2" fmla="*/ 110 w 555780"/>
                  <a:gd name="connsiteY2" fmla="*/ 14366 h 32477"/>
                  <a:gd name="connsiteX3" fmla="*/ 14492 w 555780"/>
                  <a:gd name="connsiteY3" fmla="*/ 0 h 32477"/>
                  <a:gd name="connsiteX4" fmla="*/ 541288 w 555780"/>
                  <a:gd name="connsiteY4" fmla="*/ 0 h 32477"/>
                  <a:gd name="connsiteX5" fmla="*/ 555670 w 555780"/>
                  <a:gd name="connsiteY5" fmla="*/ 18112 h 32477"/>
                  <a:gd name="connsiteX6" fmla="*/ 541288 w 555780"/>
                  <a:gd name="connsiteY6" fmla="*/ 32478 h 32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55780" h="32477">
                    <a:moveTo>
                      <a:pt x="541288" y="32478"/>
                    </a:moveTo>
                    <a:lnTo>
                      <a:pt x="14492" y="32478"/>
                    </a:lnTo>
                    <a:cubicBezTo>
                      <a:pt x="5512" y="31438"/>
                      <a:pt x="-931" y="23330"/>
                      <a:pt x="110" y="14366"/>
                    </a:cubicBezTo>
                    <a:cubicBezTo>
                      <a:pt x="978" y="6820"/>
                      <a:pt x="6943" y="877"/>
                      <a:pt x="14492" y="0"/>
                    </a:cubicBezTo>
                    <a:lnTo>
                      <a:pt x="541288" y="0"/>
                    </a:lnTo>
                    <a:cubicBezTo>
                      <a:pt x="550268" y="1039"/>
                      <a:pt x="556711" y="9148"/>
                      <a:pt x="555670" y="18112"/>
                    </a:cubicBezTo>
                    <a:cubicBezTo>
                      <a:pt x="554802" y="25657"/>
                      <a:pt x="548837" y="31601"/>
                      <a:pt x="541288" y="32478"/>
                    </a:cubicBezTo>
                  </a:path>
                </a:pathLst>
              </a:custGeom>
              <a:solidFill>
                <a:srgbClr val="231F2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id="{5AE83BA8-9C4B-3140-9EC1-0388F13254B4}"/>
                  </a:ext>
                </a:extLst>
              </p:cNvPr>
              <p:cNvSpPr/>
              <p:nvPr/>
            </p:nvSpPr>
            <p:spPr>
              <a:xfrm>
                <a:off x="10768352" y="5678901"/>
                <a:ext cx="555780" cy="32477"/>
              </a:xfrm>
              <a:custGeom>
                <a:avLst/>
                <a:gdLst>
                  <a:gd name="connsiteX0" fmla="*/ 541288 w 555780"/>
                  <a:gd name="connsiteY0" fmla="*/ 32478 h 32477"/>
                  <a:gd name="connsiteX1" fmla="*/ 14492 w 555780"/>
                  <a:gd name="connsiteY1" fmla="*/ 32478 h 32477"/>
                  <a:gd name="connsiteX2" fmla="*/ 110 w 555780"/>
                  <a:gd name="connsiteY2" fmla="*/ 14366 h 32477"/>
                  <a:gd name="connsiteX3" fmla="*/ 14492 w 555780"/>
                  <a:gd name="connsiteY3" fmla="*/ 0 h 32477"/>
                  <a:gd name="connsiteX4" fmla="*/ 541288 w 555780"/>
                  <a:gd name="connsiteY4" fmla="*/ 0 h 32477"/>
                  <a:gd name="connsiteX5" fmla="*/ 555670 w 555780"/>
                  <a:gd name="connsiteY5" fmla="*/ 18112 h 32477"/>
                  <a:gd name="connsiteX6" fmla="*/ 541288 w 555780"/>
                  <a:gd name="connsiteY6" fmla="*/ 32478 h 32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55780" h="32477">
                    <a:moveTo>
                      <a:pt x="541288" y="32478"/>
                    </a:moveTo>
                    <a:lnTo>
                      <a:pt x="14492" y="32478"/>
                    </a:lnTo>
                    <a:cubicBezTo>
                      <a:pt x="5512" y="31438"/>
                      <a:pt x="-931" y="23330"/>
                      <a:pt x="110" y="14366"/>
                    </a:cubicBezTo>
                    <a:cubicBezTo>
                      <a:pt x="978" y="6820"/>
                      <a:pt x="6943" y="877"/>
                      <a:pt x="14492" y="0"/>
                    </a:cubicBezTo>
                    <a:lnTo>
                      <a:pt x="541288" y="0"/>
                    </a:lnTo>
                    <a:cubicBezTo>
                      <a:pt x="550268" y="1039"/>
                      <a:pt x="556711" y="9148"/>
                      <a:pt x="555670" y="18112"/>
                    </a:cubicBezTo>
                    <a:cubicBezTo>
                      <a:pt x="554802" y="25657"/>
                      <a:pt x="548837" y="31601"/>
                      <a:pt x="541288" y="32478"/>
                    </a:cubicBezTo>
                  </a:path>
                </a:pathLst>
              </a:custGeom>
              <a:solidFill>
                <a:srgbClr val="231F2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id="{E169ABD6-10E0-8749-815F-BE9855C38A72}"/>
                  </a:ext>
                </a:extLst>
              </p:cNvPr>
              <p:cNvSpPr/>
              <p:nvPr/>
            </p:nvSpPr>
            <p:spPr>
              <a:xfrm>
                <a:off x="10973234" y="5060633"/>
                <a:ext cx="146014" cy="32477"/>
              </a:xfrm>
              <a:custGeom>
                <a:avLst/>
                <a:gdLst>
                  <a:gd name="connsiteX0" fmla="*/ 131522 w 146014"/>
                  <a:gd name="connsiteY0" fmla="*/ 32478 h 32477"/>
                  <a:gd name="connsiteX1" fmla="*/ 14493 w 146014"/>
                  <a:gd name="connsiteY1" fmla="*/ 32478 h 32477"/>
                  <a:gd name="connsiteX2" fmla="*/ 110 w 146014"/>
                  <a:gd name="connsiteY2" fmla="*/ 14366 h 32477"/>
                  <a:gd name="connsiteX3" fmla="*/ 14493 w 146014"/>
                  <a:gd name="connsiteY3" fmla="*/ 0 h 32477"/>
                  <a:gd name="connsiteX4" fmla="*/ 131522 w 146014"/>
                  <a:gd name="connsiteY4" fmla="*/ 0 h 32477"/>
                  <a:gd name="connsiteX5" fmla="*/ 145904 w 146014"/>
                  <a:gd name="connsiteY5" fmla="*/ 18122 h 32477"/>
                  <a:gd name="connsiteX6" fmla="*/ 131522 w 146014"/>
                  <a:gd name="connsiteY6" fmla="*/ 32478 h 32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6014" h="32477">
                    <a:moveTo>
                      <a:pt x="131522" y="32478"/>
                    </a:moveTo>
                    <a:lnTo>
                      <a:pt x="14493" y="32478"/>
                    </a:lnTo>
                    <a:cubicBezTo>
                      <a:pt x="5512" y="31438"/>
                      <a:pt x="-930" y="23330"/>
                      <a:pt x="110" y="14366"/>
                    </a:cubicBezTo>
                    <a:cubicBezTo>
                      <a:pt x="978" y="6820"/>
                      <a:pt x="6943" y="877"/>
                      <a:pt x="14493" y="0"/>
                    </a:cubicBezTo>
                    <a:lnTo>
                      <a:pt x="131522" y="0"/>
                    </a:lnTo>
                    <a:cubicBezTo>
                      <a:pt x="140503" y="1039"/>
                      <a:pt x="146945" y="9148"/>
                      <a:pt x="145904" y="18122"/>
                    </a:cubicBezTo>
                    <a:cubicBezTo>
                      <a:pt x="145037" y="25657"/>
                      <a:pt x="139071" y="31601"/>
                      <a:pt x="131522" y="32478"/>
                    </a:cubicBezTo>
                  </a:path>
                </a:pathLst>
              </a:custGeom>
              <a:solidFill>
                <a:srgbClr val="231F2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10EE4B33-6FC4-D644-A901-C1C01ED313ED}"/>
                  </a:ext>
                </a:extLst>
              </p:cNvPr>
              <p:cNvSpPr/>
              <p:nvPr/>
            </p:nvSpPr>
            <p:spPr>
              <a:xfrm>
                <a:off x="10138260" y="2254232"/>
                <a:ext cx="855324" cy="609715"/>
              </a:xfrm>
              <a:custGeom>
                <a:avLst/>
                <a:gdLst>
                  <a:gd name="connsiteX0" fmla="*/ 757601 w 855324"/>
                  <a:gd name="connsiteY0" fmla="*/ 414524 h 609715"/>
                  <a:gd name="connsiteX1" fmla="*/ 624193 w 855324"/>
                  <a:gd name="connsiteY1" fmla="*/ 545518 h 609715"/>
                  <a:gd name="connsiteX2" fmla="*/ 630918 w 855324"/>
                  <a:gd name="connsiteY2" fmla="*/ 490522 h 609715"/>
                  <a:gd name="connsiteX3" fmla="*/ 636450 w 855324"/>
                  <a:gd name="connsiteY3" fmla="*/ 445161 h 609715"/>
                  <a:gd name="connsiteX4" fmla="*/ 592197 w 855324"/>
                  <a:gd name="connsiteY4" fmla="*/ 453173 h 609715"/>
                  <a:gd name="connsiteX5" fmla="*/ 516275 w 855324"/>
                  <a:gd name="connsiteY5" fmla="*/ 459777 h 609715"/>
                  <a:gd name="connsiteX6" fmla="*/ 296099 w 855324"/>
                  <a:gd name="connsiteY6" fmla="*/ 393847 h 609715"/>
                  <a:gd name="connsiteX7" fmla="*/ 210740 w 855324"/>
                  <a:gd name="connsiteY7" fmla="*/ 246939 h 609715"/>
                  <a:gd name="connsiteX8" fmla="*/ 296099 w 855324"/>
                  <a:gd name="connsiteY8" fmla="*/ 100031 h 609715"/>
                  <a:gd name="connsiteX9" fmla="*/ 516275 w 855324"/>
                  <a:gd name="connsiteY9" fmla="*/ 34102 h 609715"/>
                  <a:gd name="connsiteX10" fmla="*/ 736559 w 855324"/>
                  <a:gd name="connsiteY10" fmla="*/ 100031 h 609715"/>
                  <a:gd name="connsiteX11" fmla="*/ 821918 w 855324"/>
                  <a:gd name="connsiteY11" fmla="*/ 246939 h 609715"/>
                  <a:gd name="connsiteX12" fmla="*/ 756841 w 855324"/>
                  <a:gd name="connsiteY12" fmla="*/ 414524 h 609715"/>
                  <a:gd name="connsiteX13" fmla="*/ 515732 w 855324"/>
                  <a:gd name="connsiteY13" fmla="*/ 325 h 609715"/>
                  <a:gd name="connsiteX14" fmla="*/ 178093 w 855324"/>
                  <a:gd name="connsiteY14" fmla="*/ 226586 h 609715"/>
                  <a:gd name="connsiteX15" fmla="*/ 0 w 855324"/>
                  <a:gd name="connsiteY15" fmla="*/ 380314 h 609715"/>
                  <a:gd name="connsiteX16" fmla="*/ 172453 w 855324"/>
                  <a:gd name="connsiteY16" fmla="*/ 609715 h 609715"/>
                  <a:gd name="connsiteX17" fmla="*/ 162908 w 855324"/>
                  <a:gd name="connsiteY17" fmla="*/ 531769 h 609715"/>
                  <a:gd name="connsiteX18" fmla="*/ 214211 w 855324"/>
                  <a:gd name="connsiteY18" fmla="*/ 536316 h 609715"/>
                  <a:gd name="connsiteX19" fmla="*/ 385037 w 855324"/>
                  <a:gd name="connsiteY19" fmla="*/ 474500 h 609715"/>
                  <a:gd name="connsiteX20" fmla="*/ 515732 w 855324"/>
                  <a:gd name="connsiteY20" fmla="*/ 493553 h 609715"/>
                  <a:gd name="connsiteX21" fmla="*/ 596970 w 855324"/>
                  <a:gd name="connsiteY21" fmla="*/ 486408 h 609715"/>
                  <a:gd name="connsiteX22" fmla="*/ 581785 w 855324"/>
                  <a:gd name="connsiteY22" fmla="*/ 609715 h 609715"/>
                  <a:gd name="connsiteX23" fmla="*/ 855324 w 855324"/>
                  <a:gd name="connsiteY23" fmla="*/ 246614 h 609715"/>
                  <a:gd name="connsiteX24" fmla="*/ 516492 w 855324"/>
                  <a:gd name="connsiteY24" fmla="*/ 0 h 609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855324" h="609715">
                    <a:moveTo>
                      <a:pt x="757601" y="414524"/>
                    </a:moveTo>
                    <a:cubicBezTo>
                      <a:pt x="721244" y="465720"/>
                      <a:pt x="676071" y="510074"/>
                      <a:pt x="624193" y="545518"/>
                    </a:cubicBezTo>
                    <a:lnTo>
                      <a:pt x="630918" y="490522"/>
                    </a:lnTo>
                    <a:lnTo>
                      <a:pt x="636450" y="445161"/>
                    </a:lnTo>
                    <a:lnTo>
                      <a:pt x="592197" y="453173"/>
                    </a:lnTo>
                    <a:cubicBezTo>
                      <a:pt x="567132" y="457622"/>
                      <a:pt x="541730" y="459831"/>
                      <a:pt x="516275" y="459777"/>
                    </a:cubicBezTo>
                    <a:cubicBezTo>
                      <a:pt x="432759" y="459777"/>
                      <a:pt x="354451" y="436393"/>
                      <a:pt x="296099" y="393847"/>
                    </a:cubicBezTo>
                    <a:cubicBezTo>
                      <a:pt x="241109" y="353791"/>
                      <a:pt x="210740" y="301610"/>
                      <a:pt x="210740" y="246939"/>
                    </a:cubicBezTo>
                    <a:cubicBezTo>
                      <a:pt x="210740" y="192268"/>
                      <a:pt x="241109" y="140087"/>
                      <a:pt x="296099" y="100031"/>
                    </a:cubicBezTo>
                    <a:cubicBezTo>
                      <a:pt x="354451" y="57486"/>
                      <a:pt x="432759" y="34102"/>
                      <a:pt x="516275" y="34102"/>
                    </a:cubicBezTo>
                    <a:cubicBezTo>
                      <a:pt x="599790" y="34102"/>
                      <a:pt x="678098" y="57486"/>
                      <a:pt x="736559" y="100031"/>
                    </a:cubicBezTo>
                    <a:cubicBezTo>
                      <a:pt x="791549" y="140087"/>
                      <a:pt x="821918" y="192268"/>
                      <a:pt x="821918" y="246939"/>
                    </a:cubicBezTo>
                    <a:cubicBezTo>
                      <a:pt x="821918" y="295331"/>
                      <a:pt x="798382" y="356389"/>
                      <a:pt x="756841" y="414524"/>
                    </a:cubicBezTo>
                    <a:moveTo>
                      <a:pt x="515732" y="325"/>
                    </a:moveTo>
                    <a:cubicBezTo>
                      <a:pt x="338073" y="325"/>
                      <a:pt x="192301" y="99923"/>
                      <a:pt x="178093" y="226586"/>
                    </a:cubicBezTo>
                    <a:cubicBezTo>
                      <a:pt x="77007" y="239144"/>
                      <a:pt x="0" y="303126"/>
                      <a:pt x="0" y="380314"/>
                    </a:cubicBezTo>
                    <a:cubicBezTo>
                      <a:pt x="0" y="448517"/>
                      <a:pt x="61714" y="551364"/>
                      <a:pt x="172453" y="609715"/>
                    </a:cubicBezTo>
                    <a:lnTo>
                      <a:pt x="162908" y="531769"/>
                    </a:lnTo>
                    <a:cubicBezTo>
                      <a:pt x="179839" y="534789"/>
                      <a:pt x="197009" y="536305"/>
                      <a:pt x="214211" y="536316"/>
                    </a:cubicBezTo>
                    <a:cubicBezTo>
                      <a:pt x="283951" y="536316"/>
                      <a:pt x="345883" y="512066"/>
                      <a:pt x="385037" y="474500"/>
                    </a:cubicBezTo>
                    <a:cubicBezTo>
                      <a:pt x="427423" y="487242"/>
                      <a:pt x="471469" y="493662"/>
                      <a:pt x="515732" y="493553"/>
                    </a:cubicBezTo>
                    <a:cubicBezTo>
                      <a:pt x="542967" y="493575"/>
                      <a:pt x="570158" y="491183"/>
                      <a:pt x="596970" y="486408"/>
                    </a:cubicBezTo>
                    <a:lnTo>
                      <a:pt x="581785" y="609715"/>
                    </a:lnTo>
                    <a:cubicBezTo>
                      <a:pt x="757709" y="517262"/>
                      <a:pt x="855324" y="354873"/>
                      <a:pt x="855324" y="246614"/>
                    </a:cubicBezTo>
                    <a:cubicBezTo>
                      <a:pt x="855324" y="110424"/>
                      <a:pt x="703479" y="0"/>
                      <a:pt x="516492" y="0"/>
                    </a:cubicBezTo>
                  </a:path>
                </a:pathLst>
              </a:custGeom>
              <a:solidFill>
                <a:srgbClr val="231F2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E5475897-C661-E34B-840B-B8977C48EDFB}"/>
                  </a:ext>
                </a:extLst>
              </p:cNvPr>
              <p:cNvSpPr/>
              <p:nvPr/>
            </p:nvSpPr>
            <p:spPr>
              <a:xfrm>
                <a:off x="10505997" y="2361142"/>
                <a:ext cx="343225" cy="328291"/>
              </a:xfrm>
              <a:custGeom>
                <a:avLst/>
                <a:gdLst>
                  <a:gd name="connsiteX0" fmla="*/ 191380 w 343225"/>
                  <a:gd name="connsiteY0" fmla="*/ 292133 h 328291"/>
                  <a:gd name="connsiteX1" fmla="*/ 137909 w 343225"/>
                  <a:gd name="connsiteY1" fmla="*/ 302309 h 328291"/>
                  <a:gd name="connsiteX2" fmla="*/ 137149 w 343225"/>
                  <a:gd name="connsiteY2" fmla="*/ 302309 h 328291"/>
                  <a:gd name="connsiteX3" fmla="*/ 68277 w 343225"/>
                  <a:gd name="connsiteY3" fmla="*/ 300685 h 328291"/>
                  <a:gd name="connsiteX4" fmla="*/ 55586 w 343225"/>
                  <a:gd name="connsiteY4" fmla="*/ 292350 h 328291"/>
                  <a:gd name="connsiteX5" fmla="*/ 55586 w 343225"/>
                  <a:gd name="connsiteY5" fmla="*/ 290293 h 328291"/>
                  <a:gd name="connsiteX6" fmla="*/ 64003 w 343225"/>
                  <a:gd name="connsiteY6" fmla="*/ 273263 h 328291"/>
                  <a:gd name="connsiteX7" fmla="*/ 54827 w 343225"/>
                  <a:gd name="connsiteY7" fmla="*/ 264635 h 328291"/>
                  <a:gd name="connsiteX8" fmla="*/ 42029 w 343225"/>
                  <a:gd name="connsiteY8" fmla="*/ 247747 h 328291"/>
                  <a:gd name="connsiteX9" fmla="*/ 43547 w 343225"/>
                  <a:gd name="connsiteY9" fmla="*/ 240493 h 328291"/>
                  <a:gd name="connsiteX10" fmla="*/ 52224 w 343225"/>
                  <a:gd name="connsiteY10" fmla="*/ 227827 h 328291"/>
                  <a:gd name="connsiteX11" fmla="*/ 42246 w 343225"/>
                  <a:gd name="connsiteY11" fmla="*/ 215053 h 328291"/>
                  <a:gd name="connsiteX12" fmla="*/ 34003 w 343225"/>
                  <a:gd name="connsiteY12" fmla="*/ 206717 h 328291"/>
                  <a:gd name="connsiteX13" fmla="*/ 38666 w 343225"/>
                  <a:gd name="connsiteY13" fmla="*/ 188854 h 328291"/>
                  <a:gd name="connsiteX14" fmla="*/ 40640 w 343225"/>
                  <a:gd name="connsiteY14" fmla="*/ 169973 h 328291"/>
                  <a:gd name="connsiteX15" fmla="*/ 32159 w 343225"/>
                  <a:gd name="connsiteY15" fmla="*/ 165145 h 328291"/>
                  <a:gd name="connsiteX16" fmla="*/ 26194 w 343225"/>
                  <a:gd name="connsiteY16" fmla="*/ 150855 h 328291"/>
                  <a:gd name="connsiteX17" fmla="*/ 29881 w 343225"/>
                  <a:gd name="connsiteY17" fmla="*/ 142086 h 328291"/>
                  <a:gd name="connsiteX18" fmla="*/ 110685 w 343225"/>
                  <a:gd name="connsiteY18" fmla="*/ 136673 h 328291"/>
                  <a:gd name="connsiteX19" fmla="*/ 120338 w 343225"/>
                  <a:gd name="connsiteY19" fmla="*/ 131260 h 328291"/>
                  <a:gd name="connsiteX20" fmla="*/ 122507 w 343225"/>
                  <a:gd name="connsiteY20" fmla="*/ 120434 h 328291"/>
                  <a:gd name="connsiteX21" fmla="*/ 117301 w 343225"/>
                  <a:gd name="connsiteY21" fmla="*/ 28089 h 328291"/>
                  <a:gd name="connsiteX22" fmla="*/ 118060 w 343225"/>
                  <a:gd name="connsiteY22" fmla="*/ 27439 h 328291"/>
                  <a:gd name="connsiteX23" fmla="*/ 122290 w 343225"/>
                  <a:gd name="connsiteY23" fmla="*/ 39131 h 328291"/>
                  <a:gd name="connsiteX24" fmla="*/ 218604 w 343225"/>
                  <a:gd name="connsiteY24" fmla="*/ 158216 h 328291"/>
                  <a:gd name="connsiteX25" fmla="*/ 236066 w 343225"/>
                  <a:gd name="connsiteY25" fmla="*/ 277302 h 328291"/>
                  <a:gd name="connsiteX26" fmla="*/ 191597 w 343225"/>
                  <a:gd name="connsiteY26" fmla="*/ 291375 h 328291"/>
                  <a:gd name="connsiteX27" fmla="*/ 229233 w 343225"/>
                  <a:gd name="connsiteY27" fmla="*/ 126930 h 328291"/>
                  <a:gd name="connsiteX28" fmla="*/ 220339 w 343225"/>
                  <a:gd name="connsiteY28" fmla="*/ 130502 h 328291"/>
                  <a:gd name="connsiteX29" fmla="*/ 147670 w 343225"/>
                  <a:gd name="connsiteY29" fmla="*/ 31553 h 328291"/>
                  <a:gd name="connsiteX30" fmla="*/ 124568 w 343225"/>
                  <a:gd name="connsiteY30" fmla="*/ 699 h 328291"/>
                  <a:gd name="connsiteX31" fmla="*/ 96802 w 343225"/>
                  <a:gd name="connsiteY31" fmla="*/ 10767 h 328291"/>
                  <a:gd name="connsiteX32" fmla="*/ 93765 w 343225"/>
                  <a:gd name="connsiteY32" fmla="*/ 110474 h 328291"/>
                  <a:gd name="connsiteX33" fmla="*/ 28688 w 343225"/>
                  <a:gd name="connsiteY33" fmla="*/ 114696 h 328291"/>
                  <a:gd name="connsiteX34" fmla="*/ 54 w 343225"/>
                  <a:gd name="connsiteY34" fmla="*/ 149339 h 328291"/>
                  <a:gd name="connsiteX35" fmla="*/ 11660 w 343225"/>
                  <a:gd name="connsiteY35" fmla="*/ 181817 h 328291"/>
                  <a:gd name="connsiteX36" fmla="*/ 8406 w 343225"/>
                  <a:gd name="connsiteY36" fmla="*/ 211155 h 328291"/>
                  <a:gd name="connsiteX37" fmla="*/ 19252 w 343225"/>
                  <a:gd name="connsiteY37" fmla="*/ 230533 h 328291"/>
                  <a:gd name="connsiteX38" fmla="*/ 16323 w 343225"/>
                  <a:gd name="connsiteY38" fmla="*/ 247314 h 328291"/>
                  <a:gd name="connsiteX39" fmla="*/ 31400 w 343225"/>
                  <a:gd name="connsiteY39" fmla="*/ 280549 h 328291"/>
                  <a:gd name="connsiteX40" fmla="*/ 30098 w 343225"/>
                  <a:gd name="connsiteY40" fmla="*/ 294298 h 328291"/>
                  <a:gd name="connsiteX41" fmla="*/ 67626 w 343225"/>
                  <a:gd name="connsiteY41" fmla="*/ 326776 h 328291"/>
                  <a:gd name="connsiteX42" fmla="*/ 137691 w 343225"/>
                  <a:gd name="connsiteY42" fmla="*/ 328291 h 328291"/>
                  <a:gd name="connsiteX43" fmla="*/ 138668 w 343225"/>
                  <a:gd name="connsiteY43" fmla="*/ 328291 h 328291"/>
                  <a:gd name="connsiteX44" fmla="*/ 205588 w 343225"/>
                  <a:gd name="connsiteY44" fmla="*/ 314434 h 328291"/>
                  <a:gd name="connsiteX45" fmla="*/ 240513 w 343225"/>
                  <a:gd name="connsiteY45" fmla="*/ 303608 h 328291"/>
                  <a:gd name="connsiteX46" fmla="*/ 242465 w 343225"/>
                  <a:gd name="connsiteY46" fmla="*/ 316924 h 328291"/>
                  <a:gd name="connsiteX47" fmla="*/ 255372 w 343225"/>
                  <a:gd name="connsiteY47" fmla="*/ 327750 h 328291"/>
                  <a:gd name="connsiteX48" fmla="*/ 343225 w 343225"/>
                  <a:gd name="connsiteY48" fmla="*/ 327750 h 328291"/>
                  <a:gd name="connsiteX49" fmla="*/ 313724 w 343225"/>
                  <a:gd name="connsiteY49" fmla="*/ 126605 h 3282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343225" h="328291">
                    <a:moveTo>
                      <a:pt x="191380" y="292133"/>
                    </a:moveTo>
                    <a:cubicBezTo>
                      <a:pt x="182812" y="297329"/>
                      <a:pt x="174677" y="302309"/>
                      <a:pt x="137909" y="302309"/>
                    </a:cubicBezTo>
                    <a:lnTo>
                      <a:pt x="137149" y="302309"/>
                    </a:lnTo>
                    <a:cubicBezTo>
                      <a:pt x="115457" y="302309"/>
                      <a:pt x="98320" y="302309"/>
                      <a:pt x="68277" y="300685"/>
                    </a:cubicBezTo>
                    <a:cubicBezTo>
                      <a:pt x="57973" y="300685"/>
                      <a:pt x="55912" y="295272"/>
                      <a:pt x="55586" y="292350"/>
                    </a:cubicBezTo>
                    <a:cubicBezTo>
                      <a:pt x="55532" y="291667"/>
                      <a:pt x="55532" y="290975"/>
                      <a:pt x="55586" y="290293"/>
                    </a:cubicBezTo>
                    <a:cubicBezTo>
                      <a:pt x="62626" y="287911"/>
                      <a:pt x="66389" y="280289"/>
                      <a:pt x="64003" y="273263"/>
                    </a:cubicBezTo>
                    <a:cubicBezTo>
                      <a:pt x="62572" y="269052"/>
                      <a:pt x="59133" y="265815"/>
                      <a:pt x="54827" y="264635"/>
                    </a:cubicBezTo>
                    <a:cubicBezTo>
                      <a:pt x="47072" y="262784"/>
                      <a:pt x="41704" y="255704"/>
                      <a:pt x="42029" y="247747"/>
                    </a:cubicBezTo>
                    <a:cubicBezTo>
                      <a:pt x="41812" y="245235"/>
                      <a:pt x="42343" y="242713"/>
                      <a:pt x="43547" y="240493"/>
                    </a:cubicBezTo>
                    <a:cubicBezTo>
                      <a:pt x="48829" y="238523"/>
                      <a:pt x="52300" y="233457"/>
                      <a:pt x="52224" y="227827"/>
                    </a:cubicBezTo>
                    <a:cubicBezTo>
                      <a:pt x="52137" y="221819"/>
                      <a:pt x="48059" y="216601"/>
                      <a:pt x="42246" y="215053"/>
                    </a:cubicBezTo>
                    <a:cubicBezTo>
                      <a:pt x="37961" y="214381"/>
                      <a:pt x="34621" y="211004"/>
                      <a:pt x="34003" y="206717"/>
                    </a:cubicBezTo>
                    <a:cubicBezTo>
                      <a:pt x="32810" y="200362"/>
                      <a:pt x="34524" y="193812"/>
                      <a:pt x="38666" y="188854"/>
                    </a:cubicBezTo>
                    <a:cubicBezTo>
                      <a:pt x="44437" y="184188"/>
                      <a:pt x="45326" y="175733"/>
                      <a:pt x="40640" y="169973"/>
                    </a:cubicBezTo>
                    <a:cubicBezTo>
                      <a:pt x="38525" y="167353"/>
                      <a:pt x="35499" y="165632"/>
                      <a:pt x="32159" y="165145"/>
                    </a:cubicBezTo>
                    <a:cubicBezTo>
                      <a:pt x="29230" y="165145"/>
                      <a:pt x="25977" y="158433"/>
                      <a:pt x="26194" y="150855"/>
                    </a:cubicBezTo>
                    <a:cubicBezTo>
                      <a:pt x="26194" y="149014"/>
                      <a:pt x="27061" y="142194"/>
                      <a:pt x="29881" y="142086"/>
                    </a:cubicBezTo>
                    <a:cubicBezTo>
                      <a:pt x="40727" y="141544"/>
                      <a:pt x="110034" y="136673"/>
                      <a:pt x="110685" y="136673"/>
                    </a:cubicBezTo>
                    <a:cubicBezTo>
                      <a:pt x="114546" y="136380"/>
                      <a:pt x="118082" y="134399"/>
                      <a:pt x="120338" y="131260"/>
                    </a:cubicBezTo>
                    <a:cubicBezTo>
                      <a:pt x="122572" y="128120"/>
                      <a:pt x="123364" y="124191"/>
                      <a:pt x="122507" y="120434"/>
                    </a:cubicBezTo>
                    <a:cubicBezTo>
                      <a:pt x="105370" y="46060"/>
                      <a:pt x="115999" y="29713"/>
                      <a:pt x="117301" y="28089"/>
                    </a:cubicBezTo>
                    <a:cubicBezTo>
                      <a:pt x="118602" y="26465"/>
                      <a:pt x="117301" y="27439"/>
                      <a:pt x="118060" y="27439"/>
                    </a:cubicBezTo>
                    <a:cubicBezTo>
                      <a:pt x="120078" y="31088"/>
                      <a:pt x="121498" y="35039"/>
                      <a:pt x="122290" y="39131"/>
                    </a:cubicBezTo>
                    <a:cubicBezTo>
                      <a:pt x="139644" y="106685"/>
                      <a:pt x="170338" y="144792"/>
                      <a:pt x="218604" y="158216"/>
                    </a:cubicBezTo>
                    <a:lnTo>
                      <a:pt x="236066" y="277302"/>
                    </a:lnTo>
                    <a:cubicBezTo>
                      <a:pt x="220263" y="278038"/>
                      <a:pt x="204937" y="282899"/>
                      <a:pt x="191597" y="291375"/>
                    </a:cubicBezTo>
                    <a:moveTo>
                      <a:pt x="229233" y="126930"/>
                    </a:moveTo>
                    <a:cubicBezTo>
                      <a:pt x="225914" y="126930"/>
                      <a:pt x="222725" y="128207"/>
                      <a:pt x="220339" y="130502"/>
                    </a:cubicBezTo>
                    <a:cubicBezTo>
                      <a:pt x="196586" y="122274"/>
                      <a:pt x="166108" y="101597"/>
                      <a:pt x="147670" y="31553"/>
                    </a:cubicBezTo>
                    <a:cubicBezTo>
                      <a:pt x="145501" y="23326"/>
                      <a:pt x="140620" y="4055"/>
                      <a:pt x="124568" y="699"/>
                    </a:cubicBezTo>
                    <a:cubicBezTo>
                      <a:pt x="114134" y="-1715"/>
                      <a:pt x="103255" y="2237"/>
                      <a:pt x="96802" y="10767"/>
                    </a:cubicBezTo>
                    <a:cubicBezTo>
                      <a:pt x="84329" y="26682"/>
                      <a:pt x="83352" y="59376"/>
                      <a:pt x="93765" y="110474"/>
                    </a:cubicBezTo>
                    <a:cubicBezTo>
                      <a:pt x="73483" y="111773"/>
                      <a:pt x="35738" y="114371"/>
                      <a:pt x="28688" y="114696"/>
                    </a:cubicBezTo>
                    <a:cubicBezTo>
                      <a:pt x="12419" y="115562"/>
                      <a:pt x="705" y="129744"/>
                      <a:pt x="54" y="149339"/>
                    </a:cubicBezTo>
                    <a:cubicBezTo>
                      <a:pt x="-531" y="161269"/>
                      <a:pt x="3634" y="172950"/>
                      <a:pt x="11660" y="181817"/>
                    </a:cubicBezTo>
                    <a:cubicBezTo>
                      <a:pt x="7647" y="191051"/>
                      <a:pt x="6508" y="201271"/>
                      <a:pt x="8406" y="211155"/>
                    </a:cubicBezTo>
                    <a:cubicBezTo>
                      <a:pt x="9881" y="218593"/>
                      <a:pt x="13677" y="225380"/>
                      <a:pt x="19252" y="230533"/>
                    </a:cubicBezTo>
                    <a:cubicBezTo>
                      <a:pt x="17137" y="235871"/>
                      <a:pt x="16150" y="241576"/>
                      <a:pt x="16323" y="247314"/>
                    </a:cubicBezTo>
                    <a:cubicBezTo>
                      <a:pt x="16573" y="259991"/>
                      <a:pt x="22018" y="272008"/>
                      <a:pt x="31400" y="280549"/>
                    </a:cubicBezTo>
                    <a:cubicBezTo>
                      <a:pt x="29979" y="284988"/>
                      <a:pt x="29534" y="289675"/>
                      <a:pt x="30098" y="294298"/>
                    </a:cubicBezTo>
                    <a:cubicBezTo>
                      <a:pt x="32376" y="313146"/>
                      <a:pt x="48612" y="327187"/>
                      <a:pt x="67626" y="326776"/>
                    </a:cubicBezTo>
                    <a:cubicBezTo>
                      <a:pt x="98320" y="328183"/>
                      <a:pt x="115240" y="328291"/>
                      <a:pt x="137691" y="328291"/>
                    </a:cubicBezTo>
                    <a:lnTo>
                      <a:pt x="138668" y="328291"/>
                    </a:lnTo>
                    <a:cubicBezTo>
                      <a:pt x="182703" y="328291"/>
                      <a:pt x="193766" y="321579"/>
                      <a:pt x="205588" y="314434"/>
                    </a:cubicBezTo>
                    <a:cubicBezTo>
                      <a:pt x="216055" y="307776"/>
                      <a:pt x="228116" y="304041"/>
                      <a:pt x="240513" y="303608"/>
                    </a:cubicBezTo>
                    <a:lnTo>
                      <a:pt x="242465" y="316924"/>
                    </a:lnTo>
                    <a:cubicBezTo>
                      <a:pt x="243614" y="323160"/>
                      <a:pt x="249027" y="327696"/>
                      <a:pt x="255372" y="327750"/>
                    </a:cubicBezTo>
                    <a:lnTo>
                      <a:pt x="343225" y="327750"/>
                    </a:lnTo>
                    <a:lnTo>
                      <a:pt x="313724" y="126605"/>
                    </a:lnTo>
                    <a:close/>
                  </a:path>
                </a:pathLst>
              </a:custGeom>
              <a:solidFill>
                <a:srgbClr val="231F2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" name="Freeform 26">
                <a:extLst>
                  <a:ext uri="{FF2B5EF4-FFF2-40B4-BE49-F238E27FC236}">
                    <a16:creationId xmlns:a16="http://schemas.microsoft.com/office/drawing/2014/main" id="{C053F2CD-CC77-BE4A-9E72-DADBAFF791D7}"/>
                  </a:ext>
                </a:extLst>
              </p:cNvPr>
              <p:cNvSpPr/>
              <p:nvPr/>
            </p:nvSpPr>
            <p:spPr>
              <a:xfrm>
                <a:off x="10355181" y="3323183"/>
                <a:ext cx="293715" cy="262311"/>
              </a:xfrm>
              <a:custGeom>
                <a:avLst/>
                <a:gdLst>
                  <a:gd name="connsiteX0" fmla="*/ 287965 w 293715"/>
                  <a:gd name="connsiteY0" fmla="*/ 45360 h 262311"/>
                  <a:gd name="connsiteX1" fmla="*/ 249028 w 293715"/>
                  <a:gd name="connsiteY1" fmla="*/ 5846 h 262311"/>
                  <a:gd name="connsiteX2" fmla="*/ 44796 w 293715"/>
                  <a:gd name="connsiteY2" fmla="*/ 5846 h 262311"/>
                  <a:gd name="connsiteX3" fmla="*/ 5858 w 293715"/>
                  <a:gd name="connsiteY3" fmla="*/ 45360 h 262311"/>
                  <a:gd name="connsiteX4" fmla="*/ 5858 w 293715"/>
                  <a:gd name="connsiteY4" fmla="*/ 216951 h 262311"/>
                  <a:gd name="connsiteX5" fmla="*/ 44796 w 293715"/>
                  <a:gd name="connsiteY5" fmla="*/ 256466 h 262311"/>
                  <a:gd name="connsiteX6" fmla="*/ 249028 w 293715"/>
                  <a:gd name="connsiteY6" fmla="*/ 256466 h 262311"/>
                  <a:gd name="connsiteX7" fmla="*/ 287965 w 293715"/>
                  <a:gd name="connsiteY7" fmla="*/ 216951 h 262311"/>
                  <a:gd name="connsiteX8" fmla="*/ 1 w 293715"/>
                  <a:gd name="connsiteY8" fmla="*/ 216951 h 262311"/>
                  <a:gd name="connsiteX9" fmla="*/ 1 w 293715"/>
                  <a:gd name="connsiteY9" fmla="*/ 45360 h 262311"/>
                  <a:gd name="connsiteX10" fmla="*/ 44796 w 293715"/>
                  <a:gd name="connsiteY10" fmla="*/ 0 h 262311"/>
                  <a:gd name="connsiteX11" fmla="*/ 44796 w 293715"/>
                  <a:gd name="connsiteY11" fmla="*/ 0 h 262311"/>
                  <a:gd name="connsiteX12" fmla="*/ 249028 w 293715"/>
                  <a:gd name="connsiteY12" fmla="*/ 0 h 262311"/>
                  <a:gd name="connsiteX13" fmla="*/ 293714 w 293715"/>
                  <a:gd name="connsiteY13" fmla="*/ 45360 h 262311"/>
                  <a:gd name="connsiteX14" fmla="*/ 293714 w 293715"/>
                  <a:gd name="connsiteY14" fmla="*/ 216951 h 262311"/>
                  <a:gd name="connsiteX15" fmla="*/ 249028 w 293715"/>
                  <a:gd name="connsiteY15" fmla="*/ 262312 h 262311"/>
                  <a:gd name="connsiteX16" fmla="*/ 44796 w 293715"/>
                  <a:gd name="connsiteY16" fmla="*/ 262312 h 262311"/>
                  <a:gd name="connsiteX17" fmla="*/ 1 w 293715"/>
                  <a:gd name="connsiteY17" fmla="*/ 216951 h 262311"/>
                  <a:gd name="connsiteX18" fmla="*/ 1 w 293715"/>
                  <a:gd name="connsiteY18" fmla="*/ 216951 h 262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93715" h="262311">
                    <a:moveTo>
                      <a:pt x="287965" y="45360"/>
                    </a:moveTo>
                    <a:cubicBezTo>
                      <a:pt x="288085" y="23741"/>
                      <a:pt x="270687" y="6084"/>
                      <a:pt x="249028" y="5846"/>
                    </a:cubicBezTo>
                    <a:lnTo>
                      <a:pt x="44796" y="5846"/>
                    </a:lnTo>
                    <a:cubicBezTo>
                      <a:pt x="23136" y="6084"/>
                      <a:pt x="5739" y="23741"/>
                      <a:pt x="5858" y="45360"/>
                    </a:cubicBezTo>
                    <a:lnTo>
                      <a:pt x="5858" y="216951"/>
                    </a:lnTo>
                    <a:cubicBezTo>
                      <a:pt x="5739" y="238571"/>
                      <a:pt x="23136" y="256228"/>
                      <a:pt x="44796" y="256466"/>
                    </a:cubicBezTo>
                    <a:lnTo>
                      <a:pt x="249028" y="256466"/>
                    </a:lnTo>
                    <a:cubicBezTo>
                      <a:pt x="270687" y="256228"/>
                      <a:pt x="288085" y="238571"/>
                      <a:pt x="287965" y="216951"/>
                    </a:cubicBezTo>
                    <a:close/>
                    <a:moveTo>
                      <a:pt x="1" y="216951"/>
                    </a:moveTo>
                    <a:lnTo>
                      <a:pt x="1" y="45360"/>
                    </a:lnTo>
                    <a:cubicBezTo>
                      <a:pt x="-183" y="20493"/>
                      <a:pt x="19871" y="184"/>
                      <a:pt x="44796" y="0"/>
                    </a:cubicBezTo>
                    <a:cubicBezTo>
                      <a:pt x="44796" y="0"/>
                      <a:pt x="44796" y="0"/>
                      <a:pt x="44796" y="0"/>
                    </a:cubicBezTo>
                    <a:lnTo>
                      <a:pt x="249028" y="0"/>
                    </a:lnTo>
                    <a:cubicBezTo>
                      <a:pt x="273909" y="238"/>
                      <a:pt x="293898" y="20526"/>
                      <a:pt x="293714" y="45360"/>
                    </a:cubicBezTo>
                    <a:lnTo>
                      <a:pt x="293714" y="216951"/>
                    </a:lnTo>
                    <a:cubicBezTo>
                      <a:pt x="293898" y="241786"/>
                      <a:pt x="273909" y="262074"/>
                      <a:pt x="249028" y="262312"/>
                    </a:cubicBezTo>
                    <a:lnTo>
                      <a:pt x="44796" y="262312"/>
                    </a:lnTo>
                    <a:cubicBezTo>
                      <a:pt x="19882" y="262128"/>
                      <a:pt x="-172" y="241829"/>
                      <a:pt x="1" y="216951"/>
                    </a:cubicBezTo>
                    <a:cubicBezTo>
                      <a:pt x="1" y="216951"/>
                      <a:pt x="1" y="216951"/>
                      <a:pt x="1" y="216951"/>
                    </a:cubicBezTo>
                  </a:path>
                </a:pathLst>
              </a:custGeom>
              <a:solidFill>
                <a:srgbClr val="00000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BE1E9CBE-938A-6348-8726-341EFF622D16}"/>
                  </a:ext>
                </a:extLst>
              </p:cNvPr>
              <p:cNvSpPr/>
              <p:nvPr/>
            </p:nvSpPr>
            <p:spPr>
              <a:xfrm>
                <a:off x="10345743" y="3313872"/>
                <a:ext cx="312698" cy="281040"/>
              </a:xfrm>
              <a:custGeom>
                <a:avLst/>
                <a:gdLst>
                  <a:gd name="connsiteX0" fmla="*/ 54233 w 312698"/>
                  <a:gd name="connsiteY0" fmla="*/ 24358 h 281040"/>
                  <a:gd name="connsiteX1" fmla="*/ 24407 w 312698"/>
                  <a:gd name="connsiteY1" fmla="*/ 54671 h 281040"/>
                  <a:gd name="connsiteX2" fmla="*/ 24407 w 312698"/>
                  <a:gd name="connsiteY2" fmla="*/ 226262 h 281040"/>
                  <a:gd name="connsiteX3" fmla="*/ 54233 w 312698"/>
                  <a:gd name="connsiteY3" fmla="*/ 256466 h 281040"/>
                  <a:gd name="connsiteX4" fmla="*/ 54233 w 312698"/>
                  <a:gd name="connsiteY4" fmla="*/ 256466 h 281040"/>
                  <a:gd name="connsiteX5" fmla="*/ 258465 w 312698"/>
                  <a:gd name="connsiteY5" fmla="*/ 256466 h 281040"/>
                  <a:gd name="connsiteX6" fmla="*/ 288292 w 312698"/>
                  <a:gd name="connsiteY6" fmla="*/ 226262 h 281040"/>
                  <a:gd name="connsiteX7" fmla="*/ 288292 w 312698"/>
                  <a:gd name="connsiteY7" fmla="*/ 226262 h 281040"/>
                  <a:gd name="connsiteX8" fmla="*/ 288292 w 312698"/>
                  <a:gd name="connsiteY8" fmla="*/ 54671 h 281040"/>
                  <a:gd name="connsiteX9" fmla="*/ 258465 w 312698"/>
                  <a:gd name="connsiteY9" fmla="*/ 24358 h 281040"/>
                  <a:gd name="connsiteX10" fmla="*/ 258465 w 312698"/>
                  <a:gd name="connsiteY10" fmla="*/ 281041 h 281040"/>
                  <a:gd name="connsiteX11" fmla="*/ 54233 w 312698"/>
                  <a:gd name="connsiteY11" fmla="*/ 281041 h 281040"/>
                  <a:gd name="connsiteX12" fmla="*/ 3 w 312698"/>
                  <a:gd name="connsiteY12" fmla="*/ 226911 h 281040"/>
                  <a:gd name="connsiteX13" fmla="*/ 3 w 312698"/>
                  <a:gd name="connsiteY13" fmla="*/ 226370 h 281040"/>
                  <a:gd name="connsiteX14" fmla="*/ 3 w 312698"/>
                  <a:gd name="connsiteY14" fmla="*/ 54671 h 281040"/>
                  <a:gd name="connsiteX15" fmla="*/ 53691 w 312698"/>
                  <a:gd name="connsiteY15" fmla="*/ 0 h 281040"/>
                  <a:gd name="connsiteX16" fmla="*/ 54233 w 312698"/>
                  <a:gd name="connsiteY16" fmla="*/ 0 h 281040"/>
                  <a:gd name="connsiteX17" fmla="*/ 258465 w 312698"/>
                  <a:gd name="connsiteY17" fmla="*/ 0 h 281040"/>
                  <a:gd name="connsiteX18" fmla="*/ 312696 w 312698"/>
                  <a:gd name="connsiteY18" fmla="*/ 54130 h 281040"/>
                  <a:gd name="connsiteX19" fmla="*/ 312696 w 312698"/>
                  <a:gd name="connsiteY19" fmla="*/ 54671 h 281040"/>
                  <a:gd name="connsiteX20" fmla="*/ 312696 w 312698"/>
                  <a:gd name="connsiteY20" fmla="*/ 226262 h 281040"/>
                  <a:gd name="connsiteX21" fmla="*/ 259008 w 312698"/>
                  <a:gd name="connsiteY21" fmla="*/ 280932 h 281040"/>
                  <a:gd name="connsiteX22" fmla="*/ 258465 w 312698"/>
                  <a:gd name="connsiteY22" fmla="*/ 280932 h 2810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312698" h="281040">
                    <a:moveTo>
                      <a:pt x="54233" y="24358"/>
                    </a:moveTo>
                    <a:cubicBezTo>
                      <a:pt x="37628" y="24542"/>
                      <a:pt x="24287" y="38085"/>
                      <a:pt x="24407" y="54671"/>
                    </a:cubicBezTo>
                    <a:lnTo>
                      <a:pt x="24407" y="226262"/>
                    </a:lnTo>
                    <a:cubicBezTo>
                      <a:pt x="24287" y="242825"/>
                      <a:pt x="37639" y="256347"/>
                      <a:pt x="54233" y="256466"/>
                    </a:cubicBezTo>
                    <a:cubicBezTo>
                      <a:pt x="54233" y="256466"/>
                      <a:pt x="54233" y="256466"/>
                      <a:pt x="54233" y="256466"/>
                    </a:cubicBezTo>
                    <a:lnTo>
                      <a:pt x="258465" y="256466"/>
                    </a:lnTo>
                    <a:cubicBezTo>
                      <a:pt x="275060" y="256347"/>
                      <a:pt x="288412" y="242825"/>
                      <a:pt x="288292" y="226262"/>
                    </a:cubicBezTo>
                    <a:cubicBezTo>
                      <a:pt x="288292" y="226262"/>
                      <a:pt x="288292" y="226262"/>
                      <a:pt x="288292" y="226262"/>
                    </a:cubicBezTo>
                    <a:lnTo>
                      <a:pt x="288292" y="54671"/>
                    </a:lnTo>
                    <a:cubicBezTo>
                      <a:pt x="288412" y="38085"/>
                      <a:pt x="275071" y="24531"/>
                      <a:pt x="258465" y="24358"/>
                    </a:cubicBezTo>
                    <a:close/>
                    <a:moveTo>
                      <a:pt x="258465" y="281041"/>
                    </a:moveTo>
                    <a:lnTo>
                      <a:pt x="54233" y="281041"/>
                    </a:lnTo>
                    <a:cubicBezTo>
                      <a:pt x="24287" y="281041"/>
                      <a:pt x="3" y="256812"/>
                      <a:pt x="3" y="226911"/>
                    </a:cubicBezTo>
                    <a:cubicBezTo>
                      <a:pt x="3" y="226727"/>
                      <a:pt x="3" y="226554"/>
                      <a:pt x="3" y="226370"/>
                    </a:cubicBezTo>
                    <a:lnTo>
                      <a:pt x="3" y="54671"/>
                    </a:lnTo>
                    <a:cubicBezTo>
                      <a:pt x="-301" y="24781"/>
                      <a:pt x="23734" y="303"/>
                      <a:pt x="53691" y="0"/>
                    </a:cubicBezTo>
                    <a:cubicBezTo>
                      <a:pt x="53875" y="0"/>
                      <a:pt x="54049" y="0"/>
                      <a:pt x="54233" y="0"/>
                    </a:cubicBezTo>
                    <a:lnTo>
                      <a:pt x="258465" y="0"/>
                    </a:lnTo>
                    <a:cubicBezTo>
                      <a:pt x="288412" y="0"/>
                      <a:pt x="312696" y="24228"/>
                      <a:pt x="312696" y="54130"/>
                    </a:cubicBezTo>
                    <a:cubicBezTo>
                      <a:pt x="312696" y="54314"/>
                      <a:pt x="312696" y="54487"/>
                      <a:pt x="312696" y="54671"/>
                    </a:cubicBezTo>
                    <a:lnTo>
                      <a:pt x="312696" y="226262"/>
                    </a:lnTo>
                    <a:cubicBezTo>
                      <a:pt x="313000" y="256152"/>
                      <a:pt x="288954" y="280629"/>
                      <a:pt x="259008" y="280932"/>
                    </a:cubicBezTo>
                    <a:cubicBezTo>
                      <a:pt x="258823" y="280932"/>
                      <a:pt x="258650" y="280932"/>
                      <a:pt x="258465" y="280932"/>
                    </a:cubicBezTo>
                  </a:path>
                </a:pathLst>
              </a:custGeom>
              <a:solidFill>
                <a:srgbClr val="231F2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05226A3F-D06E-DB4E-8DA0-DE388CC0EE71}"/>
                  </a:ext>
                </a:extLst>
              </p:cNvPr>
              <p:cNvSpPr/>
              <p:nvPr/>
            </p:nvSpPr>
            <p:spPr>
              <a:xfrm>
                <a:off x="10651281" y="3370600"/>
                <a:ext cx="66856" cy="165419"/>
              </a:xfrm>
              <a:custGeom>
                <a:avLst/>
                <a:gdLst>
                  <a:gd name="connsiteX0" fmla="*/ 0 w 66856"/>
                  <a:gd name="connsiteY0" fmla="*/ 165420 h 165419"/>
                  <a:gd name="connsiteX1" fmla="*/ 59871 w 66856"/>
                  <a:gd name="connsiteY1" fmla="*/ 156435 h 165419"/>
                  <a:gd name="connsiteX2" fmla="*/ 66812 w 66856"/>
                  <a:gd name="connsiteY2" fmla="*/ 147449 h 165419"/>
                  <a:gd name="connsiteX3" fmla="*/ 66812 w 66856"/>
                  <a:gd name="connsiteY3" fmla="*/ 17971 h 165419"/>
                  <a:gd name="connsiteX4" fmla="*/ 59871 w 66856"/>
                  <a:gd name="connsiteY4" fmla="*/ 8986 h 165419"/>
                  <a:gd name="connsiteX5" fmla="*/ 0 w 66856"/>
                  <a:gd name="connsiteY5" fmla="*/ 0 h 1654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6856" h="165419">
                    <a:moveTo>
                      <a:pt x="0" y="165420"/>
                    </a:moveTo>
                    <a:lnTo>
                      <a:pt x="59871" y="156435"/>
                    </a:lnTo>
                    <a:cubicBezTo>
                      <a:pt x="64220" y="155763"/>
                      <a:pt x="67268" y="151812"/>
                      <a:pt x="66812" y="147449"/>
                    </a:cubicBezTo>
                    <a:lnTo>
                      <a:pt x="66812" y="17971"/>
                    </a:lnTo>
                    <a:cubicBezTo>
                      <a:pt x="67268" y="13608"/>
                      <a:pt x="64209" y="9657"/>
                      <a:pt x="59871" y="8986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E75C3B3A-3B03-C84A-B805-A187E8877475}"/>
                  </a:ext>
                </a:extLst>
              </p:cNvPr>
              <p:cNvSpPr/>
              <p:nvPr/>
            </p:nvSpPr>
            <p:spPr>
              <a:xfrm>
                <a:off x="10283441" y="3370708"/>
                <a:ext cx="66859" cy="165744"/>
              </a:xfrm>
              <a:custGeom>
                <a:avLst/>
                <a:gdLst>
                  <a:gd name="connsiteX0" fmla="*/ 66860 w 66859"/>
                  <a:gd name="connsiteY0" fmla="*/ 0 h 165744"/>
                  <a:gd name="connsiteX1" fmla="*/ 6880 w 66859"/>
                  <a:gd name="connsiteY1" fmla="*/ 8985 h 165744"/>
                  <a:gd name="connsiteX2" fmla="*/ 48 w 66859"/>
                  <a:gd name="connsiteY2" fmla="*/ 17971 h 165744"/>
                  <a:gd name="connsiteX3" fmla="*/ 48 w 66859"/>
                  <a:gd name="connsiteY3" fmla="*/ 147774 h 165744"/>
                  <a:gd name="connsiteX4" fmla="*/ 6880 w 66859"/>
                  <a:gd name="connsiteY4" fmla="*/ 156759 h 165744"/>
                  <a:gd name="connsiteX5" fmla="*/ 66860 w 66859"/>
                  <a:gd name="connsiteY5" fmla="*/ 165745 h 165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6859" h="165744">
                    <a:moveTo>
                      <a:pt x="66860" y="0"/>
                    </a:moveTo>
                    <a:lnTo>
                      <a:pt x="6880" y="8985"/>
                    </a:lnTo>
                    <a:cubicBezTo>
                      <a:pt x="2575" y="9700"/>
                      <a:pt x="-419" y="13641"/>
                      <a:pt x="48" y="17971"/>
                    </a:cubicBezTo>
                    <a:lnTo>
                      <a:pt x="48" y="147774"/>
                    </a:lnTo>
                    <a:cubicBezTo>
                      <a:pt x="-419" y="152104"/>
                      <a:pt x="2585" y="156034"/>
                      <a:pt x="6880" y="156759"/>
                    </a:cubicBezTo>
                    <a:lnTo>
                      <a:pt x="66860" y="165745"/>
                    </a:lnTo>
                    <a:close/>
                  </a:path>
                </a:pathLst>
              </a:custGeom>
              <a:solidFill>
                <a:srgbClr val="00000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2AEB8AF2-2640-2A45-AB40-3CEB5DE00E15}"/>
                  </a:ext>
                </a:extLst>
              </p:cNvPr>
              <p:cNvSpPr/>
              <p:nvPr/>
            </p:nvSpPr>
            <p:spPr>
              <a:xfrm>
                <a:off x="10537064" y="3589392"/>
                <a:ext cx="39060" cy="22196"/>
              </a:xfrm>
              <a:custGeom>
                <a:avLst/>
                <a:gdLst>
                  <a:gd name="connsiteX0" fmla="*/ 7 w 39060"/>
                  <a:gd name="connsiteY0" fmla="*/ 0 h 22196"/>
                  <a:gd name="connsiteX1" fmla="*/ 7 w 39060"/>
                  <a:gd name="connsiteY1" fmla="*/ 13208 h 22196"/>
                  <a:gd name="connsiteX2" fmla="*/ 8348 w 39060"/>
                  <a:gd name="connsiteY2" fmla="*/ 22193 h 22196"/>
                  <a:gd name="connsiteX3" fmla="*/ 8900 w 39060"/>
                  <a:gd name="connsiteY3" fmla="*/ 22193 h 22196"/>
                  <a:gd name="connsiteX4" fmla="*/ 30159 w 39060"/>
                  <a:gd name="connsiteY4" fmla="*/ 22193 h 22196"/>
                  <a:gd name="connsiteX5" fmla="*/ 39053 w 39060"/>
                  <a:gd name="connsiteY5" fmla="*/ 13760 h 22196"/>
                  <a:gd name="connsiteX6" fmla="*/ 39053 w 39060"/>
                  <a:gd name="connsiteY6" fmla="*/ 13208 h 22196"/>
                  <a:gd name="connsiteX7" fmla="*/ 39053 w 39060"/>
                  <a:gd name="connsiteY7" fmla="*/ 0 h 22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060" h="22196">
                    <a:moveTo>
                      <a:pt x="7" y="0"/>
                    </a:moveTo>
                    <a:lnTo>
                      <a:pt x="7" y="13208"/>
                    </a:lnTo>
                    <a:cubicBezTo>
                      <a:pt x="-178" y="17982"/>
                      <a:pt x="3564" y="22009"/>
                      <a:pt x="8348" y="22193"/>
                    </a:cubicBezTo>
                    <a:cubicBezTo>
                      <a:pt x="8532" y="22193"/>
                      <a:pt x="8716" y="22193"/>
                      <a:pt x="8900" y="22193"/>
                    </a:cubicBezTo>
                    <a:lnTo>
                      <a:pt x="30159" y="22193"/>
                    </a:lnTo>
                    <a:cubicBezTo>
                      <a:pt x="34953" y="22312"/>
                      <a:pt x="38934" y="18545"/>
                      <a:pt x="39053" y="13760"/>
                    </a:cubicBezTo>
                    <a:cubicBezTo>
                      <a:pt x="39063" y="13576"/>
                      <a:pt x="39063" y="13392"/>
                      <a:pt x="39053" y="13208"/>
                    </a:cubicBezTo>
                    <a:lnTo>
                      <a:pt x="39053" y="0"/>
                    </a:lnTo>
                    <a:close/>
                  </a:path>
                </a:pathLst>
              </a:custGeom>
              <a:solidFill>
                <a:srgbClr val="00000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8C6FB627-1D4D-6747-BD9E-297B8BC51771}"/>
                  </a:ext>
                </a:extLst>
              </p:cNvPr>
              <p:cNvSpPr/>
              <p:nvPr/>
            </p:nvSpPr>
            <p:spPr>
              <a:xfrm>
                <a:off x="10541626" y="3378719"/>
                <a:ext cx="48287" cy="41246"/>
              </a:xfrm>
              <a:custGeom>
                <a:avLst/>
                <a:gdLst>
                  <a:gd name="connsiteX0" fmla="*/ 0 w 48287"/>
                  <a:gd name="connsiteY0" fmla="*/ 20678 h 41246"/>
                  <a:gd name="connsiteX1" fmla="*/ 0 w 48287"/>
                  <a:gd name="connsiteY1" fmla="*/ 20678 h 41246"/>
                  <a:gd name="connsiteX2" fmla="*/ 20391 w 48287"/>
                  <a:gd name="connsiteY2" fmla="*/ 0 h 41246"/>
                  <a:gd name="connsiteX3" fmla="*/ 29068 w 48287"/>
                  <a:gd name="connsiteY3" fmla="*/ 0 h 41246"/>
                  <a:gd name="connsiteX4" fmla="*/ 48233 w 48287"/>
                  <a:gd name="connsiteY4" fmla="*/ 22117 h 41246"/>
                  <a:gd name="connsiteX5" fmla="*/ 29068 w 48287"/>
                  <a:gd name="connsiteY5" fmla="*/ 41247 h 41246"/>
                  <a:gd name="connsiteX6" fmla="*/ 20391 w 48287"/>
                  <a:gd name="connsiteY6" fmla="*/ 41247 h 41246"/>
                  <a:gd name="connsiteX7" fmla="*/ 0 w 48287"/>
                  <a:gd name="connsiteY7" fmla="*/ 20678 h 41246"/>
                  <a:gd name="connsiteX8" fmla="*/ 0 w 48287"/>
                  <a:gd name="connsiteY8" fmla="*/ 20678 h 41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287" h="41246">
                    <a:moveTo>
                      <a:pt x="0" y="20678"/>
                    </a:moveTo>
                    <a:lnTo>
                      <a:pt x="0" y="20678"/>
                    </a:lnTo>
                    <a:cubicBezTo>
                      <a:pt x="-65" y="9364"/>
                      <a:pt x="9056" y="119"/>
                      <a:pt x="20391" y="0"/>
                    </a:cubicBezTo>
                    <a:lnTo>
                      <a:pt x="29068" y="0"/>
                    </a:lnTo>
                    <a:cubicBezTo>
                      <a:pt x="40478" y="823"/>
                      <a:pt x="49057" y="10728"/>
                      <a:pt x="48233" y="22117"/>
                    </a:cubicBezTo>
                    <a:cubicBezTo>
                      <a:pt x="47485" y="32359"/>
                      <a:pt x="39328" y="40500"/>
                      <a:pt x="29068" y="41247"/>
                    </a:cubicBezTo>
                    <a:lnTo>
                      <a:pt x="20391" y="41247"/>
                    </a:lnTo>
                    <a:cubicBezTo>
                      <a:pt x="9068" y="41182"/>
                      <a:pt x="-54" y="31980"/>
                      <a:pt x="0" y="20678"/>
                    </a:cubicBezTo>
                    <a:cubicBezTo>
                      <a:pt x="0" y="20678"/>
                      <a:pt x="0" y="20678"/>
                      <a:pt x="0" y="20678"/>
                    </a:cubicBezTo>
                  </a:path>
                </a:pathLst>
              </a:custGeom>
              <a:solidFill>
                <a:srgbClr val="00000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2351FE40-0257-A04F-A7A2-A31C22D2A829}"/>
                  </a:ext>
                </a:extLst>
              </p:cNvPr>
              <p:cNvSpPr/>
              <p:nvPr/>
            </p:nvSpPr>
            <p:spPr>
              <a:xfrm>
                <a:off x="10541626" y="3495747"/>
                <a:ext cx="48287" cy="41246"/>
              </a:xfrm>
              <a:custGeom>
                <a:avLst/>
                <a:gdLst>
                  <a:gd name="connsiteX0" fmla="*/ 0 w 48287"/>
                  <a:gd name="connsiteY0" fmla="*/ 20569 h 41246"/>
                  <a:gd name="connsiteX1" fmla="*/ 0 w 48287"/>
                  <a:gd name="connsiteY1" fmla="*/ 20569 h 41246"/>
                  <a:gd name="connsiteX2" fmla="*/ 20391 w 48287"/>
                  <a:gd name="connsiteY2" fmla="*/ 0 h 41246"/>
                  <a:gd name="connsiteX3" fmla="*/ 29068 w 48287"/>
                  <a:gd name="connsiteY3" fmla="*/ 0 h 41246"/>
                  <a:gd name="connsiteX4" fmla="*/ 48233 w 48287"/>
                  <a:gd name="connsiteY4" fmla="*/ 22117 h 41246"/>
                  <a:gd name="connsiteX5" fmla="*/ 29068 w 48287"/>
                  <a:gd name="connsiteY5" fmla="*/ 41247 h 41246"/>
                  <a:gd name="connsiteX6" fmla="*/ 20391 w 48287"/>
                  <a:gd name="connsiteY6" fmla="*/ 41247 h 41246"/>
                  <a:gd name="connsiteX7" fmla="*/ 0 w 48287"/>
                  <a:gd name="connsiteY7" fmla="*/ 20569 h 41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287" h="41246">
                    <a:moveTo>
                      <a:pt x="0" y="20569"/>
                    </a:moveTo>
                    <a:lnTo>
                      <a:pt x="0" y="20569"/>
                    </a:lnTo>
                    <a:cubicBezTo>
                      <a:pt x="0" y="9289"/>
                      <a:pt x="9100" y="119"/>
                      <a:pt x="20391" y="0"/>
                    </a:cubicBezTo>
                    <a:lnTo>
                      <a:pt x="29068" y="0"/>
                    </a:lnTo>
                    <a:cubicBezTo>
                      <a:pt x="40478" y="823"/>
                      <a:pt x="49057" y="10728"/>
                      <a:pt x="48233" y="22117"/>
                    </a:cubicBezTo>
                    <a:cubicBezTo>
                      <a:pt x="47485" y="32359"/>
                      <a:pt x="39328" y="40500"/>
                      <a:pt x="29068" y="41247"/>
                    </a:cubicBezTo>
                    <a:lnTo>
                      <a:pt x="20391" y="41247"/>
                    </a:lnTo>
                    <a:cubicBezTo>
                      <a:pt x="9056" y="41128"/>
                      <a:pt x="-65" y="31882"/>
                      <a:pt x="0" y="20569"/>
                    </a:cubicBezTo>
                  </a:path>
                </a:pathLst>
              </a:custGeom>
              <a:solidFill>
                <a:srgbClr val="00000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1C21566B-D059-334A-93B7-0F80BE4F1773}"/>
                  </a:ext>
                </a:extLst>
              </p:cNvPr>
              <p:cNvSpPr/>
              <p:nvPr/>
            </p:nvSpPr>
            <p:spPr>
              <a:xfrm>
                <a:off x="10541626" y="3437396"/>
                <a:ext cx="48287" cy="41246"/>
              </a:xfrm>
              <a:custGeom>
                <a:avLst/>
                <a:gdLst>
                  <a:gd name="connsiteX0" fmla="*/ 0 w 48287"/>
                  <a:gd name="connsiteY0" fmla="*/ 20569 h 41246"/>
                  <a:gd name="connsiteX1" fmla="*/ 0 w 48287"/>
                  <a:gd name="connsiteY1" fmla="*/ 20569 h 41246"/>
                  <a:gd name="connsiteX2" fmla="*/ 20391 w 48287"/>
                  <a:gd name="connsiteY2" fmla="*/ 0 h 41246"/>
                  <a:gd name="connsiteX3" fmla="*/ 20391 w 48287"/>
                  <a:gd name="connsiteY3" fmla="*/ 0 h 41246"/>
                  <a:gd name="connsiteX4" fmla="*/ 29068 w 48287"/>
                  <a:gd name="connsiteY4" fmla="*/ 0 h 41246"/>
                  <a:gd name="connsiteX5" fmla="*/ 48233 w 48287"/>
                  <a:gd name="connsiteY5" fmla="*/ 22117 h 41246"/>
                  <a:gd name="connsiteX6" fmla="*/ 29068 w 48287"/>
                  <a:gd name="connsiteY6" fmla="*/ 41247 h 41246"/>
                  <a:gd name="connsiteX7" fmla="*/ 20391 w 48287"/>
                  <a:gd name="connsiteY7" fmla="*/ 41247 h 41246"/>
                  <a:gd name="connsiteX8" fmla="*/ 0 w 48287"/>
                  <a:gd name="connsiteY8" fmla="*/ 20569 h 41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287" h="41246">
                    <a:moveTo>
                      <a:pt x="0" y="20569"/>
                    </a:moveTo>
                    <a:lnTo>
                      <a:pt x="0" y="20569"/>
                    </a:lnTo>
                    <a:cubicBezTo>
                      <a:pt x="-65" y="9267"/>
                      <a:pt x="9068" y="65"/>
                      <a:pt x="20391" y="0"/>
                    </a:cubicBezTo>
                    <a:cubicBezTo>
                      <a:pt x="20391" y="0"/>
                      <a:pt x="20391" y="0"/>
                      <a:pt x="20391" y="0"/>
                    </a:cubicBezTo>
                    <a:lnTo>
                      <a:pt x="29068" y="0"/>
                    </a:lnTo>
                    <a:cubicBezTo>
                      <a:pt x="40478" y="823"/>
                      <a:pt x="49057" y="10729"/>
                      <a:pt x="48233" y="22117"/>
                    </a:cubicBezTo>
                    <a:cubicBezTo>
                      <a:pt x="47485" y="32359"/>
                      <a:pt x="39328" y="40500"/>
                      <a:pt x="29068" y="41247"/>
                    </a:cubicBezTo>
                    <a:lnTo>
                      <a:pt x="20391" y="41247"/>
                    </a:lnTo>
                    <a:cubicBezTo>
                      <a:pt x="9056" y="41128"/>
                      <a:pt x="-65" y="31882"/>
                      <a:pt x="0" y="20569"/>
                    </a:cubicBezTo>
                  </a:path>
                </a:pathLst>
              </a:custGeom>
              <a:solidFill>
                <a:srgbClr val="00000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9EB49EA0-2519-9149-BB89-B0EA8BDA41CA}"/>
                  </a:ext>
                </a:extLst>
              </p:cNvPr>
              <p:cNvSpPr/>
              <p:nvPr/>
            </p:nvSpPr>
            <p:spPr>
              <a:xfrm>
                <a:off x="10475140" y="3378719"/>
                <a:ext cx="48287" cy="41246"/>
              </a:xfrm>
              <a:custGeom>
                <a:avLst/>
                <a:gdLst>
                  <a:gd name="connsiteX0" fmla="*/ 0 w 48287"/>
                  <a:gd name="connsiteY0" fmla="*/ 20678 h 41246"/>
                  <a:gd name="connsiteX1" fmla="*/ 0 w 48287"/>
                  <a:gd name="connsiteY1" fmla="*/ 20678 h 41246"/>
                  <a:gd name="connsiteX2" fmla="*/ 20391 w 48287"/>
                  <a:gd name="connsiteY2" fmla="*/ 0 h 41246"/>
                  <a:gd name="connsiteX3" fmla="*/ 29068 w 48287"/>
                  <a:gd name="connsiteY3" fmla="*/ 0 h 41246"/>
                  <a:gd name="connsiteX4" fmla="*/ 48233 w 48287"/>
                  <a:gd name="connsiteY4" fmla="*/ 22117 h 41246"/>
                  <a:gd name="connsiteX5" fmla="*/ 29068 w 48287"/>
                  <a:gd name="connsiteY5" fmla="*/ 41247 h 41246"/>
                  <a:gd name="connsiteX6" fmla="*/ 20391 w 48287"/>
                  <a:gd name="connsiteY6" fmla="*/ 41247 h 41246"/>
                  <a:gd name="connsiteX7" fmla="*/ 0 w 48287"/>
                  <a:gd name="connsiteY7" fmla="*/ 20678 h 41246"/>
                  <a:gd name="connsiteX8" fmla="*/ 0 w 48287"/>
                  <a:gd name="connsiteY8" fmla="*/ 20678 h 41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287" h="41246">
                    <a:moveTo>
                      <a:pt x="0" y="20678"/>
                    </a:moveTo>
                    <a:lnTo>
                      <a:pt x="0" y="20678"/>
                    </a:lnTo>
                    <a:cubicBezTo>
                      <a:pt x="-65" y="9364"/>
                      <a:pt x="9056" y="119"/>
                      <a:pt x="20391" y="0"/>
                    </a:cubicBezTo>
                    <a:lnTo>
                      <a:pt x="29068" y="0"/>
                    </a:lnTo>
                    <a:cubicBezTo>
                      <a:pt x="40478" y="823"/>
                      <a:pt x="49057" y="10728"/>
                      <a:pt x="48233" y="22117"/>
                    </a:cubicBezTo>
                    <a:cubicBezTo>
                      <a:pt x="47485" y="32359"/>
                      <a:pt x="39328" y="40500"/>
                      <a:pt x="29068" y="41247"/>
                    </a:cubicBezTo>
                    <a:lnTo>
                      <a:pt x="20391" y="41247"/>
                    </a:lnTo>
                    <a:cubicBezTo>
                      <a:pt x="9068" y="41182"/>
                      <a:pt x="-54" y="31980"/>
                      <a:pt x="0" y="20678"/>
                    </a:cubicBezTo>
                    <a:cubicBezTo>
                      <a:pt x="0" y="20678"/>
                      <a:pt x="0" y="20678"/>
                      <a:pt x="0" y="20678"/>
                    </a:cubicBezTo>
                  </a:path>
                </a:pathLst>
              </a:custGeom>
              <a:solidFill>
                <a:srgbClr val="00000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A845B076-DDF9-0446-A32D-DEE02B047358}"/>
                  </a:ext>
                </a:extLst>
              </p:cNvPr>
              <p:cNvSpPr/>
              <p:nvPr/>
            </p:nvSpPr>
            <p:spPr>
              <a:xfrm>
                <a:off x="10475140" y="3495747"/>
                <a:ext cx="48287" cy="41246"/>
              </a:xfrm>
              <a:custGeom>
                <a:avLst/>
                <a:gdLst>
                  <a:gd name="connsiteX0" fmla="*/ 0 w 48287"/>
                  <a:gd name="connsiteY0" fmla="*/ 20569 h 41246"/>
                  <a:gd name="connsiteX1" fmla="*/ 0 w 48287"/>
                  <a:gd name="connsiteY1" fmla="*/ 20569 h 41246"/>
                  <a:gd name="connsiteX2" fmla="*/ 20391 w 48287"/>
                  <a:gd name="connsiteY2" fmla="*/ 0 h 41246"/>
                  <a:gd name="connsiteX3" fmla="*/ 20391 w 48287"/>
                  <a:gd name="connsiteY3" fmla="*/ 0 h 41246"/>
                  <a:gd name="connsiteX4" fmla="*/ 29068 w 48287"/>
                  <a:gd name="connsiteY4" fmla="*/ 0 h 41246"/>
                  <a:gd name="connsiteX5" fmla="*/ 48233 w 48287"/>
                  <a:gd name="connsiteY5" fmla="*/ 22117 h 41246"/>
                  <a:gd name="connsiteX6" fmla="*/ 29068 w 48287"/>
                  <a:gd name="connsiteY6" fmla="*/ 41247 h 41246"/>
                  <a:gd name="connsiteX7" fmla="*/ 20391 w 48287"/>
                  <a:gd name="connsiteY7" fmla="*/ 41247 h 41246"/>
                  <a:gd name="connsiteX8" fmla="*/ 0 w 48287"/>
                  <a:gd name="connsiteY8" fmla="*/ 20569 h 41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287" h="41246">
                    <a:moveTo>
                      <a:pt x="0" y="20569"/>
                    </a:moveTo>
                    <a:lnTo>
                      <a:pt x="0" y="20569"/>
                    </a:lnTo>
                    <a:cubicBezTo>
                      <a:pt x="-65" y="9267"/>
                      <a:pt x="9068" y="65"/>
                      <a:pt x="20391" y="0"/>
                    </a:cubicBezTo>
                    <a:cubicBezTo>
                      <a:pt x="20391" y="0"/>
                      <a:pt x="20391" y="0"/>
                      <a:pt x="20391" y="0"/>
                    </a:cubicBezTo>
                    <a:lnTo>
                      <a:pt x="29068" y="0"/>
                    </a:lnTo>
                    <a:cubicBezTo>
                      <a:pt x="40478" y="823"/>
                      <a:pt x="49057" y="10728"/>
                      <a:pt x="48233" y="22117"/>
                    </a:cubicBezTo>
                    <a:cubicBezTo>
                      <a:pt x="47485" y="32359"/>
                      <a:pt x="39328" y="40500"/>
                      <a:pt x="29068" y="41247"/>
                    </a:cubicBezTo>
                    <a:lnTo>
                      <a:pt x="20391" y="41247"/>
                    </a:lnTo>
                    <a:cubicBezTo>
                      <a:pt x="9056" y="41128"/>
                      <a:pt x="-65" y="31882"/>
                      <a:pt x="0" y="20569"/>
                    </a:cubicBezTo>
                  </a:path>
                </a:pathLst>
              </a:custGeom>
              <a:solidFill>
                <a:srgbClr val="00000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0B6377FD-3297-9741-89A9-EF7B90772297}"/>
                  </a:ext>
                </a:extLst>
              </p:cNvPr>
              <p:cNvSpPr/>
              <p:nvPr/>
            </p:nvSpPr>
            <p:spPr>
              <a:xfrm>
                <a:off x="10475140" y="3437396"/>
                <a:ext cx="48287" cy="41246"/>
              </a:xfrm>
              <a:custGeom>
                <a:avLst/>
                <a:gdLst>
                  <a:gd name="connsiteX0" fmla="*/ 0 w 48287"/>
                  <a:gd name="connsiteY0" fmla="*/ 20569 h 41246"/>
                  <a:gd name="connsiteX1" fmla="*/ 0 w 48287"/>
                  <a:gd name="connsiteY1" fmla="*/ 20569 h 41246"/>
                  <a:gd name="connsiteX2" fmla="*/ 20391 w 48287"/>
                  <a:gd name="connsiteY2" fmla="*/ 0 h 41246"/>
                  <a:gd name="connsiteX3" fmla="*/ 20391 w 48287"/>
                  <a:gd name="connsiteY3" fmla="*/ 0 h 41246"/>
                  <a:gd name="connsiteX4" fmla="*/ 29068 w 48287"/>
                  <a:gd name="connsiteY4" fmla="*/ 0 h 41246"/>
                  <a:gd name="connsiteX5" fmla="*/ 48233 w 48287"/>
                  <a:gd name="connsiteY5" fmla="*/ 22117 h 41246"/>
                  <a:gd name="connsiteX6" fmla="*/ 29068 w 48287"/>
                  <a:gd name="connsiteY6" fmla="*/ 41247 h 41246"/>
                  <a:gd name="connsiteX7" fmla="*/ 20391 w 48287"/>
                  <a:gd name="connsiteY7" fmla="*/ 41247 h 41246"/>
                  <a:gd name="connsiteX8" fmla="*/ 0 w 48287"/>
                  <a:gd name="connsiteY8" fmla="*/ 20569 h 41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287" h="41246">
                    <a:moveTo>
                      <a:pt x="0" y="20569"/>
                    </a:moveTo>
                    <a:lnTo>
                      <a:pt x="0" y="20569"/>
                    </a:lnTo>
                    <a:cubicBezTo>
                      <a:pt x="-65" y="9267"/>
                      <a:pt x="9068" y="65"/>
                      <a:pt x="20391" y="0"/>
                    </a:cubicBezTo>
                    <a:cubicBezTo>
                      <a:pt x="20391" y="0"/>
                      <a:pt x="20391" y="0"/>
                      <a:pt x="20391" y="0"/>
                    </a:cubicBezTo>
                    <a:lnTo>
                      <a:pt x="29068" y="0"/>
                    </a:lnTo>
                    <a:cubicBezTo>
                      <a:pt x="40478" y="823"/>
                      <a:pt x="49057" y="10729"/>
                      <a:pt x="48233" y="22117"/>
                    </a:cubicBezTo>
                    <a:cubicBezTo>
                      <a:pt x="47485" y="32359"/>
                      <a:pt x="39328" y="40500"/>
                      <a:pt x="29068" y="41247"/>
                    </a:cubicBezTo>
                    <a:lnTo>
                      <a:pt x="20391" y="41247"/>
                    </a:lnTo>
                    <a:cubicBezTo>
                      <a:pt x="9056" y="41128"/>
                      <a:pt x="-65" y="31882"/>
                      <a:pt x="0" y="20569"/>
                    </a:cubicBezTo>
                  </a:path>
                </a:pathLst>
              </a:custGeom>
              <a:solidFill>
                <a:srgbClr val="00000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A9EFEE14-4A30-0246-93B5-E0C7AB4007D0}"/>
                  </a:ext>
                </a:extLst>
              </p:cNvPr>
              <p:cNvSpPr/>
              <p:nvPr/>
            </p:nvSpPr>
            <p:spPr>
              <a:xfrm>
                <a:off x="10407785" y="3378719"/>
                <a:ext cx="48505" cy="41246"/>
              </a:xfrm>
              <a:custGeom>
                <a:avLst/>
                <a:gdLst>
                  <a:gd name="connsiteX0" fmla="*/ 0 w 48505"/>
                  <a:gd name="connsiteY0" fmla="*/ 20678 h 41246"/>
                  <a:gd name="connsiteX1" fmla="*/ 0 w 48505"/>
                  <a:gd name="connsiteY1" fmla="*/ 20678 h 41246"/>
                  <a:gd name="connsiteX2" fmla="*/ 20283 w 48505"/>
                  <a:gd name="connsiteY2" fmla="*/ 0 h 41246"/>
                  <a:gd name="connsiteX3" fmla="*/ 29285 w 48505"/>
                  <a:gd name="connsiteY3" fmla="*/ 0 h 41246"/>
                  <a:gd name="connsiteX4" fmla="*/ 48450 w 48505"/>
                  <a:gd name="connsiteY4" fmla="*/ 22117 h 41246"/>
                  <a:gd name="connsiteX5" fmla="*/ 29285 w 48505"/>
                  <a:gd name="connsiteY5" fmla="*/ 41247 h 41246"/>
                  <a:gd name="connsiteX6" fmla="*/ 20500 w 48505"/>
                  <a:gd name="connsiteY6" fmla="*/ 41247 h 41246"/>
                  <a:gd name="connsiteX7" fmla="*/ 217 w 48505"/>
                  <a:gd name="connsiteY7" fmla="*/ 20678 h 41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505" h="41246">
                    <a:moveTo>
                      <a:pt x="0" y="20678"/>
                    </a:moveTo>
                    <a:lnTo>
                      <a:pt x="0" y="20678"/>
                    </a:lnTo>
                    <a:cubicBezTo>
                      <a:pt x="-65" y="9397"/>
                      <a:pt x="8981" y="173"/>
                      <a:pt x="20283" y="0"/>
                    </a:cubicBezTo>
                    <a:lnTo>
                      <a:pt x="29285" y="0"/>
                    </a:lnTo>
                    <a:cubicBezTo>
                      <a:pt x="40695" y="823"/>
                      <a:pt x="49275" y="10728"/>
                      <a:pt x="48450" y="22117"/>
                    </a:cubicBezTo>
                    <a:cubicBezTo>
                      <a:pt x="47702" y="32359"/>
                      <a:pt x="39545" y="40500"/>
                      <a:pt x="29285" y="41247"/>
                    </a:cubicBezTo>
                    <a:lnTo>
                      <a:pt x="20500" y="41247"/>
                    </a:lnTo>
                    <a:cubicBezTo>
                      <a:pt x="9220" y="41128"/>
                      <a:pt x="153" y="31936"/>
                      <a:pt x="217" y="20678"/>
                    </a:cubicBezTo>
                  </a:path>
                </a:pathLst>
              </a:custGeom>
              <a:solidFill>
                <a:srgbClr val="00000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FA8E647-0A19-6E44-99C3-A70C0B25A4E5}"/>
                  </a:ext>
                </a:extLst>
              </p:cNvPr>
              <p:cNvSpPr/>
              <p:nvPr/>
            </p:nvSpPr>
            <p:spPr>
              <a:xfrm>
                <a:off x="10407785" y="3495747"/>
                <a:ext cx="48504" cy="41246"/>
              </a:xfrm>
              <a:custGeom>
                <a:avLst/>
                <a:gdLst>
                  <a:gd name="connsiteX0" fmla="*/ 0 w 48504"/>
                  <a:gd name="connsiteY0" fmla="*/ 20569 h 41246"/>
                  <a:gd name="connsiteX1" fmla="*/ 0 w 48504"/>
                  <a:gd name="connsiteY1" fmla="*/ 20569 h 41246"/>
                  <a:gd name="connsiteX2" fmla="*/ 20282 w 48504"/>
                  <a:gd name="connsiteY2" fmla="*/ 0 h 41246"/>
                  <a:gd name="connsiteX3" fmla="*/ 29285 w 48504"/>
                  <a:gd name="connsiteY3" fmla="*/ 0 h 41246"/>
                  <a:gd name="connsiteX4" fmla="*/ 48450 w 48504"/>
                  <a:gd name="connsiteY4" fmla="*/ 22117 h 41246"/>
                  <a:gd name="connsiteX5" fmla="*/ 29285 w 48504"/>
                  <a:gd name="connsiteY5" fmla="*/ 41247 h 41246"/>
                  <a:gd name="connsiteX6" fmla="*/ 20499 w 48504"/>
                  <a:gd name="connsiteY6" fmla="*/ 41247 h 41246"/>
                  <a:gd name="connsiteX7" fmla="*/ 217 w 48504"/>
                  <a:gd name="connsiteY7" fmla="*/ 20569 h 41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504" h="41246">
                    <a:moveTo>
                      <a:pt x="0" y="20569"/>
                    </a:moveTo>
                    <a:lnTo>
                      <a:pt x="0" y="20569"/>
                    </a:lnTo>
                    <a:cubicBezTo>
                      <a:pt x="0" y="9332"/>
                      <a:pt x="9024" y="173"/>
                      <a:pt x="20282" y="0"/>
                    </a:cubicBezTo>
                    <a:lnTo>
                      <a:pt x="29285" y="0"/>
                    </a:lnTo>
                    <a:cubicBezTo>
                      <a:pt x="40695" y="823"/>
                      <a:pt x="49274" y="10728"/>
                      <a:pt x="48450" y="22117"/>
                    </a:cubicBezTo>
                    <a:cubicBezTo>
                      <a:pt x="47701" y="32359"/>
                      <a:pt x="39545" y="40500"/>
                      <a:pt x="29285" y="41247"/>
                    </a:cubicBezTo>
                    <a:lnTo>
                      <a:pt x="20499" y="41247"/>
                    </a:lnTo>
                    <a:cubicBezTo>
                      <a:pt x="9198" y="41074"/>
                      <a:pt x="152" y="31850"/>
                      <a:pt x="217" y="20569"/>
                    </a:cubicBezTo>
                  </a:path>
                </a:pathLst>
              </a:custGeom>
              <a:solidFill>
                <a:srgbClr val="00000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6C225665-406C-1B47-BD41-9ADDF5A0AAA7}"/>
                  </a:ext>
                </a:extLst>
              </p:cNvPr>
              <p:cNvSpPr/>
              <p:nvPr/>
            </p:nvSpPr>
            <p:spPr>
              <a:xfrm>
                <a:off x="10407785" y="3437396"/>
                <a:ext cx="48505" cy="41246"/>
              </a:xfrm>
              <a:custGeom>
                <a:avLst/>
                <a:gdLst>
                  <a:gd name="connsiteX0" fmla="*/ 0 w 48505"/>
                  <a:gd name="connsiteY0" fmla="*/ 20569 h 41246"/>
                  <a:gd name="connsiteX1" fmla="*/ 0 w 48505"/>
                  <a:gd name="connsiteY1" fmla="*/ 20569 h 41246"/>
                  <a:gd name="connsiteX2" fmla="*/ 20283 w 48505"/>
                  <a:gd name="connsiteY2" fmla="*/ 0 h 41246"/>
                  <a:gd name="connsiteX3" fmla="*/ 29285 w 48505"/>
                  <a:gd name="connsiteY3" fmla="*/ 0 h 41246"/>
                  <a:gd name="connsiteX4" fmla="*/ 48450 w 48505"/>
                  <a:gd name="connsiteY4" fmla="*/ 22117 h 41246"/>
                  <a:gd name="connsiteX5" fmla="*/ 29285 w 48505"/>
                  <a:gd name="connsiteY5" fmla="*/ 41247 h 41246"/>
                  <a:gd name="connsiteX6" fmla="*/ 20500 w 48505"/>
                  <a:gd name="connsiteY6" fmla="*/ 41247 h 41246"/>
                  <a:gd name="connsiteX7" fmla="*/ 217 w 48505"/>
                  <a:gd name="connsiteY7" fmla="*/ 20569 h 41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505" h="41246">
                    <a:moveTo>
                      <a:pt x="0" y="20569"/>
                    </a:moveTo>
                    <a:lnTo>
                      <a:pt x="0" y="20569"/>
                    </a:lnTo>
                    <a:cubicBezTo>
                      <a:pt x="-65" y="9310"/>
                      <a:pt x="9003" y="119"/>
                      <a:pt x="20283" y="0"/>
                    </a:cubicBezTo>
                    <a:lnTo>
                      <a:pt x="29285" y="0"/>
                    </a:lnTo>
                    <a:cubicBezTo>
                      <a:pt x="40695" y="823"/>
                      <a:pt x="49275" y="10729"/>
                      <a:pt x="48450" y="22117"/>
                    </a:cubicBezTo>
                    <a:cubicBezTo>
                      <a:pt x="47702" y="32359"/>
                      <a:pt x="39545" y="40500"/>
                      <a:pt x="29285" y="41247"/>
                    </a:cubicBezTo>
                    <a:lnTo>
                      <a:pt x="20500" y="41247"/>
                    </a:lnTo>
                    <a:cubicBezTo>
                      <a:pt x="9198" y="41074"/>
                      <a:pt x="153" y="31850"/>
                      <a:pt x="217" y="20569"/>
                    </a:cubicBezTo>
                  </a:path>
                </a:pathLst>
              </a:custGeom>
              <a:solidFill>
                <a:srgbClr val="00000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AE30B5CC-8AC5-5547-92A7-8231446BBB2F}"/>
                  </a:ext>
                </a:extLst>
              </p:cNvPr>
              <p:cNvSpPr/>
              <p:nvPr/>
            </p:nvSpPr>
            <p:spPr>
              <a:xfrm>
                <a:off x="10310170" y="3724174"/>
                <a:ext cx="111823" cy="31395"/>
              </a:xfrm>
              <a:custGeom>
                <a:avLst/>
                <a:gdLst>
                  <a:gd name="connsiteX0" fmla="*/ 96096 w 111823"/>
                  <a:gd name="connsiteY0" fmla="*/ 0 h 31395"/>
                  <a:gd name="connsiteX1" fmla="*/ 15727 w 111823"/>
                  <a:gd name="connsiteY1" fmla="*/ 0 h 31395"/>
                  <a:gd name="connsiteX2" fmla="*/ 0 w 111823"/>
                  <a:gd name="connsiteY2" fmla="*/ 15698 h 31395"/>
                  <a:gd name="connsiteX3" fmla="*/ 15727 w 111823"/>
                  <a:gd name="connsiteY3" fmla="*/ 31395 h 31395"/>
                  <a:gd name="connsiteX4" fmla="*/ 96096 w 111823"/>
                  <a:gd name="connsiteY4" fmla="*/ 31395 h 31395"/>
                  <a:gd name="connsiteX5" fmla="*/ 111823 w 111823"/>
                  <a:gd name="connsiteY5" fmla="*/ 15698 h 31395"/>
                  <a:gd name="connsiteX6" fmla="*/ 96096 w 111823"/>
                  <a:gd name="connsiteY6" fmla="*/ 0 h 31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1823" h="31395">
                    <a:moveTo>
                      <a:pt x="96096" y="0"/>
                    </a:moveTo>
                    <a:lnTo>
                      <a:pt x="15727" y="0"/>
                    </a:lnTo>
                    <a:cubicBezTo>
                      <a:pt x="7039" y="0"/>
                      <a:pt x="0" y="7026"/>
                      <a:pt x="0" y="15698"/>
                    </a:cubicBezTo>
                    <a:cubicBezTo>
                      <a:pt x="0" y="24369"/>
                      <a:pt x="7039" y="31395"/>
                      <a:pt x="15727" y="31395"/>
                    </a:cubicBezTo>
                    <a:lnTo>
                      <a:pt x="96096" y="31395"/>
                    </a:lnTo>
                    <a:cubicBezTo>
                      <a:pt x="104784" y="31395"/>
                      <a:pt x="111823" y="24369"/>
                      <a:pt x="111823" y="15698"/>
                    </a:cubicBezTo>
                    <a:cubicBezTo>
                      <a:pt x="111823" y="7026"/>
                      <a:pt x="104784" y="0"/>
                      <a:pt x="96096" y="0"/>
                    </a:cubicBezTo>
                  </a:path>
                </a:pathLst>
              </a:custGeom>
              <a:solidFill>
                <a:srgbClr val="00000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AE67479E-A1D6-B344-A114-ECD1B2FA165C}"/>
                  </a:ext>
                </a:extLst>
              </p:cNvPr>
              <p:cNvSpPr/>
              <p:nvPr/>
            </p:nvSpPr>
            <p:spPr>
              <a:xfrm>
                <a:off x="10173184" y="3157979"/>
                <a:ext cx="385796" cy="650962"/>
              </a:xfrm>
              <a:custGeom>
                <a:avLst/>
                <a:gdLst>
                  <a:gd name="connsiteX0" fmla="*/ 320720 w 385796"/>
                  <a:gd name="connsiteY0" fmla="*/ 619459 h 650962"/>
                  <a:gd name="connsiteX1" fmla="*/ 64426 w 385796"/>
                  <a:gd name="connsiteY1" fmla="*/ 619459 h 650962"/>
                  <a:gd name="connsiteX2" fmla="*/ 31237 w 385796"/>
                  <a:gd name="connsiteY2" fmla="*/ 586007 h 650962"/>
                  <a:gd name="connsiteX3" fmla="*/ 31237 w 385796"/>
                  <a:gd name="connsiteY3" fmla="*/ 542703 h 650962"/>
                  <a:gd name="connsiteX4" fmla="*/ 354234 w 385796"/>
                  <a:gd name="connsiteY4" fmla="*/ 542703 h 650962"/>
                  <a:gd name="connsiteX5" fmla="*/ 354234 w 385796"/>
                  <a:gd name="connsiteY5" fmla="*/ 586007 h 650962"/>
                  <a:gd name="connsiteX6" fmla="*/ 320720 w 385796"/>
                  <a:gd name="connsiteY6" fmla="*/ 619459 h 650962"/>
                  <a:gd name="connsiteX7" fmla="*/ 64426 w 385796"/>
                  <a:gd name="connsiteY7" fmla="*/ 31503 h 650962"/>
                  <a:gd name="connsiteX8" fmla="*/ 320720 w 385796"/>
                  <a:gd name="connsiteY8" fmla="*/ 31503 h 650962"/>
                  <a:gd name="connsiteX9" fmla="*/ 354234 w 385796"/>
                  <a:gd name="connsiteY9" fmla="*/ 64955 h 650962"/>
                  <a:gd name="connsiteX10" fmla="*/ 354234 w 385796"/>
                  <a:gd name="connsiteY10" fmla="*/ 71992 h 650962"/>
                  <a:gd name="connsiteX11" fmla="*/ 31237 w 385796"/>
                  <a:gd name="connsiteY11" fmla="*/ 71992 h 650962"/>
                  <a:gd name="connsiteX12" fmla="*/ 31237 w 385796"/>
                  <a:gd name="connsiteY12" fmla="*/ 64955 h 650962"/>
                  <a:gd name="connsiteX13" fmla="*/ 64426 w 385796"/>
                  <a:gd name="connsiteY13" fmla="*/ 31503 h 650962"/>
                  <a:gd name="connsiteX14" fmla="*/ 369853 w 385796"/>
                  <a:gd name="connsiteY14" fmla="*/ 495935 h 650962"/>
                  <a:gd name="connsiteX15" fmla="*/ 354234 w 385796"/>
                  <a:gd name="connsiteY15" fmla="*/ 511308 h 650962"/>
                  <a:gd name="connsiteX16" fmla="*/ 31237 w 385796"/>
                  <a:gd name="connsiteY16" fmla="*/ 511308 h 650962"/>
                  <a:gd name="connsiteX17" fmla="*/ 31237 w 385796"/>
                  <a:gd name="connsiteY17" fmla="*/ 103388 h 650962"/>
                  <a:gd name="connsiteX18" fmla="*/ 354343 w 385796"/>
                  <a:gd name="connsiteY18" fmla="*/ 103388 h 650962"/>
                  <a:gd name="connsiteX19" fmla="*/ 371686 w 385796"/>
                  <a:gd name="connsiteY19" fmla="*/ 117039 h 650962"/>
                  <a:gd name="connsiteX20" fmla="*/ 385471 w 385796"/>
                  <a:gd name="connsiteY20" fmla="*/ 101547 h 650962"/>
                  <a:gd name="connsiteX21" fmla="*/ 385471 w 385796"/>
                  <a:gd name="connsiteY21" fmla="*/ 64955 h 650962"/>
                  <a:gd name="connsiteX22" fmla="*/ 320395 w 385796"/>
                  <a:gd name="connsiteY22" fmla="*/ 0 h 650962"/>
                  <a:gd name="connsiteX23" fmla="*/ 64426 w 385796"/>
                  <a:gd name="connsiteY23" fmla="*/ 0 h 650962"/>
                  <a:gd name="connsiteX24" fmla="*/ 0 w 385796"/>
                  <a:gd name="connsiteY24" fmla="*/ 64955 h 650962"/>
                  <a:gd name="connsiteX25" fmla="*/ 0 w 385796"/>
                  <a:gd name="connsiteY25" fmla="*/ 586007 h 650962"/>
                  <a:gd name="connsiteX26" fmla="*/ 64426 w 385796"/>
                  <a:gd name="connsiteY26" fmla="*/ 650962 h 650962"/>
                  <a:gd name="connsiteX27" fmla="*/ 320720 w 385796"/>
                  <a:gd name="connsiteY27" fmla="*/ 650962 h 650962"/>
                  <a:gd name="connsiteX28" fmla="*/ 385796 w 385796"/>
                  <a:gd name="connsiteY28" fmla="*/ 586007 h 650962"/>
                  <a:gd name="connsiteX29" fmla="*/ 385796 w 385796"/>
                  <a:gd name="connsiteY29" fmla="*/ 512066 h 650962"/>
                  <a:gd name="connsiteX30" fmla="*/ 370286 w 385796"/>
                  <a:gd name="connsiteY30" fmla="*/ 496368 h 650962"/>
                  <a:gd name="connsiteX31" fmla="*/ 370178 w 385796"/>
                  <a:gd name="connsiteY31" fmla="*/ 496368 h 650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385796" h="650962">
                    <a:moveTo>
                      <a:pt x="320720" y="619459"/>
                    </a:moveTo>
                    <a:lnTo>
                      <a:pt x="64426" y="619459"/>
                    </a:lnTo>
                    <a:cubicBezTo>
                      <a:pt x="46020" y="619340"/>
                      <a:pt x="31172" y="604378"/>
                      <a:pt x="31237" y="586007"/>
                    </a:cubicBezTo>
                    <a:lnTo>
                      <a:pt x="31237" y="542703"/>
                    </a:lnTo>
                    <a:lnTo>
                      <a:pt x="354234" y="542703"/>
                    </a:lnTo>
                    <a:lnTo>
                      <a:pt x="354234" y="586007"/>
                    </a:lnTo>
                    <a:cubicBezTo>
                      <a:pt x="354234" y="604486"/>
                      <a:pt x="339234" y="619459"/>
                      <a:pt x="320720" y="619459"/>
                    </a:cubicBezTo>
                    <a:moveTo>
                      <a:pt x="64426" y="31503"/>
                    </a:moveTo>
                    <a:lnTo>
                      <a:pt x="320720" y="31503"/>
                    </a:lnTo>
                    <a:cubicBezTo>
                      <a:pt x="339234" y="31503"/>
                      <a:pt x="354234" y="46476"/>
                      <a:pt x="354234" y="64955"/>
                    </a:cubicBezTo>
                    <a:lnTo>
                      <a:pt x="354234" y="71992"/>
                    </a:lnTo>
                    <a:lnTo>
                      <a:pt x="31237" y="71992"/>
                    </a:lnTo>
                    <a:lnTo>
                      <a:pt x="31237" y="64955"/>
                    </a:lnTo>
                    <a:cubicBezTo>
                      <a:pt x="31172" y="46584"/>
                      <a:pt x="46020" y="31623"/>
                      <a:pt x="64426" y="31503"/>
                    </a:cubicBezTo>
                    <a:moveTo>
                      <a:pt x="369853" y="495935"/>
                    </a:moveTo>
                    <a:cubicBezTo>
                      <a:pt x="361338" y="495989"/>
                      <a:pt x="354408" y="502809"/>
                      <a:pt x="354234" y="511308"/>
                    </a:cubicBezTo>
                    <a:lnTo>
                      <a:pt x="31237" y="511308"/>
                    </a:lnTo>
                    <a:lnTo>
                      <a:pt x="31237" y="103388"/>
                    </a:lnTo>
                    <a:lnTo>
                      <a:pt x="354343" y="103388"/>
                    </a:lnTo>
                    <a:cubicBezTo>
                      <a:pt x="355362" y="111940"/>
                      <a:pt x="363128" y="118046"/>
                      <a:pt x="371686" y="117039"/>
                    </a:cubicBezTo>
                    <a:cubicBezTo>
                      <a:pt x="379549" y="116108"/>
                      <a:pt x="385471" y="109450"/>
                      <a:pt x="385471" y="101547"/>
                    </a:cubicBezTo>
                    <a:lnTo>
                      <a:pt x="385471" y="64955"/>
                    </a:lnTo>
                    <a:cubicBezTo>
                      <a:pt x="385471" y="29078"/>
                      <a:pt x="356338" y="0"/>
                      <a:pt x="320395" y="0"/>
                    </a:cubicBezTo>
                    <a:lnTo>
                      <a:pt x="64426" y="0"/>
                    </a:lnTo>
                    <a:cubicBezTo>
                      <a:pt x="28742" y="357"/>
                      <a:pt x="0" y="29338"/>
                      <a:pt x="0" y="64955"/>
                    </a:cubicBezTo>
                    <a:lnTo>
                      <a:pt x="0" y="586007"/>
                    </a:lnTo>
                    <a:cubicBezTo>
                      <a:pt x="0" y="621624"/>
                      <a:pt x="28742" y="650605"/>
                      <a:pt x="64426" y="650962"/>
                    </a:cubicBezTo>
                    <a:lnTo>
                      <a:pt x="320720" y="650962"/>
                    </a:lnTo>
                    <a:cubicBezTo>
                      <a:pt x="356664" y="650962"/>
                      <a:pt x="385796" y="621884"/>
                      <a:pt x="385796" y="586007"/>
                    </a:cubicBezTo>
                    <a:lnTo>
                      <a:pt x="385796" y="512066"/>
                    </a:lnTo>
                    <a:cubicBezTo>
                      <a:pt x="385850" y="503459"/>
                      <a:pt x="378909" y="496433"/>
                      <a:pt x="370286" y="496368"/>
                    </a:cubicBezTo>
                    <a:cubicBezTo>
                      <a:pt x="370254" y="496368"/>
                      <a:pt x="370210" y="496368"/>
                      <a:pt x="370178" y="496368"/>
                    </a:cubicBezTo>
                  </a:path>
                </a:pathLst>
              </a:custGeom>
              <a:solidFill>
                <a:srgbClr val="00000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43" name="Freeform 42">
              <a:extLst>
                <a:ext uri="{FF2B5EF4-FFF2-40B4-BE49-F238E27FC236}">
                  <a16:creationId xmlns:a16="http://schemas.microsoft.com/office/drawing/2014/main" id="{0C0F22CE-FF84-B54E-A5F1-3AD2716CAAC5}"/>
                </a:ext>
              </a:extLst>
            </p:cNvPr>
            <p:cNvSpPr/>
            <p:nvPr/>
          </p:nvSpPr>
          <p:spPr>
            <a:xfrm>
              <a:off x="11550521" y="3439658"/>
              <a:ext cx="145348" cy="145730"/>
            </a:xfrm>
            <a:custGeom>
              <a:avLst/>
              <a:gdLst>
                <a:gd name="connsiteX0" fmla="*/ 60423 w 145348"/>
                <a:gd name="connsiteY0" fmla="*/ 92789 h 145730"/>
                <a:gd name="connsiteX1" fmla="*/ 60423 w 145348"/>
                <a:gd name="connsiteY1" fmla="*/ 99068 h 145730"/>
                <a:gd name="connsiteX2" fmla="*/ 60423 w 145348"/>
                <a:gd name="connsiteY2" fmla="*/ 99068 h 145730"/>
                <a:gd name="connsiteX3" fmla="*/ 30705 w 145348"/>
                <a:gd name="connsiteY3" fmla="*/ 128623 h 145730"/>
                <a:gd name="connsiteX4" fmla="*/ 28536 w 145348"/>
                <a:gd name="connsiteY4" fmla="*/ 139449 h 145730"/>
                <a:gd name="connsiteX5" fmla="*/ 38080 w 145348"/>
                <a:gd name="connsiteY5" fmla="*/ 145728 h 145730"/>
                <a:gd name="connsiteX6" fmla="*/ 134177 w 145348"/>
                <a:gd name="connsiteY6" fmla="*/ 144862 h 145730"/>
                <a:gd name="connsiteX7" fmla="*/ 144372 w 145348"/>
                <a:gd name="connsiteY7" fmla="*/ 134685 h 145730"/>
                <a:gd name="connsiteX8" fmla="*/ 145348 w 145348"/>
                <a:gd name="connsiteY8" fmla="*/ 38768 h 145730"/>
                <a:gd name="connsiteX9" fmla="*/ 138949 w 145348"/>
                <a:gd name="connsiteY9" fmla="*/ 29241 h 145730"/>
                <a:gd name="connsiteX10" fmla="*/ 128103 w 145348"/>
                <a:gd name="connsiteY10" fmla="*/ 31406 h 145730"/>
                <a:gd name="connsiteX11" fmla="*/ 99144 w 145348"/>
                <a:gd name="connsiteY11" fmla="*/ 60203 h 145730"/>
                <a:gd name="connsiteX12" fmla="*/ 93168 w 145348"/>
                <a:gd name="connsiteY12" fmla="*/ 60517 h 145730"/>
                <a:gd name="connsiteX13" fmla="*/ 92853 w 145348"/>
                <a:gd name="connsiteY13" fmla="*/ 60203 h 145730"/>
                <a:gd name="connsiteX14" fmla="*/ 39274 w 145348"/>
                <a:gd name="connsiteY14" fmla="*/ 6723 h 145730"/>
                <a:gd name="connsiteX15" fmla="*/ 6735 w 145348"/>
                <a:gd name="connsiteY15" fmla="*/ 6723 h 145730"/>
                <a:gd name="connsiteX16" fmla="*/ 6735 w 145348"/>
                <a:gd name="connsiteY16" fmla="*/ 39201 h 145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348" h="145730">
                  <a:moveTo>
                    <a:pt x="60423" y="92789"/>
                  </a:moveTo>
                  <a:cubicBezTo>
                    <a:pt x="62159" y="94521"/>
                    <a:pt x="62159" y="97336"/>
                    <a:pt x="60423" y="99068"/>
                  </a:cubicBezTo>
                  <a:cubicBezTo>
                    <a:pt x="60423" y="99068"/>
                    <a:pt x="60423" y="99068"/>
                    <a:pt x="60423" y="99068"/>
                  </a:cubicBezTo>
                  <a:lnTo>
                    <a:pt x="30705" y="128623"/>
                  </a:lnTo>
                  <a:cubicBezTo>
                    <a:pt x="27917" y="131491"/>
                    <a:pt x="27061" y="135725"/>
                    <a:pt x="28536" y="139449"/>
                  </a:cubicBezTo>
                  <a:cubicBezTo>
                    <a:pt x="30087" y="143335"/>
                    <a:pt x="33894" y="145836"/>
                    <a:pt x="38080" y="145728"/>
                  </a:cubicBezTo>
                  <a:lnTo>
                    <a:pt x="134177" y="144862"/>
                  </a:lnTo>
                  <a:cubicBezTo>
                    <a:pt x="139665" y="144537"/>
                    <a:pt x="144047" y="140163"/>
                    <a:pt x="144372" y="134685"/>
                  </a:cubicBezTo>
                  <a:lnTo>
                    <a:pt x="145348" y="38768"/>
                  </a:lnTo>
                  <a:cubicBezTo>
                    <a:pt x="145381" y="34578"/>
                    <a:pt x="142843" y="30800"/>
                    <a:pt x="138949" y="29241"/>
                  </a:cubicBezTo>
                  <a:cubicBezTo>
                    <a:pt x="135229" y="27682"/>
                    <a:pt x="130934" y="28537"/>
                    <a:pt x="128103" y="31406"/>
                  </a:cubicBezTo>
                  <a:lnTo>
                    <a:pt x="99144" y="60203"/>
                  </a:lnTo>
                  <a:cubicBezTo>
                    <a:pt x="97582" y="61935"/>
                    <a:pt x="94903" y="62076"/>
                    <a:pt x="93168" y="60517"/>
                  </a:cubicBezTo>
                  <a:cubicBezTo>
                    <a:pt x="93059" y="60419"/>
                    <a:pt x="92951" y="60311"/>
                    <a:pt x="92853" y="60203"/>
                  </a:cubicBezTo>
                  <a:lnTo>
                    <a:pt x="39274" y="6723"/>
                  </a:lnTo>
                  <a:cubicBezTo>
                    <a:pt x="30293" y="-2241"/>
                    <a:pt x="15715" y="-2241"/>
                    <a:pt x="6735" y="6723"/>
                  </a:cubicBezTo>
                  <a:cubicBezTo>
                    <a:pt x="-2245" y="15687"/>
                    <a:pt x="-2245" y="30237"/>
                    <a:pt x="6735" y="39201"/>
                  </a:cubicBezTo>
                  <a:close/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 43">
              <a:extLst>
                <a:ext uri="{FF2B5EF4-FFF2-40B4-BE49-F238E27FC236}">
                  <a16:creationId xmlns:a16="http://schemas.microsoft.com/office/drawing/2014/main" id="{5890D8B8-797C-6144-A741-41AF5B70F4CF}"/>
                </a:ext>
              </a:extLst>
            </p:cNvPr>
            <p:cNvSpPr/>
            <p:nvPr/>
          </p:nvSpPr>
          <p:spPr>
            <a:xfrm>
              <a:off x="11285561" y="3466842"/>
              <a:ext cx="61822" cy="24791"/>
            </a:xfrm>
            <a:custGeom>
              <a:avLst/>
              <a:gdLst>
                <a:gd name="connsiteX0" fmla="*/ 3037 w 61822"/>
                <a:gd name="connsiteY0" fmla="*/ 0 h 24791"/>
                <a:gd name="connsiteX1" fmla="*/ 0 w 61822"/>
                <a:gd name="connsiteY1" fmla="*/ 12342 h 24791"/>
                <a:gd name="connsiteX2" fmla="*/ 3037 w 61822"/>
                <a:gd name="connsiteY2" fmla="*/ 24791 h 24791"/>
                <a:gd name="connsiteX3" fmla="*/ 58786 w 61822"/>
                <a:gd name="connsiteY3" fmla="*/ 24791 h 24791"/>
                <a:gd name="connsiteX4" fmla="*/ 61823 w 61822"/>
                <a:gd name="connsiteY4" fmla="*/ 12342 h 24791"/>
                <a:gd name="connsiteX5" fmla="*/ 58786 w 61822"/>
                <a:gd name="connsiteY5" fmla="*/ 0 h 24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822" h="24791">
                  <a:moveTo>
                    <a:pt x="3037" y="0"/>
                  </a:moveTo>
                  <a:cubicBezTo>
                    <a:pt x="1301" y="0"/>
                    <a:pt x="0" y="5521"/>
                    <a:pt x="0" y="12342"/>
                  </a:cubicBezTo>
                  <a:cubicBezTo>
                    <a:pt x="0" y="19162"/>
                    <a:pt x="1301" y="24791"/>
                    <a:pt x="3037" y="24791"/>
                  </a:cubicBezTo>
                  <a:lnTo>
                    <a:pt x="58786" y="24791"/>
                  </a:lnTo>
                  <a:cubicBezTo>
                    <a:pt x="60521" y="24791"/>
                    <a:pt x="61823" y="19270"/>
                    <a:pt x="61823" y="12342"/>
                  </a:cubicBezTo>
                  <a:cubicBezTo>
                    <a:pt x="61823" y="5413"/>
                    <a:pt x="60521" y="0"/>
                    <a:pt x="58786" y="0"/>
                  </a:cubicBezTo>
                  <a:close/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 44">
              <a:extLst>
                <a:ext uri="{FF2B5EF4-FFF2-40B4-BE49-F238E27FC236}">
                  <a16:creationId xmlns:a16="http://schemas.microsoft.com/office/drawing/2014/main" id="{A7F26740-0581-C14F-B141-EE542F663EA4}"/>
                </a:ext>
              </a:extLst>
            </p:cNvPr>
            <p:cNvSpPr/>
            <p:nvPr/>
          </p:nvSpPr>
          <p:spPr>
            <a:xfrm>
              <a:off x="11112891" y="3466842"/>
              <a:ext cx="61822" cy="24791"/>
            </a:xfrm>
            <a:custGeom>
              <a:avLst/>
              <a:gdLst>
                <a:gd name="connsiteX0" fmla="*/ 58786 w 61822"/>
                <a:gd name="connsiteY0" fmla="*/ 0 h 24791"/>
                <a:gd name="connsiteX1" fmla="*/ 3037 w 61822"/>
                <a:gd name="connsiteY1" fmla="*/ 0 h 24791"/>
                <a:gd name="connsiteX2" fmla="*/ 0 w 61822"/>
                <a:gd name="connsiteY2" fmla="*/ 12342 h 24791"/>
                <a:gd name="connsiteX3" fmla="*/ 3037 w 61822"/>
                <a:gd name="connsiteY3" fmla="*/ 24791 h 24791"/>
                <a:gd name="connsiteX4" fmla="*/ 58786 w 61822"/>
                <a:gd name="connsiteY4" fmla="*/ 24791 h 24791"/>
                <a:gd name="connsiteX5" fmla="*/ 61823 w 61822"/>
                <a:gd name="connsiteY5" fmla="*/ 12342 h 24791"/>
                <a:gd name="connsiteX6" fmla="*/ 58786 w 61822"/>
                <a:gd name="connsiteY6" fmla="*/ 0 h 24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1822" h="24791">
                  <a:moveTo>
                    <a:pt x="58786" y="0"/>
                  </a:moveTo>
                  <a:lnTo>
                    <a:pt x="3037" y="0"/>
                  </a:lnTo>
                  <a:cubicBezTo>
                    <a:pt x="1301" y="0"/>
                    <a:pt x="0" y="5521"/>
                    <a:pt x="0" y="12342"/>
                  </a:cubicBezTo>
                  <a:cubicBezTo>
                    <a:pt x="0" y="19162"/>
                    <a:pt x="1301" y="24791"/>
                    <a:pt x="3037" y="24791"/>
                  </a:cubicBezTo>
                  <a:lnTo>
                    <a:pt x="58786" y="24791"/>
                  </a:lnTo>
                  <a:cubicBezTo>
                    <a:pt x="60521" y="24791"/>
                    <a:pt x="61823" y="19270"/>
                    <a:pt x="61823" y="12342"/>
                  </a:cubicBezTo>
                  <a:cubicBezTo>
                    <a:pt x="61823" y="5413"/>
                    <a:pt x="60521" y="0"/>
                    <a:pt x="58786" y="0"/>
                  </a:cubicBezTo>
                  <a:close/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 45">
              <a:extLst>
                <a:ext uri="{FF2B5EF4-FFF2-40B4-BE49-F238E27FC236}">
                  <a16:creationId xmlns:a16="http://schemas.microsoft.com/office/drawing/2014/main" id="{D2763E55-13B2-7C49-9A03-D025BCD3C7AF}"/>
                </a:ext>
              </a:extLst>
            </p:cNvPr>
            <p:cNvSpPr/>
            <p:nvPr/>
          </p:nvSpPr>
          <p:spPr>
            <a:xfrm>
              <a:off x="11112891" y="3579215"/>
              <a:ext cx="61822" cy="24899"/>
            </a:xfrm>
            <a:custGeom>
              <a:avLst/>
              <a:gdLst>
                <a:gd name="connsiteX0" fmla="*/ 58786 w 61822"/>
                <a:gd name="connsiteY0" fmla="*/ 0 h 24899"/>
                <a:gd name="connsiteX1" fmla="*/ 3037 w 61822"/>
                <a:gd name="connsiteY1" fmla="*/ 0 h 24899"/>
                <a:gd name="connsiteX2" fmla="*/ 0 w 61822"/>
                <a:gd name="connsiteY2" fmla="*/ 12450 h 24899"/>
                <a:gd name="connsiteX3" fmla="*/ 3037 w 61822"/>
                <a:gd name="connsiteY3" fmla="*/ 24900 h 24899"/>
                <a:gd name="connsiteX4" fmla="*/ 58786 w 61822"/>
                <a:gd name="connsiteY4" fmla="*/ 24900 h 24899"/>
                <a:gd name="connsiteX5" fmla="*/ 61823 w 61822"/>
                <a:gd name="connsiteY5" fmla="*/ 12450 h 24899"/>
                <a:gd name="connsiteX6" fmla="*/ 58786 w 61822"/>
                <a:gd name="connsiteY6" fmla="*/ 0 h 2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1822" h="24899">
                  <a:moveTo>
                    <a:pt x="58786" y="0"/>
                  </a:moveTo>
                  <a:lnTo>
                    <a:pt x="3037" y="0"/>
                  </a:lnTo>
                  <a:cubicBezTo>
                    <a:pt x="1301" y="0"/>
                    <a:pt x="0" y="5630"/>
                    <a:pt x="0" y="12450"/>
                  </a:cubicBezTo>
                  <a:cubicBezTo>
                    <a:pt x="0" y="19270"/>
                    <a:pt x="1301" y="24900"/>
                    <a:pt x="3037" y="24900"/>
                  </a:cubicBezTo>
                  <a:lnTo>
                    <a:pt x="58786" y="24900"/>
                  </a:lnTo>
                  <a:cubicBezTo>
                    <a:pt x="60521" y="24900"/>
                    <a:pt x="61823" y="19270"/>
                    <a:pt x="61823" y="12450"/>
                  </a:cubicBezTo>
                  <a:cubicBezTo>
                    <a:pt x="61823" y="5630"/>
                    <a:pt x="60521" y="0"/>
                    <a:pt x="58786" y="0"/>
                  </a:cubicBezTo>
                  <a:close/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 46">
              <a:extLst>
                <a:ext uri="{FF2B5EF4-FFF2-40B4-BE49-F238E27FC236}">
                  <a16:creationId xmlns:a16="http://schemas.microsoft.com/office/drawing/2014/main" id="{1A86E22C-7A13-C44A-8F41-14B694A807CC}"/>
                </a:ext>
              </a:extLst>
            </p:cNvPr>
            <p:cNvSpPr/>
            <p:nvPr/>
          </p:nvSpPr>
          <p:spPr>
            <a:xfrm>
              <a:off x="11112891" y="3691697"/>
              <a:ext cx="61822" cy="24791"/>
            </a:xfrm>
            <a:custGeom>
              <a:avLst/>
              <a:gdLst>
                <a:gd name="connsiteX0" fmla="*/ 58786 w 61822"/>
                <a:gd name="connsiteY0" fmla="*/ 0 h 24791"/>
                <a:gd name="connsiteX1" fmla="*/ 3037 w 61822"/>
                <a:gd name="connsiteY1" fmla="*/ 0 h 24791"/>
                <a:gd name="connsiteX2" fmla="*/ 0 w 61822"/>
                <a:gd name="connsiteY2" fmla="*/ 12450 h 24791"/>
                <a:gd name="connsiteX3" fmla="*/ 3037 w 61822"/>
                <a:gd name="connsiteY3" fmla="*/ 24791 h 24791"/>
                <a:gd name="connsiteX4" fmla="*/ 58786 w 61822"/>
                <a:gd name="connsiteY4" fmla="*/ 24791 h 24791"/>
                <a:gd name="connsiteX5" fmla="*/ 61823 w 61822"/>
                <a:gd name="connsiteY5" fmla="*/ 12450 h 24791"/>
                <a:gd name="connsiteX6" fmla="*/ 58786 w 61822"/>
                <a:gd name="connsiteY6" fmla="*/ 0 h 24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1822" h="24791">
                  <a:moveTo>
                    <a:pt x="58786" y="0"/>
                  </a:moveTo>
                  <a:lnTo>
                    <a:pt x="3037" y="0"/>
                  </a:lnTo>
                  <a:cubicBezTo>
                    <a:pt x="1301" y="0"/>
                    <a:pt x="0" y="5521"/>
                    <a:pt x="0" y="12450"/>
                  </a:cubicBezTo>
                  <a:cubicBezTo>
                    <a:pt x="0" y="19378"/>
                    <a:pt x="1301" y="24791"/>
                    <a:pt x="3037" y="24791"/>
                  </a:cubicBezTo>
                  <a:lnTo>
                    <a:pt x="58786" y="24791"/>
                  </a:lnTo>
                  <a:cubicBezTo>
                    <a:pt x="60521" y="24791"/>
                    <a:pt x="61823" y="19270"/>
                    <a:pt x="61823" y="12450"/>
                  </a:cubicBezTo>
                  <a:cubicBezTo>
                    <a:pt x="61823" y="5629"/>
                    <a:pt x="60521" y="0"/>
                    <a:pt x="58786" y="0"/>
                  </a:cubicBezTo>
                  <a:close/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 47">
              <a:extLst>
                <a:ext uri="{FF2B5EF4-FFF2-40B4-BE49-F238E27FC236}">
                  <a16:creationId xmlns:a16="http://schemas.microsoft.com/office/drawing/2014/main" id="{CF695E0A-C80A-6E46-9F5E-9E4D6871DEFB}"/>
                </a:ext>
              </a:extLst>
            </p:cNvPr>
            <p:cNvSpPr/>
            <p:nvPr/>
          </p:nvSpPr>
          <p:spPr>
            <a:xfrm>
              <a:off x="11202480" y="3466842"/>
              <a:ext cx="61931" cy="24791"/>
            </a:xfrm>
            <a:custGeom>
              <a:avLst/>
              <a:gdLst>
                <a:gd name="connsiteX0" fmla="*/ 58894 w 61931"/>
                <a:gd name="connsiteY0" fmla="*/ 0 h 24791"/>
                <a:gd name="connsiteX1" fmla="*/ 3037 w 61931"/>
                <a:gd name="connsiteY1" fmla="*/ 0 h 24791"/>
                <a:gd name="connsiteX2" fmla="*/ 0 w 61931"/>
                <a:gd name="connsiteY2" fmla="*/ 12342 h 24791"/>
                <a:gd name="connsiteX3" fmla="*/ 3037 w 61931"/>
                <a:gd name="connsiteY3" fmla="*/ 24791 h 24791"/>
                <a:gd name="connsiteX4" fmla="*/ 58894 w 61931"/>
                <a:gd name="connsiteY4" fmla="*/ 24791 h 24791"/>
                <a:gd name="connsiteX5" fmla="*/ 61932 w 61931"/>
                <a:gd name="connsiteY5" fmla="*/ 12342 h 24791"/>
                <a:gd name="connsiteX6" fmla="*/ 58894 w 61931"/>
                <a:gd name="connsiteY6" fmla="*/ 0 h 24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1931" h="24791">
                  <a:moveTo>
                    <a:pt x="58894" y="0"/>
                  </a:moveTo>
                  <a:lnTo>
                    <a:pt x="3037" y="0"/>
                  </a:lnTo>
                  <a:cubicBezTo>
                    <a:pt x="1410" y="0"/>
                    <a:pt x="0" y="5521"/>
                    <a:pt x="0" y="12342"/>
                  </a:cubicBezTo>
                  <a:cubicBezTo>
                    <a:pt x="0" y="19162"/>
                    <a:pt x="1410" y="24791"/>
                    <a:pt x="3037" y="24791"/>
                  </a:cubicBezTo>
                  <a:lnTo>
                    <a:pt x="58894" y="24791"/>
                  </a:lnTo>
                  <a:cubicBezTo>
                    <a:pt x="60521" y="24791"/>
                    <a:pt x="61932" y="19270"/>
                    <a:pt x="61932" y="12342"/>
                  </a:cubicBezTo>
                  <a:cubicBezTo>
                    <a:pt x="61932" y="5413"/>
                    <a:pt x="60955" y="0"/>
                    <a:pt x="58894" y="0"/>
                  </a:cubicBezTo>
                  <a:close/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 48">
              <a:extLst>
                <a:ext uri="{FF2B5EF4-FFF2-40B4-BE49-F238E27FC236}">
                  <a16:creationId xmlns:a16="http://schemas.microsoft.com/office/drawing/2014/main" id="{35BFD1AB-2E22-3944-B578-AA143BB519A7}"/>
                </a:ext>
              </a:extLst>
            </p:cNvPr>
            <p:cNvSpPr/>
            <p:nvPr/>
          </p:nvSpPr>
          <p:spPr>
            <a:xfrm>
              <a:off x="11202914" y="3575426"/>
              <a:ext cx="61931" cy="24791"/>
            </a:xfrm>
            <a:custGeom>
              <a:avLst/>
              <a:gdLst>
                <a:gd name="connsiteX0" fmla="*/ 61932 w 61931"/>
                <a:gd name="connsiteY0" fmla="*/ 12341 h 24791"/>
                <a:gd name="connsiteX1" fmla="*/ 58894 w 61931"/>
                <a:gd name="connsiteY1" fmla="*/ 0 h 24791"/>
                <a:gd name="connsiteX2" fmla="*/ 3037 w 61931"/>
                <a:gd name="connsiteY2" fmla="*/ 0 h 24791"/>
                <a:gd name="connsiteX3" fmla="*/ 0 w 61931"/>
                <a:gd name="connsiteY3" fmla="*/ 12341 h 24791"/>
                <a:gd name="connsiteX4" fmla="*/ 3037 w 61931"/>
                <a:gd name="connsiteY4" fmla="*/ 24791 h 24791"/>
                <a:gd name="connsiteX5" fmla="*/ 58461 w 61931"/>
                <a:gd name="connsiteY5" fmla="*/ 24791 h 24791"/>
                <a:gd name="connsiteX6" fmla="*/ 61932 w 61931"/>
                <a:gd name="connsiteY6" fmla="*/ 12341 h 24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1931" h="24791">
                  <a:moveTo>
                    <a:pt x="61932" y="12341"/>
                  </a:moveTo>
                  <a:cubicBezTo>
                    <a:pt x="61932" y="5521"/>
                    <a:pt x="60521" y="0"/>
                    <a:pt x="58894" y="0"/>
                  </a:cubicBezTo>
                  <a:lnTo>
                    <a:pt x="3037" y="0"/>
                  </a:lnTo>
                  <a:cubicBezTo>
                    <a:pt x="1410" y="0"/>
                    <a:pt x="0" y="5521"/>
                    <a:pt x="0" y="12341"/>
                  </a:cubicBezTo>
                  <a:cubicBezTo>
                    <a:pt x="0" y="19162"/>
                    <a:pt x="1410" y="24791"/>
                    <a:pt x="3037" y="24791"/>
                  </a:cubicBezTo>
                  <a:lnTo>
                    <a:pt x="58461" y="24791"/>
                  </a:lnTo>
                  <a:cubicBezTo>
                    <a:pt x="60521" y="24791"/>
                    <a:pt x="61932" y="18837"/>
                    <a:pt x="61932" y="12341"/>
                  </a:cubicBezTo>
                  <a:close/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 49">
              <a:extLst>
                <a:ext uri="{FF2B5EF4-FFF2-40B4-BE49-F238E27FC236}">
                  <a16:creationId xmlns:a16="http://schemas.microsoft.com/office/drawing/2014/main" id="{3F5A2F4E-17BA-1045-BCD7-5831CCA289E5}"/>
                </a:ext>
              </a:extLst>
            </p:cNvPr>
            <p:cNvSpPr/>
            <p:nvPr/>
          </p:nvSpPr>
          <p:spPr>
            <a:xfrm>
              <a:off x="11046621" y="3259337"/>
              <a:ext cx="456051" cy="550699"/>
            </a:xfrm>
            <a:custGeom>
              <a:avLst/>
              <a:gdLst>
                <a:gd name="connsiteX0" fmla="*/ 136444 w 456051"/>
                <a:gd name="connsiteY0" fmla="*/ 524921 h 550699"/>
                <a:gd name="connsiteX1" fmla="*/ 65077 w 456051"/>
                <a:gd name="connsiteY1" fmla="*/ 524921 h 550699"/>
                <a:gd name="connsiteX2" fmla="*/ 25814 w 456051"/>
                <a:gd name="connsiteY2" fmla="*/ 487789 h 550699"/>
                <a:gd name="connsiteX3" fmla="*/ 25814 w 456051"/>
                <a:gd name="connsiteY3" fmla="*/ 61139 h 550699"/>
                <a:gd name="connsiteX4" fmla="*/ 65077 w 456051"/>
                <a:gd name="connsiteY4" fmla="*/ 24006 h 550699"/>
                <a:gd name="connsiteX5" fmla="*/ 278419 w 456051"/>
                <a:gd name="connsiteY5" fmla="*/ 24006 h 550699"/>
                <a:gd name="connsiteX6" fmla="*/ 278419 w 456051"/>
                <a:gd name="connsiteY6" fmla="*/ 129992 h 550699"/>
                <a:gd name="connsiteX7" fmla="*/ 317660 w 456051"/>
                <a:gd name="connsiteY7" fmla="*/ 167233 h 550699"/>
                <a:gd name="connsiteX8" fmla="*/ 317682 w 456051"/>
                <a:gd name="connsiteY8" fmla="*/ 167233 h 550699"/>
                <a:gd name="connsiteX9" fmla="*/ 429723 w 456051"/>
                <a:gd name="connsiteY9" fmla="*/ 167233 h 550699"/>
                <a:gd name="connsiteX10" fmla="*/ 429723 w 456051"/>
                <a:gd name="connsiteY10" fmla="*/ 320528 h 550699"/>
                <a:gd name="connsiteX11" fmla="*/ 455970 w 456051"/>
                <a:gd name="connsiteY11" fmla="*/ 320528 h 550699"/>
                <a:gd name="connsiteX12" fmla="*/ 455970 w 456051"/>
                <a:gd name="connsiteY12" fmla="*/ 154783 h 550699"/>
                <a:gd name="connsiteX13" fmla="*/ 455970 w 456051"/>
                <a:gd name="connsiteY13" fmla="*/ 154783 h 550699"/>
                <a:gd name="connsiteX14" fmla="*/ 455970 w 456051"/>
                <a:gd name="connsiteY14" fmla="*/ 152402 h 550699"/>
                <a:gd name="connsiteX15" fmla="*/ 455970 w 456051"/>
                <a:gd name="connsiteY15" fmla="*/ 151211 h 550699"/>
                <a:gd name="connsiteX16" fmla="*/ 455970 w 456051"/>
                <a:gd name="connsiteY16" fmla="*/ 150020 h 550699"/>
                <a:gd name="connsiteX17" fmla="*/ 455319 w 456051"/>
                <a:gd name="connsiteY17" fmla="*/ 148721 h 550699"/>
                <a:gd name="connsiteX18" fmla="*/ 454777 w 456051"/>
                <a:gd name="connsiteY18" fmla="*/ 147963 h 550699"/>
                <a:gd name="connsiteX19" fmla="*/ 453150 w 456051"/>
                <a:gd name="connsiteY19" fmla="*/ 146015 h 550699"/>
                <a:gd name="connsiteX20" fmla="*/ 301305 w 456051"/>
                <a:gd name="connsiteY20" fmla="*/ 2788 h 550699"/>
                <a:gd name="connsiteX21" fmla="*/ 299352 w 456051"/>
                <a:gd name="connsiteY21" fmla="*/ 1272 h 550699"/>
                <a:gd name="connsiteX22" fmla="*/ 298377 w 456051"/>
                <a:gd name="connsiteY22" fmla="*/ 731 h 550699"/>
                <a:gd name="connsiteX23" fmla="*/ 297075 w 456051"/>
                <a:gd name="connsiteY23" fmla="*/ 81 h 550699"/>
                <a:gd name="connsiteX24" fmla="*/ 295773 w 456051"/>
                <a:gd name="connsiteY24" fmla="*/ 81 h 550699"/>
                <a:gd name="connsiteX25" fmla="*/ 294580 w 456051"/>
                <a:gd name="connsiteY25" fmla="*/ 81 h 550699"/>
                <a:gd name="connsiteX26" fmla="*/ 292086 w 456051"/>
                <a:gd name="connsiteY26" fmla="*/ 81 h 550699"/>
                <a:gd name="connsiteX27" fmla="*/ 65077 w 456051"/>
                <a:gd name="connsiteY27" fmla="*/ 81 h 550699"/>
                <a:gd name="connsiteX28" fmla="*/ 0 w 456051"/>
                <a:gd name="connsiteY28" fmla="*/ 62114 h 550699"/>
                <a:gd name="connsiteX29" fmla="*/ 0 w 456051"/>
                <a:gd name="connsiteY29" fmla="*/ 488763 h 550699"/>
                <a:gd name="connsiteX30" fmla="*/ 65077 w 456051"/>
                <a:gd name="connsiteY30" fmla="*/ 550687 h 550699"/>
                <a:gd name="connsiteX31" fmla="*/ 136444 w 456051"/>
                <a:gd name="connsiteY31" fmla="*/ 550687 h 550699"/>
                <a:gd name="connsiteX32" fmla="*/ 304559 w 456051"/>
                <a:gd name="connsiteY32" fmla="*/ 41436 h 550699"/>
                <a:gd name="connsiteX33" fmla="*/ 411176 w 456051"/>
                <a:gd name="connsiteY33" fmla="*/ 142442 h 550699"/>
                <a:gd name="connsiteX34" fmla="*/ 317682 w 456051"/>
                <a:gd name="connsiteY34" fmla="*/ 142442 h 550699"/>
                <a:gd name="connsiteX35" fmla="*/ 304559 w 456051"/>
                <a:gd name="connsiteY35" fmla="*/ 129992 h 550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456051" h="550699">
                  <a:moveTo>
                    <a:pt x="136444" y="524921"/>
                  </a:moveTo>
                  <a:lnTo>
                    <a:pt x="65077" y="524921"/>
                  </a:lnTo>
                  <a:cubicBezTo>
                    <a:pt x="43970" y="525463"/>
                    <a:pt x="26410" y="508856"/>
                    <a:pt x="25814" y="487789"/>
                  </a:cubicBezTo>
                  <a:lnTo>
                    <a:pt x="25814" y="61139"/>
                  </a:lnTo>
                  <a:cubicBezTo>
                    <a:pt x="26410" y="40072"/>
                    <a:pt x="43970" y="23465"/>
                    <a:pt x="65077" y="24006"/>
                  </a:cubicBezTo>
                  <a:lnTo>
                    <a:pt x="278419" y="24006"/>
                  </a:lnTo>
                  <a:lnTo>
                    <a:pt x="278419" y="129992"/>
                  </a:lnTo>
                  <a:cubicBezTo>
                    <a:pt x="278951" y="151092"/>
                    <a:pt x="296522" y="167764"/>
                    <a:pt x="317660" y="167233"/>
                  </a:cubicBezTo>
                  <a:cubicBezTo>
                    <a:pt x="317660" y="167233"/>
                    <a:pt x="317672" y="167233"/>
                    <a:pt x="317682" y="167233"/>
                  </a:cubicBezTo>
                  <a:lnTo>
                    <a:pt x="429723" y="167233"/>
                  </a:lnTo>
                  <a:lnTo>
                    <a:pt x="429723" y="320528"/>
                  </a:lnTo>
                  <a:lnTo>
                    <a:pt x="455970" y="320528"/>
                  </a:lnTo>
                  <a:lnTo>
                    <a:pt x="455970" y="154783"/>
                  </a:lnTo>
                  <a:lnTo>
                    <a:pt x="455970" y="154783"/>
                  </a:lnTo>
                  <a:cubicBezTo>
                    <a:pt x="456079" y="153993"/>
                    <a:pt x="456079" y="153192"/>
                    <a:pt x="455970" y="152402"/>
                  </a:cubicBezTo>
                  <a:lnTo>
                    <a:pt x="455970" y="151211"/>
                  </a:lnTo>
                  <a:cubicBezTo>
                    <a:pt x="456003" y="150810"/>
                    <a:pt x="456003" y="150421"/>
                    <a:pt x="455970" y="150020"/>
                  </a:cubicBezTo>
                  <a:lnTo>
                    <a:pt x="455319" y="148721"/>
                  </a:lnTo>
                  <a:lnTo>
                    <a:pt x="454777" y="147963"/>
                  </a:lnTo>
                  <a:cubicBezTo>
                    <a:pt x="454354" y="147216"/>
                    <a:pt x="453801" y="146556"/>
                    <a:pt x="453150" y="146015"/>
                  </a:cubicBezTo>
                  <a:lnTo>
                    <a:pt x="301305" y="2788"/>
                  </a:lnTo>
                  <a:cubicBezTo>
                    <a:pt x="300698" y="2225"/>
                    <a:pt x="300047" y="1716"/>
                    <a:pt x="299352" y="1272"/>
                  </a:cubicBezTo>
                  <a:lnTo>
                    <a:pt x="298377" y="731"/>
                  </a:lnTo>
                  <a:lnTo>
                    <a:pt x="297075" y="81"/>
                  </a:lnTo>
                  <a:lnTo>
                    <a:pt x="295773" y="81"/>
                  </a:lnTo>
                  <a:cubicBezTo>
                    <a:pt x="295372" y="38"/>
                    <a:pt x="294971" y="38"/>
                    <a:pt x="294580" y="81"/>
                  </a:cubicBezTo>
                  <a:cubicBezTo>
                    <a:pt x="293756" y="-27"/>
                    <a:pt x="292910" y="-27"/>
                    <a:pt x="292086" y="81"/>
                  </a:cubicBezTo>
                  <a:lnTo>
                    <a:pt x="65077" y="81"/>
                  </a:lnTo>
                  <a:cubicBezTo>
                    <a:pt x="30022" y="-525"/>
                    <a:pt x="1009" y="27135"/>
                    <a:pt x="0" y="62114"/>
                  </a:cubicBezTo>
                  <a:lnTo>
                    <a:pt x="0" y="488763"/>
                  </a:lnTo>
                  <a:cubicBezTo>
                    <a:pt x="1009" y="523731"/>
                    <a:pt x="30043" y="551358"/>
                    <a:pt x="65077" y="550687"/>
                  </a:cubicBezTo>
                  <a:lnTo>
                    <a:pt x="136444" y="550687"/>
                  </a:lnTo>
                  <a:close/>
                  <a:moveTo>
                    <a:pt x="304559" y="41436"/>
                  </a:moveTo>
                  <a:lnTo>
                    <a:pt x="411176" y="142442"/>
                  </a:lnTo>
                  <a:lnTo>
                    <a:pt x="317682" y="142442"/>
                  </a:lnTo>
                  <a:cubicBezTo>
                    <a:pt x="310633" y="142561"/>
                    <a:pt x="304797" y="137018"/>
                    <a:pt x="304559" y="129992"/>
                  </a:cubicBezTo>
                  <a:close/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 50">
              <a:extLst>
                <a:ext uri="{FF2B5EF4-FFF2-40B4-BE49-F238E27FC236}">
                  <a16:creationId xmlns:a16="http://schemas.microsoft.com/office/drawing/2014/main" id="{9D155737-22E3-5A4B-82A3-52AC1A4300E6}"/>
                </a:ext>
              </a:extLst>
            </p:cNvPr>
            <p:cNvSpPr/>
            <p:nvPr/>
          </p:nvSpPr>
          <p:spPr>
            <a:xfrm>
              <a:off x="11267231" y="3741821"/>
              <a:ext cx="65076" cy="64955"/>
            </a:xfrm>
            <a:custGeom>
              <a:avLst/>
              <a:gdLst>
                <a:gd name="connsiteX0" fmla="*/ 32538 w 65076"/>
                <a:gd name="connsiteY0" fmla="*/ 64955 h 64955"/>
                <a:gd name="connsiteX1" fmla="*/ 32538 w 65076"/>
                <a:gd name="connsiteY1" fmla="*/ 64955 h 64955"/>
                <a:gd name="connsiteX2" fmla="*/ 65077 w 65076"/>
                <a:gd name="connsiteY2" fmla="*/ 32478 h 64955"/>
                <a:gd name="connsiteX3" fmla="*/ 32528 w 65076"/>
                <a:gd name="connsiteY3" fmla="*/ 0 h 64955"/>
                <a:gd name="connsiteX4" fmla="*/ 0 w 65076"/>
                <a:gd name="connsiteY4" fmla="*/ 31936 h 64955"/>
                <a:gd name="connsiteX5" fmla="*/ 32538 w 65076"/>
                <a:gd name="connsiteY5" fmla="*/ 64955 h 64955"/>
                <a:gd name="connsiteX6" fmla="*/ 17679 w 65076"/>
                <a:gd name="connsiteY6" fmla="*/ 31936 h 64955"/>
                <a:gd name="connsiteX7" fmla="*/ 32647 w 65076"/>
                <a:gd name="connsiteY7" fmla="*/ 16997 h 64955"/>
                <a:gd name="connsiteX8" fmla="*/ 47615 w 65076"/>
                <a:gd name="connsiteY8" fmla="*/ 31936 h 64955"/>
                <a:gd name="connsiteX9" fmla="*/ 32647 w 65076"/>
                <a:gd name="connsiteY9" fmla="*/ 46876 h 64955"/>
                <a:gd name="connsiteX10" fmla="*/ 32538 w 65076"/>
                <a:gd name="connsiteY10" fmla="*/ 46876 h 64955"/>
                <a:gd name="connsiteX11" fmla="*/ 17679 w 65076"/>
                <a:gd name="connsiteY11" fmla="*/ 31936 h 64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5076" h="64955">
                  <a:moveTo>
                    <a:pt x="32538" y="64955"/>
                  </a:moveTo>
                  <a:lnTo>
                    <a:pt x="32538" y="64955"/>
                  </a:lnTo>
                  <a:cubicBezTo>
                    <a:pt x="50511" y="64955"/>
                    <a:pt x="65077" y="50406"/>
                    <a:pt x="65077" y="32478"/>
                  </a:cubicBezTo>
                  <a:cubicBezTo>
                    <a:pt x="65066" y="14539"/>
                    <a:pt x="50500" y="0"/>
                    <a:pt x="32528" y="0"/>
                  </a:cubicBezTo>
                  <a:cubicBezTo>
                    <a:pt x="14772" y="0"/>
                    <a:pt x="293" y="14214"/>
                    <a:pt x="0" y="31936"/>
                  </a:cubicBezTo>
                  <a:cubicBezTo>
                    <a:pt x="54" y="49940"/>
                    <a:pt x="14502" y="64598"/>
                    <a:pt x="32538" y="64955"/>
                  </a:cubicBezTo>
                  <a:close/>
                  <a:moveTo>
                    <a:pt x="17679" y="31936"/>
                  </a:moveTo>
                  <a:cubicBezTo>
                    <a:pt x="17679" y="23687"/>
                    <a:pt x="24383" y="16997"/>
                    <a:pt x="32647" y="16997"/>
                  </a:cubicBezTo>
                  <a:cubicBezTo>
                    <a:pt x="40912" y="16997"/>
                    <a:pt x="47615" y="23687"/>
                    <a:pt x="47615" y="31936"/>
                  </a:cubicBezTo>
                  <a:cubicBezTo>
                    <a:pt x="47615" y="40186"/>
                    <a:pt x="40912" y="46876"/>
                    <a:pt x="32647" y="46876"/>
                  </a:cubicBezTo>
                  <a:cubicBezTo>
                    <a:pt x="32614" y="46876"/>
                    <a:pt x="32571" y="46876"/>
                    <a:pt x="32538" y="46876"/>
                  </a:cubicBezTo>
                  <a:cubicBezTo>
                    <a:pt x="24317" y="46811"/>
                    <a:pt x="17679" y="40143"/>
                    <a:pt x="17679" y="31936"/>
                  </a:cubicBezTo>
                  <a:close/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 51">
              <a:extLst>
                <a:ext uri="{FF2B5EF4-FFF2-40B4-BE49-F238E27FC236}">
                  <a16:creationId xmlns:a16="http://schemas.microsoft.com/office/drawing/2014/main" id="{056281AA-7D5A-DD4D-AA09-251627AAE6C0}"/>
                </a:ext>
              </a:extLst>
            </p:cNvPr>
            <p:cNvSpPr/>
            <p:nvPr/>
          </p:nvSpPr>
          <p:spPr>
            <a:xfrm>
              <a:off x="11235778" y="3627932"/>
              <a:ext cx="545559" cy="291650"/>
            </a:xfrm>
            <a:custGeom>
              <a:avLst/>
              <a:gdLst>
                <a:gd name="connsiteX0" fmla="*/ 505646 w 545559"/>
                <a:gd name="connsiteY0" fmla="*/ 0 h 291650"/>
                <a:gd name="connsiteX1" fmla="*/ 39914 w 545559"/>
                <a:gd name="connsiteY1" fmla="*/ 0 h 291650"/>
                <a:gd name="connsiteX2" fmla="*/ 0 w 545559"/>
                <a:gd name="connsiteY2" fmla="*/ 39840 h 291650"/>
                <a:gd name="connsiteX3" fmla="*/ 0 w 545559"/>
                <a:gd name="connsiteY3" fmla="*/ 251811 h 291650"/>
                <a:gd name="connsiteX4" fmla="*/ 39914 w 545559"/>
                <a:gd name="connsiteY4" fmla="*/ 291650 h 291650"/>
                <a:gd name="connsiteX5" fmla="*/ 505646 w 545559"/>
                <a:gd name="connsiteY5" fmla="*/ 291650 h 291650"/>
                <a:gd name="connsiteX6" fmla="*/ 545559 w 545559"/>
                <a:gd name="connsiteY6" fmla="*/ 251811 h 291650"/>
                <a:gd name="connsiteX7" fmla="*/ 545559 w 545559"/>
                <a:gd name="connsiteY7" fmla="*/ 39840 h 291650"/>
                <a:gd name="connsiteX8" fmla="*/ 505646 w 545559"/>
                <a:gd name="connsiteY8" fmla="*/ 0 h 291650"/>
                <a:gd name="connsiteX9" fmla="*/ 520505 w 545559"/>
                <a:gd name="connsiteY9" fmla="*/ 251811 h 291650"/>
                <a:gd name="connsiteX10" fmla="*/ 505754 w 545559"/>
                <a:gd name="connsiteY10" fmla="*/ 266751 h 291650"/>
                <a:gd name="connsiteX11" fmla="*/ 505646 w 545559"/>
                <a:gd name="connsiteY11" fmla="*/ 266751 h 291650"/>
                <a:gd name="connsiteX12" fmla="*/ 473107 w 545559"/>
                <a:gd name="connsiteY12" fmla="*/ 266751 h 291650"/>
                <a:gd name="connsiteX13" fmla="*/ 473107 w 545559"/>
                <a:gd name="connsiteY13" fmla="*/ 25008 h 291650"/>
                <a:gd name="connsiteX14" fmla="*/ 505646 w 545559"/>
                <a:gd name="connsiteY14" fmla="*/ 25008 h 291650"/>
                <a:gd name="connsiteX15" fmla="*/ 520505 w 545559"/>
                <a:gd name="connsiteY15" fmla="*/ 39840 h 291650"/>
                <a:gd name="connsiteX16" fmla="*/ 455428 w 545559"/>
                <a:gd name="connsiteY16" fmla="*/ 25008 h 291650"/>
                <a:gd name="connsiteX17" fmla="*/ 455428 w 545559"/>
                <a:gd name="connsiteY17" fmla="*/ 266751 h 291650"/>
                <a:gd name="connsiteX18" fmla="*/ 124296 w 545559"/>
                <a:gd name="connsiteY18" fmla="*/ 266751 h 291650"/>
                <a:gd name="connsiteX19" fmla="*/ 124296 w 545559"/>
                <a:gd name="connsiteY19" fmla="*/ 25008 h 291650"/>
                <a:gd name="connsiteX20" fmla="*/ 106183 w 545559"/>
                <a:gd name="connsiteY20" fmla="*/ 25008 h 291650"/>
                <a:gd name="connsiteX21" fmla="*/ 106183 w 545559"/>
                <a:gd name="connsiteY21" fmla="*/ 266751 h 291650"/>
                <a:gd name="connsiteX22" fmla="*/ 39914 w 545559"/>
                <a:gd name="connsiteY22" fmla="*/ 266751 h 291650"/>
                <a:gd name="connsiteX23" fmla="*/ 24946 w 545559"/>
                <a:gd name="connsiteY23" fmla="*/ 251811 h 291650"/>
                <a:gd name="connsiteX24" fmla="*/ 24946 w 545559"/>
                <a:gd name="connsiteY24" fmla="*/ 39840 h 291650"/>
                <a:gd name="connsiteX25" fmla="*/ 39914 w 545559"/>
                <a:gd name="connsiteY25" fmla="*/ 25008 h 291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545559" h="291650">
                  <a:moveTo>
                    <a:pt x="505646" y="0"/>
                  </a:moveTo>
                  <a:lnTo>
                    <a:pt x="39914" y="0"/>
                  </a:lnTo>
                  <a:cubicBezTo>
                    <a:pt x="17896" y="54"/>
                    <a:pt x="65" y="17863"/>
                    <a:pt x="0" y="39840"/>
                  </a:cubicBezTo>
                  <a:lnTo>
                    <a:pt x="0" y="251811"/>
                  </a:lnTo>
                  <a:cubicBezTo>
                    <a:pt x="0" y="273809"/>
                    <a:pt x="17875" y="291650"/>
                    <a:pt x="39914" y="291650"/>
                  </a:cubicBezTo>
                  <a:lnTo>
                    <a:pt x="505646" y="291650"/>
                  </a:lnTo>
                  <a:cubicBezTo>
                    <a:pt x="527685" y="291650"/>
                    <a:pt x="545559" y="273809"/>
                    <a:pt x="545559" y="251811"/>
                  </a:cubicBezTo>
                  <a:lnTo>
                    <a:pt x="545559" y="39840"/>
                  </a:lnTo>
                  <a:cubicBezTo>
                    <a:pt x="545505" y="17863"/>
                    <a:pt x="527663" y="65"/>
                    <a:pt x="505646" y="0"/>
                  </a:cubicBezTo>
                  <a:close/>
                  <a:moveTo>
                    <a:pt x="520505" y="251811"/>
                  </a:moveTo>
                  <a:cubicBezTo>
                    <a:pt x="520559" y="260006"/>
                    <a:pt x="513964" y="266686"/>
                    <a:pt x="505754" y="266751"/>
                  </a:cubicBezTo>
                  <a:cubicBezTo>
                    <a:pt x="505722" y="266751"/>
                    <a:pt x="505678" y="266751"/>
                    <a:pt x="505646" y="266751"/>
                  </a:cubicBezTo>
                  <a:lnTo>
                    <a:pt x="473107" y="266751"/>
                  </a:lnTo>
                  <a:lnTo>
                    <a:pt x="473107" y="25008"/>
                  </a:lnTo>
                  <a:lnTo>
                    <a:pt x="505646" y="25008"/>
                  </a:lnTo>
                  <a:cubicBezTo>
                    <a:pt x="513856" y="25008"/>
                    <a:pt x="520505" y="31644"/>
                    <a:pt x="520505" y="39840"/>
                  </a:cubicBezTo>
                  <a:close/>
                  <a:moveTo>
                    <a:pt x="455428" y="25008"/>
                  </a:moveTo>
                  <a:lnTo>
                    <a:pt x="455428" y="266751"/>
                  </a:lnTo>
                  <a:lnTo>
                    <a:pt x="124296" y="266751"/>
                  </a:lnTo>
                  <a:lnTo>
                    <a:pt x="124296" y="25008"/>
                  </a:lnTo>
                  <a:close/>
                  <a:moveTo>
                    <a:pt x="106183" y="25008"/>
                  </a:moveTo>
                  <a:lnTo>
                    <a:pt x="106183" y="266751"/>
                  </a:lnTo>
                  <a:lnTo>
                    <a:pt x="39914" y="266751"/>
                  </a:lnTo>
                  <a:cubicBezTo>
                    <a:pt x="31649" y="266751"/>
                    <a:pt x="24946" y="260060"/>
                    <a:pt x="24946" y="251811"/>
                  </a:cubicBezTo>
                  <a:lnTo>
                    <a:pt x="24946" y="39840"/>
                  </a:lnTo>
                  <a:cubicBezTo>
                    <a:pt x="25000" y="31634"/>
                    <a:pt x="31692" y="25008"/>
                    <a:pt x="39914" y="25008"/>
                  </a:cubicBezTo>
                  <a:close/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 52">
              <a:extLst>
                <a:ext uri="{FF2B5EF4-FFF2-40B4-BE49-F238E27FC236}">
                  <a16:creationId xmlns:a16="http://schemas.microsoft.com/office/drawing/2014/main" id="{D4D92747-5B17-8C4E-8576-9500F697A538}"/>
                </a:ext>
              </a:extLst>
            </p:cNvPr>
            <p:cNvSpPr/>
            <p:nvPr/>
          </p:nvSpPr>
          <p:spPr>
            <a:xfrm>
              <a:off x="11115644" y="4328528"/>
              <a:ext cx="571289" cy="24472"/>
            </a:xfrm>
            <a:custGeom>
              <a:avLst/>
              <a:gdLst>
                <a:gd name="connsiteX0" fmla="*/ 557882 w 571289"/>
                <a:gd name="connsiteY0" fmla="*/ 57 h 24472"/>
                <a:gd name="connsiteX1" fmla="*/ 13407 w 571289"/>
                <a:gd name="connsiteY1" fmla="*/ 57 h 24472"/>
                <a:gd name="connsiteX2" fmla="*/ 56 w 571289"/>
                <a:gd name="connsiteY2" fmla="*/ 11088 h 24472"/>
                <a:gd name="connsiteX3" fmla="*/ 11108 w 571289"/>
                <a:gd name="connsiteY3" fmla="*/ 24415 h 24472"/>
                <a:gd name="connsiteX4" fmla="*/ 13407 w 571289"/>
                <a:gd name="connsiteY4" fmla="*/ 24415 h 24472"/>
                <a:gd name="connsiteX5" fmla="*/ 557882 w 571289"/>
                <a:gd name="connsiteY5" fmla="*/ 24415 h 24472"/>
                <a:gd name="connsiteX6" fmla="*/ 571234 w 571289"/>
                <a:gd name="connsiteY6" fmla="*/ 13384 h 24472"/>
                <a:gd name="connsiteX7" fmla="*/ 560181 w 571289"/>
                <a:gd name="connsiteY7" fmla="*/ 57 h 24472"/>
                <a:gd name="connsiteX8" fmla="*/ 557882 w 571289"/>
                <a:gd name="connsiteY8" fmla="*/ 57 h 24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289" h="24472">
                  <a:moveTo>
                    <a:pt x="557882" y="57"/>
                  </a:moveTo>
                  <a:lnTo>
                    <a:pt x="13407" y="57"/>
                  </a:lnTo>
                  <a:cubicBezTo>
                    <a:pt x="6672" y="-582"/>
                    <a:pt x="685" y="4355"/>
                    <a:pt x="56" y="11088"/>
                  </a:cubicBezTo>
                  <a:cubicBezTo>
                    <a:pt x="-584" y="17811"/>
                    <a:pt x="4362" y="23776"/>
                    <a:pt x="11108" y="24415"/>
                  </a:cubicBezTo>
                  <a:cubicBezTo>
                    <a:pt x="11868" y="24491"/>
                    <a:pt x="12638" y="24491"/>
                    <a:pt x="13407" y="24415"/>
                  </a:cubicBezTo>
                  <a:lnTo>
                    <a:pt x="557882" y="24415"/>
                  </a:lnTo>
                  <a:cubicBezTo>
                    <a:pt x="564617" y="25054"/>
                    <a:pt x="570604" y="20107"/>
                    <a:pt x="571234" y="13384"/>
                  </a:cubicBezTo>
                  <a:cubicBezTo>
                    <a:pt x="571873" y="6661"/>
                    <a:pt x="566928" y="696"/>
                    <a:pt x="560181" y="57"/>
                  </a:cubicBezTo>
                  <a:cubicBezTo>
                    <a:pt x="559423" y="-19"/>
                    <a:pt x="558652" y="-19"/>
                    <a:pt x="557882" y="57"/>
                  </a:cubicBezTo>
                  <a:close/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 53">
              <a:extLst>
                <a:ext uri="{FF2B5EF4-FFF2-40B4-BE49-F238E27FC236}">
                  <a16:creationId xmlns:a16="http://schemas.microsoft.com/office/drawing/2014/main" id="{B0A92364-5A89-D249-BA26-D28C5508E138}"/>
                </a:ext>
              </a:extLst>
            </p:cNvPr>
            <p:cNvSpPr/>
            <p:nvPr/>
          </p:nvSpPr>
          <p:spPr>
            <a:xfrm>
              <a:off x="11116795" y="4225197"/>
              <a:ext cx="568987" cy="24466"/>
            </a:xfrm>
            <a:custGeom>
              <a:avLst/>
              <a:gdLst>
                <a:gd name="connsiteX0" fmla="*/ 556731 w 568987"/>
                <a:gd name="connsiteY0" fmla="*/ 0 h 24466"/>
                <a:gd name="connsiteX1" fmla="*/ 12256 w 568987"/>
                <a:gd name="connsiteY1" fmla="*/ 0 h 24466"/>
                <a:gd name="connsiteX2" fmla="*/ 0 w 568987"/>
                <a:gd name="connsiteY2" fmla="*/ 12233 h 24466"/>
                <a:gd name="connsiteX3" fmla="*/ 12256 w 568987"/>
                <a:gd name="connsiteY3" fmla="*/ 24467 h 24466"/>
                <a:gd name="connsiteX4" fmla="*/ 556731 w 568987"/>
                <a:gd name="connsiteY4" fmla="*/ 24467 h 24466"/>
                <a:gd name="connsiteX5" fmla="*/ 568987 w 568987"/>
                <a:gd name="connsiteY5" fmla="*/ 12233 h 24466"/>
                <a:gd name="connsiteX6" fmla="*/ 556731 w 568987"/>
                <a:gd name="connsiteY6" fmla="*/ 0 h 24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68987" h="24466">
                  <a:moveTo>
                    <a:pt x="556731" y="0"/>
                  </a:moveTo>
                  <a:lnTo>
                    <a:pt x="12256" y="0"/>
                  </a:lnTo>
                  <a:cubicBezTo>
                    <a:pt x="5489" y="0"/>
                    <a:pt x="0" y="5478"/>
                    <a:pt x="0" y="12233"/>
                  </a:cubicBezTo>
                  <a:cubicBezTo>
                    <a:pt x="0" y="18989"/>
                    <a:pt x="5489" y="24467"/>
                    <a:pt x="12256" y="24467"/>
                  </a:cubicBezTo>
                  <a:lnTo>
                    <a:pt x="556731" y="24467"/>
                  </a:lnTo>
                  <a:cubicBezTo>
                    <a:pt x="563499" y="24467"/>
                    <a:pt x="568987" y="18989"/>
                    <a:pt x="568987" y="12233"/>
                  </a:cubicBezTo>
                  <a:cubicBezTo>
                    <a:pt x="568987" y="5478"/>
                    <a:pt x="563499" y="0"/>
                    <a:pt x="556731" y="0"/>
                  </a:cubicBezTo>
                  <a:close/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eform 54">
              <a:extLst>
                <a:ext uri="{FF2B5EF4-FFF2-40B4-BE49-F238E27FC236}">
                  <a16:creationId xmlns:a16="http://schemas.microsoft.com/office/drawing/2014/main" id="{CCA1C088-08C9-9E44-99D6-F31BF72FD8FC}"/>
                </a:ext>
              </a:extLst>
            </p:cNvPr>
            <p:cNvSpPr/>
            <p:nvPr/>
          </p:nvSpPr>
          <p:spPr>
            <a:xfrm>
              <a:off x="11115644" y="4121861"/>
              <a:ext cx="571289" cy="24472"/>
            </a:xfrm>
            <a:custGeom>
              <a:avLst/>
              <a:gdLst>
                <a:gd name="connsiteX0" fmla="*/ 557882 w 571289"/>
                <a:gd name="connsiteY0" fmla="*/ 57 h 24472"/>
                <a:gd name="connsiteX1" fmla="*/ 13407 w 571289"/>
                <a:gd name="connsiteY1" fmla="*/ 57 h 24472"/>
                <a:gd name="connsiteX2" fmla="*/ 56 w 571289"/>
                <a:gd name="connsiteY2" fmla="*/ 11088 h 24472"/>
                <a:gd name="connsiteX3" fmla="*/ 11108 w 571289"/>
                <a:gd name="connsiteY3" fmla="*/ 24415 h 24472"/>
                <a:gd name="connsiteX4" fmla="*/ 13407 w 571289"/>
                <a:gd name="connsiteY4" fmla="*/ 24415 h 24472"/>
                <a:gd name="connsiteX5" fmla="*/ 557882 w 571289"/>
                <a:gd name="connsiteY5" fmla="*/ 24415 h 24472"/>
                <a:gd name="connsiteX6" fmla="*/ 571234 w 571289"/>
                <a:gd name="connsiteY6" fmla="*/ 13384 h 24472"/>
                <a:gd name="connsiteX7" fmla="*/ 560181 w 571289"/>
                <a:gd name="connsiteY7" fmla="*/ 57 h 24472"/>
                <a:gd name="connsiteX8" fmla="*/ 557882 w 571289"/>
                <a:gd name="connsiteY8" fmla="*/ 57 h 24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289" h="24472">
                  <a:moveTo>
                    <a:pt x="557882" y="57"/>
                  </a:moveTo>
                  <a:lnTo>
                    <a:pt x="13407" y="57"/>
                  </a:lnTo>
                  <a:cubicBezTo>
                    <a:pt x="6672" y="-582"/>
                    <a:pt x="685" y="4355"/>
                    <a:pt x="56" y="11088"/>
                  </a:cubicBezTo>
                  <a:cubicBezTo>
                    <a:pt x="-584" y="17811"/>
                    <a:pt x="4362" y="23776"/>
                    <a:pt x="11108" y="24415"/>
                  </a:cubicBezTo>
                  <a:cubicBezTo>
                    <a:pt x="11868" y="24491"/>
                    <a:pt x="12638" y="24491"/>
                    <a:pt x="13407" y="24415"/>
                  </a:cubicBezTo>
                  <a:lnTo>
                    <a:pt x="557882" y="24415"/>
                  </a:lnTo>
                  <a:cubicBezTo>
                    <a:pt x="564617" y="25054"/>
                    <a:pt x="570604" y="20107"/>
                    <a:pt x="571234" y="13384"/>
                  </a:cubicBezTo>
                  <a:cubicBezTo>
                    <a:pt x="571873" y="6661"/>
                    <a:pt x="566928" y="696"/>
                    <a:pt x="560181" y="57"/>
                  </a:cubicBezTo>
                  <a:cubicBezTo>
                    <a:pt x="559423" y="-19"/>
                    <a:pt x="558652" y="-19"/>
                    <a:pt x="557882" y="57"/>
                  </a:cubicBezTo>
                  <a:close/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 55">
              <a:extLst>
                <a:ext uri="{FF2B5EF4-FFF2-40B4-BE49-F238E27FC236}">
                  <a16:creationId xmlns:a16="http://schemas.microsoft.com/office/drawing/2014/main" id="{EC8B182C-7BE0-7D44-8CC0-52CA21A850D7}"/>
                </a:ext>
              </a:extLst>
            </p:cNvPr>
            <p:cNvSpPr/>
            <p:nvPr/>
          </p:nvSpPr>
          <p:spPr>
            <a:xfrm>
              <a:off x="11116795" y="4018582"/>
              <a:ext cx="265362" cy="24470"/>
            </a:xfrm>
            <a:custGeom>
              <a:avLst/>
              <a:gdLst>
                <a:gd name="connsiteX0" fmla="*/ 0 w 265362"/>
                <a:gd name="connsiteY0" fmla="*/ 12182 h 24470"/>
                <a:gd name="connsiteX1" fmla="*/ 12256 w 265362"/>
                <a:gd name="connsiteY1" fmla="*/ 24415 h 24470"/>
                <a:gd name="connsiteX2" fmla="*/ 251956 w 265362"/>
                <a:gd name="connsiteY2" fmla="*/ 24415 h 24470"/>
                <a:gd name="connsiteX3" fmla="*/ 265307 w 265362"/>
                <a:gd name="connsiteY3" fmla="*/ 13384 h 24470"/>
                <a:gd name="connsiteX4" fmla="*/ 254255 w 265362"/>
                <a:gd name="connsiteY4" fmla="*/ 57 h 24470"/>
                <a:gd name="connsiteX5" fmla="*/ 251956 w 265362"/>
                <a:gd name="connsiteY5" fmla="*/ 57 h 24470"/>
                <a:gd name="connsiteX6" fmla="*/ 12256 w 265362"/>
                <a:gd name="connsiteY6" fmla="*/ 57 h 24470"/>
                <a:gd name="connsiteX7" fmla="*/ 0 w 265362"/>
                <a:gd name="connsiteY7" fmla="*/ 12182 h 24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5362" h="24470">
                  <a:moveTo>
                    <a:pt x="0" y="12182"/>
                  </a:moveTo>
                  <a:cubicBezTo>
                    <a:pt x="54" y="18915"/>
                    <a:pt x="5510" y="24361"/>
                    <a:pt x="12256" y="24415"/>
                  </a:cubicBezTo>
                  <a:lnTo>
                    <a:pt x="251956" y="24415"/>
                  </a:lnTo>
                  <a:cubicBezTo>
                    <a:pt x="258691" y="25054"/>
                    <a:pt x="264678" y="20117"/>
                    <a:pt x="265307" y="13384"/>
                  </a:cubicBezTo>
                  <a:cubicBezTo>
                    <a:pt x="265947" y="6661"/>
                    <a:pt x="261001" y="696"/>
                    <a:pt x="254255" y="57"/>
                  </a:cubicBezTo>
                  <a:cubicBezTo>
                    <a:pt x="253495" y="-19"/>
                    <a:pt x="252725" y="-19"/>
                    <a:pt x="251956" y="57"/>
                  </a:cubicBezTo>
                  <a:lnTo>
                    <a:pt x="12256" y="57"/>
                  </a:lnTo>
                  <a:cubicBezTo>
                    <a:pt x="5532" y="57"/>
                    <a:pt x="54" y="5470"/>
                    <a:pt x="0" y="12182"/>
                  </a:cubicBezTo>
                  <a:close/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 56">
              <a:extLst>
                <a:ext uri="{FF2B5EF4-FFF2-40B4-BE49-F238E27FC236}">
                  <a16:creationId xmlns:a16="http://schemas.microsoft.com/office/drawing/2014/main" id="{EA89A5C4-735E-494D-B150-918B09A3D2EA}"/>
                </a:ext>
              </a:extLst>
            </p:cNvPr>
            <p:cNvSpPr/>
            <p:nvPr/>
          </p:nvSpPr>
          <p:spPr>
            <a:xfrm>
              <a:off x="11524218" y="4018582"/>
              <a:ext cx="162716" cy="24472"/>
            </a:xfrm>
            <a:custGeom>
              <a:avLst/>
              <a:gdLst>
                <a:gd name="connsiteX0" fmla="*/ 149309 w 162716"/>
                <a:gd name="connsiteY0" fmla="*/ 57 h 24472"/>
                <a:gd name="connsiteX1" fmla="*/ 13407 w 162716"/>
                <a:gd name="connsiteY1" fmla="*/ 57 h 24472"/>
                <a:gd name="connsiteX2" fmla="*/ 56 w 162716"/>
                <a:gd name="connsiteY2" fmla="*/ 11088 h 24472"/>
                <a:gd name="connsiteX3" fmla="*/ 11108 w 162716"/>
                <a:gd name="connsiteY3" fmla="*/ 24415 h 24472"/>
                <a:gd name="connsiteX4" fmla="*/ 13407 w 162716"/>
                <a:gd name="connsiteY4" fmla="*/ 24415 h 24472"/>
                <a:gd name="connsiteX5" fmla="*/ 149309 w 162716"/>
                <a:gd name="connsiteY5" fmla="*/ 24415 h 24472"/>
                <a:gd name="connsiteX6" fmla="*/ 162661 w 162716"/>
                <a:gd name="connsiteY6" fmla="*/ 13384 h 24472"/>
                <a:gd name="connsiteX7" fmla="*/ 151608 w 162716"/>
                <a:gd name="connsiteY7" fmla="*/ 57 h 24472"/>
                <a:gd name="connsiteX8" fmla="*/ 149309 w 162716"/>
                <a:gd name="connsiteY8" fmla="*/ 57 h 24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716" h="24472">
                  <a:moveTo>
                    <a:pt x="149309" y="57"/>
                  </a:moveTo>
                  <a:lnTo>
                    <a:pt x="13407" y="57"/>
                  </a:lnTo>
                  <a:cubicBezTo>
                    <a:pt x="6672" y="-582"/>
                    <a:pt x="685" y="4365"/>
                    <a:pt x="56" y="11088"/>
                  </a:cubicBezTo>
                  <a:cubicBezTo>
                    <a:pt x="-584" y="17811"/>
                    <a:pt x="4361" y="23776"/>
                    <a:pt x="11108" y="24415"/>
                  </a:cubicBezTo>
                  <a:cubicBezTo>
                    <a:pt x="11867" y="24491"/>
                    <a:pt x="12637" y="24491"/>
                    <a:pt x="13407" y="24415"/>
                  </a:cubicBezTo>
                  <a:lnTo>
                    <a:pt x="149309" y="24415"/>
                  </a:lnTo>
                  <a:cubicBezTo>
                    <a:pt x="156044" y="25054"/>
                    <a:pt x="162031" y="20117"/>
                    <a:pt x="162661" y="13384"/>
                  </a:cubicBezTo>
                  <a:cubicBezTo>
                    <a:pt x="163300" y="6661"/>
                    <a:pt x="158354" y="696"/>
                    <a:pt x="151608" y="57"/>
                  </a:cubicBezTo>
                  <a:cubicBezTo>
                    <a:pt x="150849" y="-19"/>
                    <a:pt x="150079" y="-19"/>
                    <a:pt x="149309" y="57"/>
                  </a:cubicBezTo>
                  <a:close/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eform 57">
              <a:extLst>
                <a:ext uri="{FF2B5EF4-FFF2-40B4-BE49-F238E27FC236}">
                  <a16:creationId xmlns:a16="http://schemas.microsoft.com/office/drawing/2014/main" id="{6DA66D69-2399-A744-9CCF-A3E7FBFE654B}"/>
                </a:ext>
              </a:extLst>
            </p:cNvPr>
            <p:cNvSpPr/>
            <p:nvPr/>
          </p:nvSpPr>
          <p:spPr>
            <a:xfrm>
              <a:off x="8773203" y="1240275"/>
              <a:ext cx="201366" cy="243260"/>
            </a:xfrm>
            <a:custGeom>
              <a:avLst/>
              <a:gdLst>
                <a:gd name="connsiteX0" fmla="*/ 188796 w 201366"/>
                <a:gd name="connsiteY0" fmla="*/ 131861 h 243260"/>
                <a:gd name="connsiteX1" fmla="*/ 134566 w 201366"/>
                <a:gd name="connsiteY1" fmla="*/ 131320 h 243260"/>
                <a:gd name="connsiteX2" fmla="*/ 128926 w 201366"/>
                <a:gd name="connsiteY2" fmla="*/ 125692 h 243260"/>
                <a:gd name="connsiteX3" fmla="*/ 128926 w 201366"/>
                <a:gd name="connsiteY3" fmla="*/ 125582 h 243260"/>
                <a:gd name="connsiteX4" fmla="*/ 130011 w 201366"/>
                <a:gd name="connsiteY4" fmla="*/ 29232 h 243260"/>
                <a:gd name="connsiteX5" fmla="*/ 101377 w 201366"/>
                <a:gd name="connsiteY5" fmla="*/ 2 h 243260"/>
                <a:gd name="connsiteX6" fmla="*/ 72092 w 201366"/>
                <a:gd name="connsiteY6" fmla="*/ 28582 h 243260"/>
                <a:gd name="connsiteX7" fmla="*/ 71116 w 201366"/>
                <a:gd name="connsiteY7" fmla="*/ 124933 h 243260"/>
                <a:gd name="connsiteX8" fmla="*/ 65476 w 201366"/>
                <a:gd name="connsiteY8" fmla="*/ 130563 h 243260"/>
                <a:gd name="connsiteX9" fmla="*/ 65367 w 201366"/>
                <a:gd name="connsiteY9" fmla="*/ 130562 h 243260"/>
                <a:gd name="connsiteX10" fmla="*/ 13306 w 201366"/>
                <a:gd name="connsiteY10" fmla="*/ 130562 h 243260"/>
                <a:gd name="connsiteX11" fmla="*/ 1050 w 201366"/>
                <a:gd name="connsiteY11" fmla="*/ 138574 h 243260"/>
                <a:gd name="connsiteX12" fmla="*/ 3870 w 201366"/>
                <a:gd name="connsiteY12" fmla="*/ 152864 h 243260"/>
                <a:gd name="connsiteX13" fmla="*/ 90639 w 201366"/>
                <a:gd name="connsiteY13" fmla="*/ 239471 h 243260"/>
                <a:gd name="connsiteX14" fmla="*/ 99858 w 201366"/>
                <a:gd name="connsiteY14" fmla="*/ 243260 h 243260"/>
                <a:gd name="connsiteX15" fmla="*/ 108969 w 201366"/>
                <a:gd name="connsiteY15" fmla="*/ 239579 h 243260"/>
                <a:gd name="connsiteX16" fmla="*/ 197257 w 201366"/>
                <a:gd name="connsiteY16" fmla="*/ 154921 h 243260"/>
                <a:gd name="connsiteX17" fmla="*/ 200402 w 201366"/>
                <a:gd name="connsiteY17" fmla="*/ 140739 h 243260"/>
                <a:gd name="connsiteX18" fmla="*/ 188796 w 201366"/>
                <a:gd name="connsiteY18" fmla="*/ 131861 h 24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01366" h="243260">
                  <a:moveTo>
                    <a:pt x="188796" y="131861"/>
                  </a:moveTo>
                  <a:lnTo>
                    <a:pt x="134566" y="131320"/>
                  </a:lnTo>
                  <a:cubicBezTo>
                    <a:pt x="131453" y="131321"/>
                    <a:pt x="128926" y="128801"/>
                    <a:pt x="128926" y="125692"/>
                  </a:cubicBezTo>
                  <a:cubicBezTo>
                    <a:pt x="128926" y="125655"/>
                    <a:pt x="128926" y="125619"/>
                    <a:pt x="128926" y="125582"/>
                  </a:cubicBezTo>
                  <a:lnTo>
                    <a:pt x="130011" y="29232"/>
                  </a:lnTo>
                  <a:cubicBezTo>
                    <a:pt x="130195" y="13268"/>
                    <a:pt x="117374" y="182"/>
                    <a:pt x="101377" y="2"/>
                  </a:cubicBezTo>
                  <a:cubicBezTo>
                    <a:pt x="85379" y="-178"/>
                    <a:pt x="72277" y="12618"/>
                    <a:pt x="72092" y="28582"/>
                  </a:cubicBezTo>
                  <a:lnTo>
                    <a:pt x="71116" y="124933"/>
                  </a:lnTo>
                  <a:cubicBezTo>
                    <a:pt x="71116" y="128042"/>
                    <a:pt x="68589" y="130562"/>
                    <a:pt x="65476" y="130563"/>
                  </a:cubicBezTo>
                  <a:cubicBezTo>
                    <a:pt x="65444" y="130563"/>
                    <a:pt x="65400" y="130563"/>
                    <a:pt x="65367" y="130562"/>
                  </a:cubicBezTo>
                  <a:lnTo>
                    <a:pt x="13306" y="130562"/>
                  </a:lnTo>
                  <a:cubicBezTo>
                    <a:pt x="7970" y="130496"/>
                    <a:pt x="3122" y="133664"/>
                    <a:pt x="1050" y="138574"/>
                  </a:cubicBezTo>
                  <a:cubicBezTo>
                    <a:pt x="-1054" y="143461"/>
                    <a:pt x="63" y="149139"/>
                    <a:pt x="3870" y="152864"/>
                  </a:cubicBezTo>
                  <a:lnTo>
                    <a:pt x="90639" y="239471"/>
                  </a:lnTo>
                  <a:cubicBezTo>
                    <a:pt x="93101" y="241875"/>
                    <a:pt x="96409" y="243234"/>
                    <a:pt x="99858" y="243260"/>
                  </a:cubicBezTo>
                  <a:cubicBezTo>
                    <a:pt x="103264" y="243269"/>
                    <a:pt x="106528" y="241948"/>
                    <a:pt x="108969" y="239579"/>
                  </a:cubicBezTo>
                  <a:lnTo>
                    <a:pt x="197257" y="154921"/>
                  </a:lnTo>
                  <a:cubicBezTo>
                    <a:pt x="201183" y="151322"/>
                    <a:pt x="202441" y="145656"/>
                    <a:pt x="200402" y="140739"/>
                  </a:cubicBezTo>
                  <a:cubicBezTo>
                    <a:pt x="198720" y="135685"/>
                    <a:pt x="194122" y="132167"/>
                    <a:pt x="188796" y="131861"/>
                  </a:cubicBezTo>
                  <a:close/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eform 58">
              <a:extLst>
                <a:ext uri="{FF2B5EF4-FFF2-40B4-BE49-F238E27FC236}">
                  <a16:creationId xmlns:a16="http://schemas.microsoft.com/office/drawing/2014/main" id="{27BC1446-95A0-6441-854C-5D74F05AD473}"/>
                </a:ext>
              </a:extLst>
            </p:cNvPr>
            <p:cNvSpPr/>
            <p:nvPr/>
          </p:nvSpPr>
          <p:spPr>
            <a:xfrm>
              <a:off x="8262125" y="725396"/>
              <a:ext cx="1122337" cy="700977"/>
            </a:xfrm>
            <a:custGeom>
              <a:avLst/>
              <a:gdLst>
                <a:gd name="connsiteX0" fmla="*/ 956602 w 1122337"/>
                <a:gd name="connsiteY0" fmla="*/ 385078 h 700977"/>
                <a:gd name="connsiteX1" fmla="*/ 959964 w 1122337"/>
                <a:gd name="connsiteY1" fmla="*/ 352600 h 700977"/>
                <a:gd name="connsiteX2" fmla="*/ 782955 w 1122337"/>
                <a:gd name="connsiteY2" fmla="*/ 172132 h 700977"/>
                <a:gd name="connsiteX3" fmla="*/ 735775 w 1122337"/>
                <a:gd name="connsiteY3" fmla="*/ 178086 h 700977"/>
                <a:gd name="connsiteX4" fmla="*/ 507790 w 1122337"/>
                <a:gd name="connsiteY4" fmla="*/ 0 h 700977"/>
                <a:gd name="connsiteX5" fmla="*/ 505187 w 1122337"/>
                <a:gd name="connsiteY5" fmla="*/ 0 h 700977"/>
                <a:gd name="connsiteX6" fmla="*/ 267223 w 1122337"/>
                <a:gd name="connsiteY6" fmla="*/ 222256 h 700977"/>
                <a:gd name="connsiteX7" fmla="*/ 239349 w 1122337"/>
                <a:gd name="connsiteY7" fmla="*/ 220307 h 700977"/>
                <a:gd name="connsiteX8" fmla="*/ 236745 w 1122337"/>
                <a:gd name="connsiteY8" fmla="*/ 220307 h 700977"/>
                <a:gd name="connsiteX9" fmla="*/ 7 w 1122337"/>
                <a:gd name="connsiteY9" fmla="*/ 460338 h 700977"/>
                <a:gd name="connsiteX10" fmla="*/ 193361 w 1122337"/>
                <a:gd name="connsiteY10" fmla="*/ 692317 h 700977"/>
                <a:gd name="connsiteX11" fmla="*/ 195964 w 1122337"/>
                <a:gd name="connsiteY11" fmla="*/ 692317 h 700977"/>
                <a:gd name="connsiteX12" fmla="*/ 407029 w 1122337"/>
                <a:gd name="connsiteY12" fmla="*/ 694482 h 700977"/>
                <a:gd name="connsiteX13" fmla="*/ 407029 w 1122337"/>
                <a:gd name="connsiteY13" fmla="*/ 694482 h 700977"/>
                <a:gd name="connsiteX14" fmla="*/ 420674 w 1122337"/>
                <a:gd name="connsiteY14" fmla="*/ 678326 h 700977"/>
                <a:gd name="connsiteX15" fmla="*/ 407029 w 1122337"/>
                <a:gd name="connsiteY15" fmla="*/ 664711 h 700977"/>
                <a:gd name="connsiteX16" fmla="*/ 197266 w 1122337"/>
                <a:gd name="connsiteY16" fmla="*/ 662546 h 700977"/>
                <a:gd name="connsiteX17" fmla="*/ 32763 w 1122337"/>
                <a:gd name="connsiteY17" fmla="*/ 418171 h 700977"/>
                <a:gd name="connsiteX18" fmla="*/ 236745 w 1122337"/>
                <a:gd name="connsiteY18" fmla="*/ 250079 h 700977"/>
                <a:gd name="connsiteX19" fmla="*/ 239023 w 1122337"/>
                <a:gd name="connsiteY19" fmla="*/ 250079 h 700977"/>
                <a:gd name="connsiteX20" fmla="*/ 278828 w 1122337"/>
                <a:gd name="connsiteY20" fmla="*/ 254409 h 700977"/>
                <a:gd name="connsiteX21" fmla="*/ 296410 w 1122337"/>
                <a:gd name="connsiteY21" fmla="*/ 242924 h 700977"/>
                <a:gd name="connsiteX22" fmla="*/ 296724 w 1122337"/>
                <a:gd name="connsiteY22" fmla="*/ 239686 h 700977"/>
                <a:gd name="connsiteX23" fmla="*/ 296724 w 1122337"/>
                <a:gd name="connsiteY23" fmla="*/ 237087 h 700977"/>
                <a:gd name="connsiteX24" fmla="*/ 296724 w 1122337"/>
                <a:gd name="connsiteY24" fmla="*/ 235788 h 700977"/>
                <a:gd name="connsiteX25" fmla="*/ 505295 w 1122337"/>
                <a:gd name="connsiteY25" fmla="*/ 30096 h 700977"/>
                <a:gd name="connsiteX26" fmla="*/ 507573 w 1122337"/>
                <a:gd name="connsiteY26" fmla="*/ 30096 h 700977"/>
                <a:gd name="connsiteX27" fmla="*/ 710721 w 1122337"/>
                <a:gd name="connsiteY27" fmla="*/ 199413 h 700977"/>
                <a:gd name="connsiteX28" fmla="*/ 728551 w 1122337"/>
                <a:gd name="connsiteY28" fmla="*/ 210792 h 700977"/>
                <a:gd name="connsiteX29" fmla="*/ 730461 w 1122337"/>
                <a:gd name="connsiteY29" fmla="*/ 210239 h 700977"/>
                <a:gd name="connsiteX30" fmla="*/ 783173 w 1122337"/>
                <a:gd name="connsiteY30" fmla="*/ 201037 h 700977"/>
                <a:gd name="connsiteX31" fmla="*/ 931124 w 1122337"/>
                <a:gd name="connsiteY31" fmla="*/ 351065 h 700977"/>
                <a:gd name="connsiteX32" fmla="*/ 924172 w 1122337"/>
                <a:gd name="connsiteY32" fmla="*/ 394821 h 700977"/>
                <a:gd name="connsiteX33" fmla="*/ 926558 w 1122337"/>
                <a:gd name="connsiteY33" fmla="*/ 408353 h 700977"/>
                <a:gd name="connsiteX34" fmla="*/ 938922 w 1122337"/>
                <a:gd name="connsiteY34" fmla="*/ 414199 h 700977"/>
                <a:gd name="connsiteX35" fmla="*/ 941960 w 1122337"/>
                <a:gd name="connsiteY35" fmla="*/ 414199 h 700977"/>
                <a:gd name="connsiteX36" fmla="*/ 945431 w 1122337"/>
                <a:gd name="connsiteY36" fmla="*/ 414199 h 700977"/>
                <a:gd name="connsiteX37" fmla="*/ 1092937 w 1122337"/>
                <a:gd name="connsiteY37" fmla="*/ 564571 h 700977"/>
                <a:gd name="connsiteX38" fmla="*/ 1068425 w 1122337"/>
                <a:gd name="connsiteY38" fmla="*/ 634832 h 700977"/>
                <a:gd name="connsiteX39" fmla="*/ 992719 w 1122337"/>
                <a:gd name="connsiteY39" fmla="*/ 671207 h 700977"/>
                <a:gd name="connsiteX40" fmla="*/ 802370 w 1122337"/>
                <a:gd name="connsiteY40" fmla="*/ 669150 h 700977"/>
                <a:gd name="connsiteX41" fmla="*/ 802370 w 1122337"/>
                <a:gd name="connsiteY41" fmla="*/ 669150 h 700977"/>
                <a:gd name="connsiteX42" fmla="*/ 788726 w 1122337"/>
                <a:gd name="connsiteY42" fmla="*/ 685306 h 700977"/>
                <a:gd name="connsiteX43" fmla="*/ 802370 w 1122337"/>
                <a:gd name="connsiteY43" fmla="*/ 698921 h 700977"/>
                <a:gd name="connsiteX44" fmla="*/ 992719 w 1122337"/>
                <a:gd name="connsiteY44" fmla="*/ 700978 h 700977"/>
                <a:gd name="connsiteX45" fmla="*/ 994238 w 1122337"/>
                <a:gd name="connsiteY45" fmla="*/ 700978 h 700977"/>
                <a:gd name="connsiteX46" fmla="*/ 1122331 w 1122337"/>
                <a:gd name="connsiteY46" fmla="*/ 565113 h 700977"/>
                <a:gd name="connsiteX47" fmla="*/ 956602 w 1122337"/>
                <a:gd name="connsiteY47" fmla="*/ 385078 h 700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122337" h="700977">
                  <a:moveTo>
                    <a:pt x="956602" y="385078"/>
                  </a:moveTo>
                  <a:cubicBezTo>
                    <a:pt x="958728" y="374380"/>
                    <a:pt x="959855" y="363506"/>
                    <a:pt x="959964" y="352600"/>
                  </a:cubicBezTo>
                  <a:cubicBezTo>
                    <a:pt x="960929" y="254011"/>
                    <a:pt x="881731" y="173262"/>
                    <a:pt x="782955" y="172132"/>
                  </a:cubicBezTo>
                  <a:cubicBezTo>
                    <a:pt x="767034" y="172050"/>
                    <a:pt x="751176" y="174051"/>
                    <a:pt x="735775" y="178086"/>
                  </a:cubicBezTo>
                  <a:cubicBezTo>
                    <a:pt x="708660" y="74234"/>
                    <a:pt x="615307" y="1312"/>
                    <a:pt x="507790" y="0"/>
                  </a:cubicBezTo>
                  <a:lnTo>
                    <a:pt x="505187" y="0"/>
                  </a:lnTo>
                  <a:cubicBezTo>
                    <a:pt x="379632" y="62"/>
                    <a:pt x="275607" y="97221"/>
                    <a:pt x="267223" y="222256"/>
                  </a:cubicBezTo>
                  <a:cubicBezTo>
                    <a:pt x="257982" y="221072"/>
                    <a:pt x="248665" y="220421"/>
                    <a:pt x="239349" y="220307"/>
                  </a:cubicBezTo>
                  <a:lnTo>
                    <a:pt x="236745" y="220307"/>
                  </a:lnTo>
                  <a:cubicBezTo>
                    <a:pt x="104965" y="221339"/>
                    <a:pt x="-1023" y="328806"/>
                    <a:pt x="7" y="460338"/>
                  </a:cubicBezTo>
                  <a:cubicBezTo>
                    <a:pt x="908" y="573753"/>
                    <a:pt x="81798" y="670806"/>
                    <a:pt x="193361" y="692317"/>
                  </a:cubicBezTo>
                  <a:lnTo>
                    <a:pt x="195964" y="692317"/>
                  </a:lnTo>
                  <a:lnTo>
                    <a:pt x="407029" y="694482"/>
                  </a:lnTo>
                  <a:lnTo>
                    <a:pt x="407029" y="694482"/>
                  </a:lnTo>
                  <a:cubicBezTo>
                    <a:pt x="415262" y="693781"/>
                    <a:pt x="421368" y="686547"/>
                    <a:pt x="420674" y="678326"/>
                  </a:cubicBezTo>
                  <a:cubicBezTo>
                    <a:pt x="420045" y="671079"/>
                    <a:pt x="414286" y="665329"/>
                    <a:pt x="407029" y="664711"/>
                  </a:cubicBezTo>
                  <a:lnTo>
                    <a:pt x="197266" y="662546"/>
                  </a:lnTo>
                  <a:cubicBezTo>
                    <a:pt x="84228" y="640406"/>
                    <a:pt x="10582" y="530996"/>
                    <a:pt x="32763" y="418171"/>
                  </a:cubicBezTo>
                  <a:cubicBezTo>
                    <a:pt x="51917" y="320765"/>
                    <a:pt x="137298" y="250403"/>
                    <a:pt x="236745" y="250079"/>
                  </a:cubicBezTo>
                  <a:lnTo>
                    <a:pt x="239023" y="250079"/>
                  </a:lnTo>
                  <a:cubicBezTo>
                    <a:pt x="252397" y="250306"/>
                    <a:pt x="265716" y="251756"/>
                    <a:pt x="278828" y="254409"/>
                  </a:cubicBezTo>
                  <a:cubicBezTo>
                    <a:pt x="286865" y="256084"/>
                    <a:pt x="294729" y="250941"/>
                    <a:pt x="296410" y="242924"/>
                  </a:cubicBezTo>
                  <a:cubicBezTo>
                    <a:pt x="296638" y="241858"/>
                    <a:pt x="296735" y="240773"/>
                    <a:pt x="296724" y="239686"/>
                  </a:cubicBezTo>
                  <a:cubicBezTo>
                    <a:pt x="296779" y="238821"/>
                    <a:pt x="296779" y="237952"/>
                    <a:pt x="296724" y="237087"/>
                  </a:cubicBezTo>
                  <a:lnTo>
                    <a:pt x="296724" y="235788"/>
                  </a:lnTo>
                  <a:cubicBezTo>
                    <a:pt x="298145" y="121811"/>
                    <a:pt x="391097" y="30146"/>
                    <a:pt x="505295" y="30096"/>
                  </a:cubicBezTo>
                  <a:lnTo>
                    <a:pt x="507573" y="30096"/>
                  </a:lnTo>
                  <a:cubicBezTo>
                    <a:pt x="607010" y="31144"/>
                    <a:pt x="691957" y="101941"/>
                    <a:pt x="710721" y="199413"/>
                  </a:cubicBezTo>
                  <a:cubicBezTo>
                    <a:pt x="712499" y="207471"/>
                    <a:pt x="720482" y="212566"/>
                    <a:pt x="728551" y="210792"/>
                  </a:cubicBezTo>
                  <a:cubicBezTo>
                    <a:pt x="729202" y="210650"/>
                    <a:pt x="729842" y="210466"/>
                    <a:pt x="730461" y="210239"/>
                  </a:cubicBezTo>
                  <a:cubicBezTo>
                    <a:pt x="747316" y="203983"/>
                    <a:pt x="765189" y="200864"/>
                    <a:pt x="783173" y="201037"/>
                  </a:cubicBezTo>
                  <a:cubicBezTo>
                    <a:pt x="865538" y="201687"/>
                    <a:pt x="931775" y="268856"/>
                    <a:pt x="931124" y="351065"/>
                  </a:cubicBezTo>
                  <a:cubicBezTo>
                    <a:pt x="931005" y="365915"/>
                    <a:pt x="928662" y="380664"/>
                    <a:pt x="924172" y="394821"/>
                  </a:cubicBezTo>
                  <a:cubicBezTo>
                    <a:pt x="922751" y="399453"/>
                    <a:pt x="923640" y="404482"/>
                    <a:pt x="926558" y="408353"/>
                  </a:cubicBezTo>
                  <a:cubicBezTo>
                    <a:pt x="929541" y="412123"/>
                    <a:pt x="934107" y="414285"/>
                    <a:pt x="938922" y="414199"/>
                  </a:cubicBezTo>
                  <a:lnTo>
                    <a:pt x="941960" y="414199"/>
                  </a:lnTo>
                  <a:cubicBezTo>
                    <a:pt x="943110" y="414034"/>
                    <a:pt x="944281" y="414034"/>
                    <a:pt x="945431" y="414199"/>
                  </a:cubicBezTo>
                  <a:cubicBezTo>
                    <a:pt x="1027731" y="415151"/>
                    <a:pt x="1093719" y="482424"/>
                    <a:pt x="1092937" y="564571"/>
                  </a:cubicBezTo>
                  <a:cubicBezTo>
                    <a:pt x="1092178" y="589945"/>
                    <a:pt x="1083620" y="614472"/>
                    <a:pt x="1068425" y="634832"/>
                  </a:cubicBezTo>
                  <a:cubicBezTo>
                    <a:pt x="1050876" y="658840"/>
                    <a:pt x="1022459" y="672494"/>
                    <a:pt x="992719" y="671207"/>
                  </a:cubicBezTo>
                  <a:lnTo>
                    <a:pt x="802370" y="669150"/>
                  </a:lnTo>
                  <a:lnTo>
                    <a:pt x="802370" y="669150"/>
                  </a:lnTo>
                  <a:cubicBezTo>
                    <a:pt x="794138" y="669851"/>
                    <a:pt x="788032" y="677085"/>
                    <a:pt x="788726" y="685306"/>
                  </a:cubicBezTo>
                  <a:cubicBezTo>
                    <a:pt x="789355" y="692553"/>
                    <a:pt x="795114" y="698303"/>
                    <a:pt x="802370" y="698921"/>
                  </a:cubicBezTo>
                  <a:lnTo>
                    <a:pt x="992719" y="700978"/>
                  </a:lnTo>
                  <a:lnTo>
                    <a:pt x="994238" y="700978"/>
                  </a:lnTo>
                  <a:cubicBezTo>
                    <a:pt x="1081007" y="700978"/>
                    <a:pt x="1121680" y="621732"/>
                    <a:pt x="1122331" y="565113"/>
                  </a:cubicBezTo>
                  <a:cubicBezTo>
                    <a:pt x="1123177" y="470916"/>
                    <a:pt x="1050703" y="392197"/>
                    <a:pt x="956602" y="385078"/>
                  </a:cubicBezTo>
                  <a:close/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eform 59">
              <a:extLst>
                <a:ext uri="{FF2B5EF4-FFF2-40B4-BE49-F238E27FC236}">
                  <a16:creationId xmlns:a16="http://schemas.microsoft.com/office/drawing/2014/main" id="{8E908D33-4F2F-DB43-9EA6-3615E855CC3C}"/>
                </a:ext>
              </a:extLst>
            </p:cNvPr>
            <p:cNvSpPr/>
            <p:nvPr/>
          </p:nvSpPr>
          <p:spPr>
            <a:xfrm>
              <a:off x="7123835" y="883758"/>
              <a:ext cx="707228" cy="495632"/>
            </a:xfrm>
            <a:custGeom>
              <a:avLst/>
              <a:gdLst>
                <a:gd name="connsiteX0" fmla="*/ 324806 w 707228"/>
                <a:gd name="connsiteY0" fmla="*/ 495632 h 495632"/>
                <a:gd name="connsiteX1" fmla="*/ 296498 w 707228"/>
                <a:gd name="connsiteY1" fmla="*/ 477120 h 495632"/>
                <a:gd name="connsiteX2" fmla="*/ 294871 w 707228"/>
                <a:gd name="connsiteY2" fmla="*/ 468568 h 495632"/>
                <a:gd name="connsiteX3" fmla="*/ 288580 w 707228"/>
                <a:gd name="connsiteY3" fmla="*/ 469217 h 495632"/>
                <a:gd name="connsiteX4" fmla="*/ 256042 w 707228"/>
                <a:gd name="connsiteY4" fmla="*/ 447565 h 495632"/>
                <a:gd name="connsiteX5" fmla="*/ 253330 w 707228"/>
                <a:gd name="connsiteY5" fmla="*/ 434249 h 495632"/>
                <a:gd name="connsiteX6" fmla="*/ 250402 w 707228"/>
                <a:gd name="connsiteY6" fmla="*/ 434249 h 495632"/>
                <a:gd name="connsiteX7" fmla="*/ 217863 w 707228"/>
                <a:gd name="connsiteY7" fmla="*/ 412598 h 495632"/>
                <a:gd name="connsiteX8" fmla="*/ 215586 w 707228"/>
                <a:gd name="connsiteY8" fmla="*/ 401122 h 495632"/>
                <a:gd name="connsiteX9" fmla="*/ 208644 w 707228"/>
                <a:gd name="connsiteY9" fmla="*/ 402313 h 495632"/>
                <a:gd name="connsiteX10" fmla="*/ 173611 w 707228"/>
                <a:gd name="connsiteY10" fmla="*/ 367129 h 495632"/>
                <a:gd name="connsiteX11" fmla="*/ 175021 w 707228"/>
                <a:gd name="connsiteY11" fmla="*/ 357061 h 495632"/>
                <a:gd name="connsiteX12" fmla="*/ 165368 w 707228"/>
                <a:gd name="connsiteY12" fmla="*/ 347426 h 495632"/>
                <a:gd name="connsiteX13" fmla="*/ 157776 w 707228"/>
                <a:gd name="connsiteY13" fmla="*/ 335625 h 495632"/>
                <a:gd name="connsiteX14" fmla="*/ 149642 w 707228"/>
                <a:gd name="connsiteY14" fmla="*/ 319170 h 495632"/>
                <a:gd name="connsiteX15" fmla="*/ 143568 w 707228"/>
                <a:gd name="connsiteY15" fmla="*/ 322201 h 495632"/>
                <a:gd name="connsiteX16" fmla="*/ 134132 w 707228"/>
                <a:gd name="connsiteY16" fmla="*/ 318953 h 495632"/>
                <a:gd name="connsiteX17" fmla="*/ 105715 w 707228"/>
                <a:gd name="connsiteY17" fmla="*/ 292538 h 495632"/>
                <a:gd name="connsiteX18" fmla="*/ 100292 w 707228"/>
                <a:gd name="connsiteY18" fmla="*/ 299250 h 495632"/>
                <a:gd name="connsiteX19" fmla="*/ 91723 w 707228"/>
                <a:gd name="connsiteY19" fmla="*/ 303689 h 495632"/>
                <a:gd name="connsiteX20" fmla="*/ 82395 w 707228"/>
                <a:gd name="connsiteY20" fmla="*/ 300766 h 495632"/>
                <a:gd name="connsiteX21" fmla="*/ 4412 w 707228"/>
                <a:gd name="connsiteY21" fmla="*/ 235810 h 495632"/>
                <a:gd name="connsiteX22" fmla="*/ 2677 w 707228"/>
                <a:gd name="connsiteY22" fmla="*/ 218164 h 495632"/>
                <a:gd name="connsiteX23" fmla="*/ 170032 w 707228"/>
                <a:gd name="connsiteY23" fmla="*/ 4894 h 495632"/>
                <a:gd name="connsiteX24" fmla="*/ 188004 w 707228"/>
                <a:gd name="connsiteY24" fmla="*/ 2722 h 495632"/>
                <a:gd name="connsiteX25" fmla="*/ 188145 w 707228"/>
                <a:gd name="connsiteY25" fmla="*/ 2837 h 495632"/>
                <a:gd name="connsiteX26" fmla="*/ 273070 w 707228"/>
                <a:gd name="connsiteY26" fmla="*/ 71798 h 495632"/>
                <a:gd name="connsiteX27" fmla="*/ 274936 w 707228"/>
                <a:gd name="connsiteY27" fmla="*/ 89614 h 495632"/>
                <a:gd name="connsiteX28" fmla="*/ 274805 w 707228"/>
                <a:gd name="connsiteY28" fmla="*/ 89769 h 495632"/>
                <a:gd name="connsiteX29" fmla="*/ 268515 w 707228"/>
                <a:gd name="connsiteY29" fmla="*/ 97347 h 495632"/>
                <a:gd name="connsiteX30" fmla="*/ 301053 w 707228"/>
                <a:gd name="connsiteY30" fmla="*/ 122896 h 495632"/>
                <a:gd name="connsiteX31" fmla="*/ 305609 w 707228"/>
                <a:gd name="connsiteY31" fmla="*/ 131665 h 495632"/>
                <a:gd name="connsiteX32" fmla="*/ 305609 w 707228"/>
                <a:gd name="connsiteY32" fmla="*/ 131665 h 495632"/>
                <a:gd name="connsiteX33" fmla="*/ 317973 w 707228"/>
                <a:gd name="connsiteY33" fmla="*/ 133181 h 495632"/>
                <a:gd name="connsiteX34" fmla="*/ 329795 w 707228"/>
                <a:gd name="connsiteY34" fmla="*/ 137295 h 495632"/>
                <a:gd name="connsiteX35" fmla="*/ 336086 w 707228"/>
                <a:gd name="connsiteY35" fmla="*/ 139893 h 495632"/>
                <a:gd name="connsiteX36" fmla="*/ 346932 w 707228"/>
                <a:gd name="connsiteY36" fmla="*/ 135454 h 495632"/>
                <a:gd name="connsiteX37" fmla="*/ 384785 w 707228"/>
                <a:gd name="connsiteY37" fmla="*/ 125278 h 495632"/>
                <a:gd name="connsiteX38" fmla="*/ 423072 w 707228"/>
                <a:gd name="connsiteY38" fmla="*/ 122896 h 495632"/>
                <a:gd name="connsiteX39" fmla="*/ 423831 w 707228"/>
                <a:gd name="connsiteY39" fmla="*/ 122247 h 495632"/>
                <a:gd name="connsiteX40" fmla="*/ 446391 w 707228"/>
                <a:gd name="connsiteY40" fmla="*/ 103193 h 495632"/>
                <a:gd name="connsiteX41" fmla="*/ 438473 w 707228"/>
                <a:gd name="connsiteY41" fmla="*/ 94424 h 495632"/>
                <a:gd name="connsiteX42" fmla="*/ 439135 w 707228"/>
                <a:gd name="connsiteY42" fmla="*/ 76830 h 495632"/>
                <a:gd name="connsiteX43" fmla="*/ 439558 w 707228"/>
                <a:gd name="connsiteY43" fmla="*/ 76453 h 495632"/>
                <a:gd name="connsiteX44" fmla="*/ 519169 w 707228"/>
                <a:gd name="connsiteY44" fmla="*/ 8358 h 495632"/>
                <a:gd name="connsiteX45" fmla="*/ 537065 w 707228"/>
                <a:gd name="connsiteY45" fmla="*/ 9549 h 495632"/>
                <a:gd name="connsiteX46" fmla="*/ 704203 w 707228"/>
                <a:gd name="connsiteY46" fmla="*/ 201600 h 495632"/>
                <a:gd name="connsiteX47" fmla="*/ 702695 w 707228"/>
                <a:gd name="connsiteY47" fmla="*/ 219603 h 495632"/>
                <a:gd name="connsiteX48" fmla="*/ 702468 w 707228"/>
                <a:gd name="connsiteY48" fmla="*/ 219788 h 495632"/>
                <a:gd name="connsiteX49" fmla="*/ 617543 w 707228"/>
                <a:gd name="connsiteY49" fmla="*/ 287667 h 495632"/>
                <a:gd name="connsiteX50" fmla="*/ 608323 w 707228"/>
                <a:gd name="connsiteY50" fmla="*/ 290265 h 495632"/>
                <a:gd name="connsiteX51" fmla="*/ 599863 w 707228"/>
                <a:gd name="connsiteY51" fmla="*/ 285826 h 495632"/>
                <a:gd name="connsiteX52" fmla="*/ 593573 w 707228"/>
                <a:gd name="connsiteY52" fmla="*/ 278573 h 495632"/>
                <a:gd name="connsiteX53" fmla="*/ 570254 w 707228"/>
                <a:gd name="connsiteY53" fmla="*/ 296327 h 495632"/>
                <a:gd name="connsiteX54" fmla="*/ 569169 w 707228"/>
                <a:gd name="connsiteY54" fmla="*/ 296327 h 495632"/>
                <a:gd name="connsiteX55" fmla="*/ 567108 w 707228"/>
                <a:gd name="connsiteY55" fmla="*/ 297518 h 495632"/>
                <a:gd name="connsiteX56" fmla="*/ 566132 w 707228"/>
                <a:gd name="connsiteY56" fmla="*/ 300116 h 495632"/>
                <a:gd name="connsiteX57" fmla="*/ 512661 w 707228"/>
                <a:gd name="connsiteY57" fmla="*/ 352189 h 495632"/>
                <a:gd name="connsiteX58" fmla="*/ 511793 w 707228"/>
                <a:gd name="connsiteY58" fmla="*/ 352189 h 495632"/>
                <a:gd name="connsiteX59" fmla="*/ 511793 w 707228"/>
                <a:gd name="connsiteY59" fmla="*/ 354787 h 495632"/>
                <a:gd name="connsiteX60" fmla="*/ 510166 w 707228"/>
                <a:gd name="connsiteY60" fmla="*/ 367453 h 495632"/>
                <a:gd name="connsiteX61" fmla="*/ 494005 w 707228"/>
                <a:gd name="connsiteY61" fmla="*/ 384991 h 495632"/>
                <a:gd name="connsiteX62" fmla="*/ 476326 w 707228"/>
                <a:gd name="connsiteY62" fmla="*/ 387048 h 495632"/>
                <a:gd name="connsiteX63" fmla="*/ 477194 w 707228"/>
                <a:gd name="connsiteY63" fmla="*/ 403504 h 495632"/>
                <a:gd name="connsiteX64" fmla="*/ 468734 w 707228"/>
                <a:gd name="connsiteY64" fmla="*/ 419418 h 495632"/>
                <a:gd name="connsiteX65" fmla="*/ 455285 w 707228"/>
                <a:gd name="connsiteY65" fmla="*/ 428187 h 495632"/>
                <a:gd name="connsiteX66" fmla="*/ 439992 w 707228"/>
                <a:gd name="connsiteY66" fmla="*/ 429919 h 495632"/>
                <a:gd name="connsiteX67" fmla="*/ 439992 w 707228"/>
                <a:gd name="connsiteY67" fmla="*/ 430893 h 495632"/>
                <a:gd name="connsiteX68" fmla="*/ 424482 w 707228"/>
                <a:gd name="connsiteY68" fmla="*/ 457525 h 495632"/>
                <a:gd name="connsiteX69" fmla="*/ 393896 w 707228"/>
                <a:gd name="connsiteY69" fmla="*/ 460773 h 495632"/>
                <a:gd name="connsiteX70" fmla="*/ 390967 w 707228"/>
                <a:gd name="connsiteY70" fmla="*/ 459582 h 495632"/>
                <a:gd name="connsiteX71" fmla="*/ 387388 w 707228"/>
                <a:gd name="connsiteY71" fmla="*/ 472898 h 495632"/>
                <a:gd name="connsiteX72" fmla="*/ 357453 w 707228"/>
                <a:gd name="connsiteY72" fmla="*/ 489570 h 495632"/>
                <a:gd name="connsiteX73" fmla="*/ 352247 w 707228"/>
                <a:gd name="connsiteY73" fmla="*/ 489570 h 495632"/>
                <a:gd name="connsiteX74" fmla="*/ 345739 w 707228"/>
                <a:gd name="connsiteY74" fmla="*/ 486322 h 495632"/>
                <a:gd name="connsiteX75" fmla="*/ 336086 w 707228"/>
                <a:gd name="connsiteY75" fmla="*/ 492818 h 495632"/>
                <a:gd name="connsiteX76" fmla="*/ 324806 w 707228"/>
                <a:gd name="connsiteY76" fmla="*/ 495632 h 495632"/>
                <a:gd name="connsiteX77" fmla="*/ 324806 w 707228"/>
                <a:gd name="connsiteY77" fmla="*/ 470300 h 495632"/>
                <a:gd name="connsiteX78" fmla="*/ 330121 w 707228"/>
                <a:gd name="connsiteY78" fmla="*/ 464994 h 495632"/>
                <a:gd name="connsiteX79" fmla="*/ 324806 w 707228"/>
                <a:gd name="connsiteY79" fmla="*/ 459690 h 495632"/>
                <a:gd name="connsiteX80" fmla="*/ 319492 w 707228"/>
                <a:gd name="connsiteY80" fmla="*/ 464996 h 495632"/>
                <a:gd name="connsiteX81" fmla="*/ 319492 w 707228"/>
                <a:gd name="connsiteY81" fmla="*/ 465103 h 495632"/>
                <a:gd name="connsiteX82" fmla="*/ 324698 w 707228"/>
                <a:gd name="connsiteY82" fmla="*/ 470301 h 495632"/>
                <a:gd name="connsiteX83" fmla="*/ 324806 w 707228"/>
                <a:gd name="connsiteY83" fmla="*/ 470300 h 495632"/>
                <a:gd name="connsiteX84" fmla="*/ 355284 w 707228"/>
                <a:gd name="connsiteY84" fmla="*/ 464454 h 495632"/>
                <a:gd name="connsiteX85" fmla="*/ 363201 w 707228"/>
                <a:gd name="connsiteY85" fmla="*/ 463588 h 495632"/>
                <a:gd name="connsiteX86" fmla="*/ 365588 w 707228"/>
                <a:gd name="connsiteY86" fmla="*/ 461531 h 495632"/>
                <a:gd name="connsiteX87" fmla="*/ 363527 w 707228"/>
                <a:gd name="connsiteY87" fmla="*/ 436523 h 495632"/>
                <a:gd name="connsiteX88" fmla="*/ 372768 w 707228"/>
                <a:gd name="connsiteY88" fmla="*/ 421166 h 495632"/>
                <a:gd name="connsiteX89" fmla="*/ 385870 w 707228"/>
                <a:gd name="connsiteY89" fmla="*/ 425697 h 495632"/>
                <a:gd name="connsiteX90" fmla="*/ 412551 w 707228"/>
                <a:gd name="connsiteY90" fmla="*/ 436523 h 495632"/>
                <a:gd name="connsiteX91" fmla="*/ 415371 w 707228"/>
                <a:gd name="connsiteY91" fmla="*/ 431868 h 495632"/>
                <a:gd name="connsiteX92" fmla="*/ 406152 w 707228"/>
                <a:gd name="connsiteY92" fmla="*/ 414763 h 495632"/>
                <a:gd name="connsiteX93" fmla="*/ 407692 w 707228"/>
                <a:gd name="connsiteY93" fmla="*/ 396916 h 495632"/>
                <a:gd name="connsiteX94" fmla="*/ 424265 w 707228"/>
                <a:gd name="connsiteY94" fmla="*/ 397116 h 495632"/>
                <a:gd name="connsiteX95" fmla="*/ 451055 w 707228"/>
                <a:gd name="connsiteY95" fmla="*/ 403071 h 495632"/>
                <a:gd name="connsiteX96" fmla="*/ 440209 w 707228"/>
                <a:gd name="connsiteY96" fmla="*/ 376331 h 495632"/>
                <a:gd name="connsiteX97" fmla="*/ 437812 w 707228"/>
                <a:gd name="connsiteY97" fmla="*/ 358425 h 495632"/>
                <a:gd name="connsiteX98" fmla="*/ 453549 w 707228"/>
                <a:gd name="connsiteY98" fmla="*/ 354679 h 495632"/>
                <a:gd name="connsiteX99" fmla="*/ 486088 w 707228"/>
                <a:gd name="connsiteY99" fmla="*/ 362257 h 495632"/>
                <a:gd name="connsiteX100" fmla="*/ 487172 w 707228"/>
                <a:gd name="connsiteY100" fmla="*/ 360850 h 495632"/>
                <a:gd name="connsiteX101" fmla="*/ 487172 w 707228"/>
                <a:gd name="connsiteY101" fmla="*/ 352297 h 495632"/>
                <a:gd name="connsiteX102" fmla="*/ 487172 w 707228"/>
                <a:gd name="connsiteY102" fmla="*/ 349699 h 495632"/>
                <a:gd name="connsiteX103" fmla="*/ 350295 w 707228"/>
                <a:gd name="connsiteY103" fmla="*/ 232779 h 495632"/>
                <a:gd name="connsiteX104" fmla="*/ 313201 w 707228"/>
                <a:gd name="connsiteY104" fmla="*/ 259736 h 495632"/>
                <a:gd name="connsiteX105" fmla="*/ 313201 w 707228"/>
                <a:gd name="connsiteY105" fmla="*/ 259736 h 495632"/>
                <a:gd name="connsiteX106" fmla="*/ 310923 w 707228"/>
                <a:gd name="connsiteY106" fmla="*/ 260926 h 495632"/>
                <a:gd name="connsiteX107" fmla="*/ 310923 w 707228"/>
                <a:gd name="connsiteY107" fmla="*/ 260926 h 495632"/>
                <a:gd name="connsiteX108" fmla="*/ 248775 w 707228"/>
                <a:gd name="connsiteY108" fmla="*/ 240899 h 495632"/>
                <a:gd name="connsiteX109" fmla="*/ 278276 w 707228"/>
                <a:gd name="connsiteY109" fmla="*/ 176593 h 495632"/>
                <a:gd name="connsiteX110" fmla="*/ 305500 w 707228"/>
                <a:gd name="connsiteY110" fmla="*/ 156889 h 495632"/>
                <a:gd name="connsiteX111" fmla="*/ 289231 w 707228"/>
                <a:gd name="connsiteY111" fmla="*/ 156889 h 495632"/>
                <a:gd name="connsiteX112" fmla="*/ 289231 w 707228"/>
                <a:gd name="connsiteY112" fmla="*/ 156889 h 495632"/>
                <a:gd name="connsiteX113" fmla="*/ 288689 w 707228"/>
                <a:gd name="connsiteY113" fmla="*/ 157539 h 495632"/>
                <a:gd name="connsiteX114" fmla="*/ 286085 w 707228"/>
                <a:gd name="connsiteY114" fmla="*/ 159596 h 495632"/>
                <a:gd name="connsiteX115" fmla="*/ 168730 w 707228"/>
                <a:gd name="connsiteY115" fmla="*/ 299142 h 495632"/>
                <a:gd name="connsiteX116" fmla="*/ 173069 w 707228"/>
                <a:gd name="connsiteY116" fmla="*/ 309968 h 495632"/>
                <a:gd name="connsiteX117" fmla="*/ 180010 w 707228"/>
                <a:gd name="connsiteY117" fmla="*/ 324583 h 495632"/>
                <a:gd name="connsiteX118" fmla="*/ 185651 w 707228"/>
                <a:gd name="connsiteY118" fmla="*/ 333135 h 495632"/>
                <a:gd name="connsiteX119" fmla="*/ 190965 w 707228"/>
                <a:gd name="connsiteY119" fmla="*/ 338765 h 495632"/>
                <a:gd name="connsiteX120" fmla="*/ 198449 w 707228"/>
                <a:gd name="connsiteY120" fmla="*/ 335192 h 495632"/>
                <a:gd name="connsiteX121" fmla="*/ 209295 w 707228"/>
                <a:gd name="connsiteY121" fmla="*/ 333460 h 495632"/>
                <a:gd name="connsiteX122" fmla="*/ 241833 w 707228"/>
                <a:gd name="connsiteY122" fmla="*/ 355112 h 495632"/>
                <a:gd name="connsiteX123" fmla="*/ 244111 w 707228"/>
                <a:gd name="connsiteY123" fmla="*/ 366587 h 495632"/>
                <a:gd name="connsiteX124" fmla="*/ 251161 w 707228"/>
                <a:gd name="connsiteY124" fmla="*/ 365397 h 495632"/>
                <a:gd name="connsiteX125" fmla="*/ 286194 w 707228"/>
                <a:gd name="connsiteY125" fmla="*/ 400581 h 495632"/>
                <a:gd name="connsiteX126" fmla="*/ 288472 w 707228"/>
                <a:gd name="connsiteY126" fmla="*/ 400039 h 495632"/>
                <a:gd name="connsiteX127" fmla="*/ 289231 w 707228"/>
                <a:gd name="connsiteY127" fmla="*/ 400039 h 495632"/>
                <a:gd name="connsiteX128" fmla="*/ 324155 w 707228"/>
                <a:gd name="connsiteY128" fmla="*/ 434899 h 495632"/>
                <a:gd name="connsiteX129" fmla="*/ 324155 w 707228"/>
                <a:gd name="connsiteY129" fmla="*/ 435007 h 495632"/>
                <a:gd name="connsiteX130" fmla="*/ 325348 w 707228"/>
                <a:gd name="connsiteY130" fmla="*/ 435007 h 495632"/>
                <a:gd name="connsiteX131" fmla="*/ 353657 w 707228"/>
                <a:gd name="connsiteY131" fmla="*/ 453844 h 495632"/>
                <a:gd name="connsiteX132" fmla="*/ 288580 w 707228"/>
                <a:gd name="connsiteY132" fmla="*/ 443884 h 495632"/>
                <a:gd name="connsiteX133" fmla="*/ 297257 w 707228"/>
                <a:gd name="connsiteY133" fmla="*/ 433170 h 495632"/>
                <a:gd name="connsiteX134" fmla="*/ 288580 w 707228"/>
                <a:gd name="connsiteY134" fmla="*/ 424506 h 495632"/>
                <a:gd name="connsiteX135" fmla="*/ 277843 w 707228"/>
                <a:gd name="connsiteY135" fmla="*/ 433170 h 495632"/>
                <a:gd name="connsiteX136" fmla="*/ 286530 w 707228"/>
                <a:gd name="connsiteY136" fmla="*/ 443884 h 495632"/>
                <a:gd name="connsiteX137" fmla="*/ 288580 w 707228"/>
                <a:gd name="connsiteY137" fmla="*/ 443884 h 495632"/>
                <a:gd name="connsiteX138" fmla="*/ 250510 w 707228"/>
                <a:gd name="connsiteY138" fmla="*/ 409566 h 495632"/>
                <a:gd name="connsiteX139" fmla="*/ 260163 w 707228"/>
                <a:gd name="connsiteY139" fmla="*/ 399823 h 495632"/>
                <a:gd name="connsiteX140" fmla="*/ 249426 w 707228"/>
                <a:gd name="connsiteY140" fmla="*/ 391159 h 495632"/>
                <a:gd name="connsiteX141" fmla="*/ 240749 w 707228"/>
                <a:gd name="connsiteY141" fmla="*/ 399823 h 495632"/>
                <a:gd name="connsiteX142" fmla="*/ 250510 w 707228"/>
                <a:gd name="connsiteY142" fmla="*/ 409566 h 495632"/>
                <a:gd name="connsiteX143" fmla="*/ 208861 w 707228"/>
                <a:gd name="connsiteY143" fmla="*/ 377089 h 495632"/>
                <a:gd name="connsiteX144" fmla="*/ 218514 w 707228"/>
                <a:gd name="connsiteY144" fmla="*/ 367671 h 495632"/>
                <a:gd name="connsiteX145" fmla="*/ 218514 w 707228"/>
                <a:gd name="connsiteY145" fmla="*/ 367453 h 495632"/>
                <a:gd name="connsiteX146" fmla="*/ 208861 w 707228"/>
                <a:gd name="connsiteY146" fmla="*/ 357603 h 495632"/>
                <a:gd name="connsiteX147" fmla="*/ 198991 w 707228"/>
                <a:gd name="connsiteY147" fmla="*/ 367238 h 495632"/>
                <a:gd name="connsiteX148" fmla="*/ 208644 w 707228"/>
                <a:gd name="connsiteY148" fmla="*/ 377089 h 495632"/>
                <a:gd name="connsiteX149" fmla="*/ 208861 w 707228"/>
                <a:gd name="connsiteY149" fmla="*/ 377089 h 495632"/>
                <a:gd name="connsiteX150" fmla="*/ 501706 w 707228"/>
                <a:gd name="connsiteY150" fmla="*/ 328697 h 495632"/>
                <a:gd name="connsiteX151" fmla="*/ 506045 w 707228"/>
                <a:gd name="connsiteY151" fmla="*/ 327722 h 495632"/>
                <a:gd name="connsiteX152" fmla="*/ 518192 w 707228"/>
                <a:gd name="connsiteY152" fmla="*/ 321876 h 495632"/>
                <a:gd name="connsiteX153" fmla="*/ 543030 w 707228"/>
                <a:gd name="connsiteY153" fmla="*/ 290156 h 495632"/>
                <a:gd name="connsiteX154" fmla="*/ 544223 w 707228"/>
                <a:gd name="connsiteY154" fmla="*/ 286692 h 495632"/>
                <a:gd name="connsiteX155" fmla="*/ 428170 w 707228"/>
                <a:gd name="connsiteY155" fmla="*/ 148770 h 495632"/>
                <a:gd name="connsiteX156" fmla="*/ 413961 w 707228"/>
                <a:gd name="connsiteY156" fmla="*/ 148120 h 495632"/>
                <a:gd name="connsiteX157" fmla="*/ 381423 w 707228"/>
                <a:gd name="connsiteY157" fmla="*/ 151693 h 495632"/>
                <a:gd name="connsiteX158" fmla="*/ 293244 w 707228"/>
                <a:gd name="connsiteY158" fmla="*/ 196296 h 495632"/>
                <a:gd name="connsiteX159" fmla="*/ 271552 w 707228"/>
                <a:gd name="connsiteY159" fmla="*/ 234186 h 495632"/>
                <a:gd name="connsiteX160" fmla="*/ 283049 w 707228"/>
                <a:gd name="connsiteY160" fmla="*/ 241223 h 495632"/>
                <a:gd name="connsiteX161" fmla="*/ 293027 w 707228"/>
                <a:gd name="connsiteY161" fmla="*/ 239816 h 495632"/>
                <a:gd name="connsiteX162" fmla="*/ 299426 w 707228"/>
                <a:gd name="connsiteY162" fmla="*/ 238084 h 495632"/>
                <a:gd name="connsiteX163" fmla="*/ 342811 w 707228"/>
                <a:gd name="connsiteY163" fmla="*/ 206364 h 495632"/>
                <a:gd name="connsiteX164" fmla="*/ 358429 w 707228"/>
                <a:gd name="connsiteY164" fmla="*/ 207230 h 495632"/>
                <a:gd name="connsiteX165" fmla="*/ 141507 w 707228"/>
                <a:gd name="connsiteY165" fmla="*/ 291672 h 495632"/>
                <a:gd name="connsiteX166" fmla="*/ 271660 w 707228"/>
                <a:gd name="connsiteY166" fmla="*/ 136537 h 495632"/>
                <a:gd name="connsiteX167" fmla="*/ 271660 w 707228"/>
                <a:gd name="connsiteY167" fmla="*/ 135995 h 495632"/>
                <a:gd name="connsiteX168" fmla="*/ 274263 w 707228"/>
                <a:gd name="connsiteY168" fmla="*/ 133939 h 495632"/>
                <a:gd name="connsiteX169" fmla="*/ 252571 w 707228"/>
                <a:gd name="connsiteY169" fmla="*/ 116292 h 495632"/>
                <a:gd name="connsiteX170" fmla="*/ 122418 w 707228"/>
                <a:gd name="connsiteY170" fmla="*/ 273485 h 495632"/>
                <a:gd name="connsiteX171" fmla="*/ 88903 w 707228"/>
                <a:gd name="connsiteY171" fmla="*/ 273485 h 495632"/>
                <a:gd name="connsiteX172" fmla="*/ 246931 w 707228"/>
                <a:gd name="connsiteY172" fmla="*/ 82840 h 495632"/>
                <a:gd name="connsiteX173" fmla="*/ 181854 w 707228"/>
                <a:gd name="connsiteY173" fmla="*/ 30226 h 495632"/>
                <a:gd name="connsiteX174" fmla="*/ 30009 w 707228"/>
                <a:gd name="connsiteY174" fmla="*/ 224118 h 495632"/>
                <a:gd name="connsiteX175" fmla="*/ 562770 w 707228"/>
                <a:gd name="connsiteY175" fmla="*/ 269587 h 495632"/>
                <a:gd name="connsiteX176" fmla="*/ 576002 w 707228"/>
                <a:gd name="connsiteY176" fmla="*/ 258761 h 495632"/>
                <a:gd name="connsiteX177" fmla="*/ 462552 w 707228"/>
                <a:gd name="connsiteY177" fmla="*/ 122355 h 495632"/>
                <a:gd name="connsiteX178" fmla="*/ 448669 w 707228"/>
                <a:gd name="connsiteY178" fmla="*/ 133939 h 495632"/>
                <a:gd name="connsiteX179" fmla="*/ 610384 w 707228"/>
                <a:gd name="connsiteY179" fmla="*/ 260169 h 495632"/>
                <a:gd name="connsiteX180" fmla="*/ 675461 w 707228"/>
                <a:gd name="connsiteY180" fmla="*/ 207988 h 495632"/>
                <a:gd name="connsiteX181" fmla="*/ 525785 w 707228"/>
                <a:gd name="connsiteY181" fmla="*/ 36505 h 495632"/>
                <a:gd name="connsiteX182" fmla="*/ 465589 w 707228"/>
                <a:gd name="connsiteY182" fmla="*/ 87928 h 495632"/>
                <a:gd name="connsiteX183" fmla="*/ 472313 w 707228"/>
                <a:gd name="connsiteY183" fmla="*/ 95290 h 495632"/>
                <a:gd name="connsiteX184" fmla="*/ 473832 w 707228"/>
                <a:gd name="connsiteY184" fmla="*/ 96481 h 495632"/>
                <a:gd name="connsiteX185" fmla="*/ 473832 w 707228"/>
                <a:gd name="connsiteY185" fmla="*/ 97022 h 495632"/>
                <a:gd name="connsiteX186" fmla="*/ 601707 w 707228"/>
                <a:gd name="connsiteY186" fmla="*/ 250967 h 495632"/>
                <a:gd name="connsiteX187" fmla="*/ 603551 w 707228"/>
                <a:gd name="connsiteY187" fmla="*/ 252157 h 495632"/>
                <a:gd name="connsiteX188" fmla="*/ 603551 w 707228"/>
                <a:gd name="connsiteY188" fmla="*/ 252157 h 495632"/>
                <a:gd name="connsiteX189" fmla="*/ 81094 w 707228"/>
                <a:gd name="connsiteY189" fmla="*/ 253024 h 495632"/>
                <a:gd name="connsiteX190" fmla="*/ 50183 w 707228"/>
                <a:gd name="connsiteY190" fmla="*/ 222386 h 495632"/>
                <a:gd name="connsiteX191" fmla="*/ 80877 w 707228"/>
                <a:gd name="connsiteY191" fmla="*/ 191532 h 495632"/>
                <a:gd name="connsiteX192" fmla="*/ 111788 w 707228"/>
                <a:gd name="connsiteY192" fmla="*/ 222170 h 495632"/>
                <a:gd name="connsiteX193" fmla="*/ 81311 w 707228"/>
                <a:gd name="connsiteY193" fmla="*/ 253023 h 495632"/>
                <a:gd name="connsiteX194" fmla="*/ 81094 w 707228"/>
                <a:gd name="connsiteY194" fmla="*/ 253024 h 495632"/>
                <a:gd name="connsiteX195" fmla="*/ 618085 w 707228"/>
                <a:gd name="connsiteY195" fmla="*/ 239491 h 495632"/>
                <a:gd name="connsiteX196" fmla="*/ 587499 w 707228"/>
                <a:gd name="connsiteY196" fmla="*/ 208962 h 495632"/>
                <a:gd name="connsiteX197" fmla="*/ 618085 w 707228"/>
                <a:gd name="connsiteY197" fmla="*/ 178433 h 495632"/>
                <a:gd name="connsiteX198" fmla="*/ 648671 w 707228"/>
                <a:gd name="connsiteY198" fmla="*/ 208962 h 495632"/>
                <a:gd name="connsiteX199" fmla="*/ 617976 w 707228"/>
                <a:gd name="connsiteY199" fmla="*/ 239166 h 495632"/>
                <a:gd name="connsiteX200" fmla="*/ 81094 w 707228"/>
                <a:gd name="connsiteY200" fmla="*/ 227150 h 495632"/>
                <a:gd name="connsiteX201" fmla="*/ 86409 w 707228"/>
                <a:gd name="connsiteY201" fmla="*/ 221845 h 495632"/>
                <a:gd name="connsiteX202" fmla="*/ 81094 w 707228"/>
                <a:gd name="connsiteY202" fmla="*/ 216540 h 495632"/>
                <a:gd name="connsiteX203" fmla="*/ 75780 w 707228"/>
                <a:gd name="connsiteY203" fmla="*/ 221845 h 495632"/>
                <a:gd name="connsiteX204" fmla="*/ 81094 w 707228"/>
                <a:gd name="connsiteY204" fmla="*/ 227150 h 495632"/>
                <a:gd name="connsiteX205" fmla="*/ 618085 w 707228"/>
                <a:gd name="connsiteY205" fmla="*/ 213942 h 495632"/>
                <a:gd name="connsiteX206" fmla="*/ 623400 w 707228"/>
                <a:gd name="connsiteY206" fmla="*/ 208637 h 495632"/>
                <a:gd name="connsiteX207" fmla="*/ 618085 w 707228"/>
                <a:gd name="connsiteY207" fmla="*/ 203333 h 495632"/>
                <a:gd name="connsiteX208" fmla="*/ 612770 w 707228"/>
                <a:gd name="connsiteY208" fmla="*/ 208637 h 495632"/>
                <a:gd name="connsiteX209" fmla="*/ 617976 w 707228"/>
                <a:gd name="connsiteY209" fmla="*/ 213942 h 495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</a:cxnLst>
              <a:rect l="l" t="t" r="r" b="b"/>
              <a:pathLst>
                <a:path w="707228" h="495632">
                  <a:moveTo>
                    <a:pt x="324806" y="495632"/>
                  </a:moveTo>
                  <a:cubicBezTo>
                    <a:pt x="312528" y="495595"/>
                    <a:pt x="301433" y="488338"/>
                    <a:pt x="296498" y="477120"/>
                  </a:cubicBezTo>
                  <a:lnTo>
                    <a:pt x="294871" y="468568"/>
                  </a:lnTo>
                  <a:lnTo>
                    <a:pt x="288580" y="469217"/>
                  </a:lnTo>
                  <a:cubicBezTo>
                    <a:pt x="274361" y="469188"/>
                    <a:pt x="261541" y="460657"/>
                    <a:pt x="256042" y="447565"/>
                  </a:cubicBezTo>
                  <a:lnTo>
                    <a:pt x="253330" y="434249"/>
                  </a:lnTo>
                  <a:lnTo>
                    <a:pt x="250402" y="434249"/>
                  </a:lnTo>
                  <a:cubicBezTo>
                    <a:pt x="236150" y="434308"/>
                    <a:pt x="223286" y="425748"/>
                    <a:pt x="217863" y="412598"/>
                  </a:cubicBezTo>
                  <a:lnTo>
                    <a:pt x="215586" y="401122"/>
                  </a:lnTo>
                  <a:lnTo>
                    <a:pt x="208644" y="402313"/>
                  </a:lnTo>
                  <a:cubicBezTo>
                    <a:pt x="189262" y="402194"/>
                    <a:pt x="173611" y="386476"/>
                    <a:pt x="173611" y="367129"/>
                  </a:cubicBezTo>
                  <a:lnTo>
                    <a:pt x="175021" y="357061"/>
                  </a:lnTo>
                  <a:lnTo>
                    <a:pt x="165368" y="347426"/>
                  </a:lnTo>
                  <a:cubicBezTo>
                    <a:pt x="162548" y="343685"/>
                    <a:pt x="160010" y="339741"/>
                    <a:pt x="157776" y="335625"/>
                  </a:cubicBezTo>
                  <a:lnTo>
                    <a:pt x="149642" y="319170"/>
                  </a:lnTo>
                  <a:lnTo>
                    <a:pt x="143568" y="322201"/>
                  </a:lnTo>
                  <a:cubicBezTo>
                    <a:pt x="140118" y="322390"/>
                    <a:pt x="136735" y="321224"/>
                    <a:pt x="134132" y="318953"/>
                  </a:cubicBezTo>
                  <a:lnTo>
                    <a:pt x="105715" y="292538"/>
                  </a:lnTo>
                  <a:lnTo>
                    <a:pt x="100292" y="299250"/>
                  </a:lnTo>
                  <a:cubicBezTo>
                    <a:pt x="98101" y="301754"/>
                    <a:pt x="95042" y="303339"/>
                    <a:pt x="91723" y="303689"/>
                  </a:cubicBezTo>
                  <a:cubicBezTo>
                    <a:pt x="88350" y="303997"/>
                    <a:pt x="84988" y="302944"/>
                    <a:pt x="82395" y="300766"/>
                  </a:cubicBezTo>
                  <a:lnTo>
                    <a:pt x="4412" y="235810"/>
                  </a:lnTo>
                  <a:cubicBezTo>
                    <a:pt x="-718" y="231298"/>
                    <a:pt x="-1477" y="223587"/>
                    <a:pt x="2677" y="218164"/>
                  </a:cubicBezTo>
                  <a:lnTo>
                    <a:pt x="170032" y="4894"/>
                  </a:lnTo>
                  <a:cubicBezTo>
                    <a:pt x="174392" y="-659"/>
                    <a:pt x="182440" y="-1631"/>
                    <a:pt x="188004" y="2722"/>
                  </a:cubicBezTo>
                  <a:cubicBezTo>
                    <a:pt x="188047" y="2760"/>
                    <a:pt x="188102" y="2798"/>
                    <a:pt x="188145" y="2837"/>
                  </a:cubicBezTo>
                  <a:lnTo>
                    <a:pt x="273070" y="71798"/>
                  </a:lnTo>
                  <a:cubicBezTo>
                    <a:pt x="278515" y="76204"/>
                    <a:pt x="279350" y="84180"/>
                    <a:pt x="274936" y="89614"/>
                  </a:cubicBezTo>
                  <a:cubicBezTo>
                    <a:pt x="274892" y="89666"/>
                    <a:pt x="274849" y="89718"/>
                    <a:pt x="274805" y="89769"/>
                  </a:cubicBezTo>
                  <a:lnTo>
                    <a:pt x="268515" y="97347"/>
                  </a:lnTo>
                  <a:lnTo>
                    <a:pt x="301053" y="122896"/>
                  </a:lnTo>
                  <a:cubicBezTo>
                    <a:pt x="303678" y="125099"/>
                    <a:pt x="305316" y="128254"/>
                    <a:pt x="305609" y="131665"/>
                  </a:cubicBezTo>
                  <a:lnTo>
                    <a:pt x="305609" y="131665"/>
                  </a:lnTo>
                  <a:lnTo>
                    <a:pt x="317973" y="133181"/>
                  </a:lnTo>
                  <a:cubicBezTo>
                    <a:pt x="322019" y="134236"/>
                    <a:pt x="325967" y="135611"/>
                    <a:pt x="329795" y="137295"/>
                  </a:cubicBezTo>
                  <a:lnTo>
                    <a:pt x="336086" y="139893"/>
                  </a:lnTo>
                  <a:lnTo>
                    <a:pt x="346932" y="135454"/>
                  </a:lnTo>
                  <a:cubicBezTo>
                    <a:pt x="359167" y="130764"/>
                    <a:pt x="371846" y="127354"/>
                    <a:pt x="384785" y="125278"/>
                  </a:cubicBezTo>
                  <a:lnTo>
                    <a:pt x="423072" y="122896"/>
                  </a:lnTo>
                  <a:lnTo>
                    <a:pt x="423831" y="122247"/>
                  </a:lnTo>
                  <a:lnTo>
                    <a:pt x="446391" y="103193"/>
                  </a:lnTo>
                  <a:lnTo>
                    <a:pt x="438473" y="94424"/>
                  </a:lnTo>
                  <a:cubicBezTo>
                    <a:pt x="433788" y="89383"/>
                    <a:pt x="434081" y="81506"/>
                    <a:pt x="439135" y="76830"/>
                  </a:cubicBezTo>
                  <a:cubicBezTo>
                    <a:pt x="439276" y="76701"/>
                    <a:pt x="439417" y="76575"/>
                    <a:pt x="439558" y="76453"/>
                  </a:cubicBezTo>
                  <a:lnTo>
                    <a:pt x="519169" y="8358"/>
                  </a:lnTo>
                  <a:cubicBezTo>
                    <a:pt x="524461" y="3819"/>
                    <a:pt x="532422" y="4348"/>
                    <a:pt x="537065" y="9549"/>
                  </a:cubicBezTo>
                  <a:lnTo>
                    <a:pt x="704203" y="201600"/>
                  </a:lnTo>
                  <a:cubicBezTo>
                    <a:pt x="708769" y="206989"/>
                    <a:pt x="708086" y="215048"/>
                    <a:pt x="702695" y="219603"/>
                  </a:cubicBezTo>
                  <a:cubicBezTo>
                    <a:pt x="702619" y="219666"/>
                    <a:pt x="702544" y="219727"/>
                    <a:pt x="702468" y="219788"/>
                  </a:cubicBezTo>
                  <a:lnTo>
                    <a:pt x="617543" y="287667"/>
                  </a:lnTo>
                  <a:cubicBezTo>
                    <a:pt x="614983" y="289818"/>
                    <a:pt x="611632" y="290764"/>
                    <a:pt x="608323" y="290265"/>
                  </a:cubicBezTo>
                  <a:cubicBezTo>
                    <a:pt x="605026" y="289954"/>
                    <a:pt x="601989" y="288358"/>
                    <a:pt x="599863" y="285826"/>
                  </a:cubicBezTo>
                  <a:lnTo>
                    <a:pt x="593573" y="278573"/>
                  </a:lnTo>
                  <a:lnTo>
                    <a:pt x="570254" y="296327"/>
                  </a:lnTo>
                  <a:lnTo>
                    <a:pt x="569169" y="296327"/>
                  </a:lnTo>
                  <a:lnTo>
                    <a:pt x="567108" y="297518"/>
                  </a:lnTo>
                  <a:lnTo>
                    <a:pt x="566132" y="300116"/>
                  </a:lnTo>
                  <a:cubicBezTo>
                    <a:pt x="557086" y="324636"/>
                    <a:pt x="537444" y="343771"/>
                    <a:pt x="512661" y="352189"/>
                  </a:cubicBezTo>
                  <a:lnTo>
                    <a:pt x="511793" y="352189"/>
                  </a:lnTo>
                  <a:lnTo>
                    <a:pt x="511793" y="354787"/>
                  </a:lnTo>
                  <a:cubicBezTo>
                    <a:pt x="511880" y="359067"/>
                    <a:pt x="511337" y="363335"/>
                    <a:pt x="510166" y="367453"/>
                  </a:cubicBezTo>
                  <a:cubicBezTo>
                    <a:pt x="507878" y="375531"/>
                    <a:pt x="501880" y="382040"/>
                    <a:pt x="494005" y="384991"/>
                  </a:cubicBezTo>
                  <a:cubicBezTo>
                    <a:pt x="488355" y="387066"/>
                    <a:pt x="482302" y="387770"/>
                    <a:pt x="476326" y="387048"/>
                  </a:cubicBezTo>
                  <a:lnTo>
                    <a:pt x="477194" y="403504"/>
                  </a:lnTo>
                  <a:cubicBezTo>
                    <a:pt x="476022" y="409531"/>
                    <a:pt x="473073" y="415071"/>
                    <a:pt x="468734" y="419418"/>
                  </a:cubicBezTo>
                  <a:cubicBezTo>
                    <a:pt x="465025" y="423382"/>
                    <a:pt x="460415" y="426392"/>
                    <a:pt x="455285" y="428187"/>
                  </a:cubicBezTo>
                  <a:lnTo>
                    <a:pt x="439992" y="429919"/>
                  </a:lnTo>
                  <a:lnTo>
                    <a:pt x="439992" y="430893"/>
                  </a:lnTo>
                  <a:cubicBezTo>
                    <a:pt x="440209" y="441964"/>
                    <a:pt x="434222" y="452233"/>
                    <a:pt x="424482" y="457525"/>
                  </a:cubicBezTo>
                  <a:cubicBezTo>
                    <a:pt x="415122" y="462620"/>
                    <a:pt x="404124" y="463788"/>
                    <a:pt x="393896" y="460773"/>
                  </a:cubicBezTo>
                  <a:lnTo>
                    <a:pt x="390967" y="459582"/>
                  </a:lnTo>
                  <a:lnTo>
                    <a:pt x="387388" y="472898"/>
                  </a:lnTo>
                  <a:cubicBezTo>
                    <a:pt x="381282" y="483567"/>
                    <a:pt x="369753" y="489984"/>
                    <a:pt x="357453" y="489570"/>
                  </a:cubicBezTo>
                  <a:lnTo>
                    <a:pt x="352247" y="489570"/>
                  </a:lnTo>
                  <a:lnTo>
                    <a:pt x="345739" y="486322"/>
                  </a:lnTo>
                  <a:lnTo>
                    <a:pt x="336086" y="492818"/>
                  </a:lnTo>
                  <a:cubicBezTo>
                    <a:pt x="332540" y="494452"/>
                    <a:pt x="328711" y="495407"/>
                    <a:pt x="324806" y="495632"/>
                  </a:cubicBezTo>
                  <a:close/>
                  <a:moveTo>
                    <a:pt x="324806" y="470300"/>
                  </a:moveTo>
                  <a:cubicBezTo>
                    <a:pt x="327745" y="470299"/>
                    <a:pt x="330121" y="467923"/>
                    <a:pt x="330121" y="464994"/>
                  </a:cubicBezTo>
                  <a:cubicBezTo>
                    <a:pt x="330121" y="462064"/>
                    <a:pt x="327734" y="459689"/>
                    <a:pt x="324806" y="459690"/>
                  </a:cubicBezTo>
                  <a:cubicBezTo>
                    <a:pt x="321867" y="459691"/>
                    <a:pt x="319492" y="462067"/>
                    <a:pt x="319492" y="464996"/>
                  </a:cubicBezTo>
                  <a:cubicBezTo>
                    <a:pt x="319492" y="465032"/>
                    <a:pt x="319492" y="465067"/>
                    <a:pt x="319492" y="465103"/>
                  </a:cubicBezTo>
                  <a:cubicBezTo>
                    <a:pt x="319492" y="467973"/>
                    <a:pt x="321824" y="470300"/>
                    <a:pt x="324698" y="470301"/>
                  </a:cubicBezTo>
                  <a:cubicBezTo>
                    <a:pt x="324730" y="470301"/>
                    <a:pt x="324774" y="470301"/>
                    <a:pt x="324806" y="470300"/>
                  </a:cubicBezTo>
                  <a:close/>
                  <a:moveTo>
                    <a:pt x="355284" y="464454"/>
                  </a:moveTo>
                  <a:lnTo>
                    <a:pt x="363201" y="463588"/>
                  </a:lnTo>
                  <a:cubicBezTo>
                    <a:pt x="364253" y="463267"/>
                    <a:pt x="365121" y="462520"/>
                    <a:pt x="365588" y="461531"/>
                  </a:cubicBezTo>
                  <a:cubicBezTo>
                    <a:pt x="366997" y="458932"/>
                    <a:pt x="368082" y="451787"/>
                    <a:pt x="363527" y="436523"/>
                  </a:cubicBezTo>
                  <a:cubicBezTo>
                    <a:pt x="361835" y="429736"/>
                    <a:pt x="365967" y="422860"/>
                    <a:pt x="372768" y="421166"/>
                  </a:cubicBezTo>
                  <a:cubicBezTo>
                    <a:pt x="377648" y="419949"/>
                    <a:pt x="382790" y="421727"/>
                    <a:pt x="385870" y="425697"/>
                  </a:cubicBezTo>
                  <a:cubicBezTo>
                    <a:pt x="395957" y="439229"/>
                    <a:pt x="407562" y="438904"/>
                    <a:pt x="412551" y="436523"/>
                  </a:cubicBezTo>
                  <a:cubicBezTo>
                    <a:pt x="414417" y="435765"/>
                    <a:pt x="415566" y="433872"/>
                    <a:pt x="415371" y="431868"/>
                  </a:cubicBezTo>
                  <a:cubicBezTo>
                    <a:pt x="414373" y="425273"/>
                    <a:pt x="411120" y="419226"/>
                    <a:pt x="406152" y="414763"/>
                  </a:cubicBezTo>
                  <a:cubicBezTo>
                    <a:pt x="401640" y="409409"/>
                    <a:pt x="402334" y="401420"/>
                    <a:pt x="407692" y="396916"/>
                  </a:cubicBezTo>
                  <a:cubicBezTo>
                    <a:pt x="412508" y="392876"/>
                    <a:pt x="419558" y="392962"/>
                    <a:pt x="424265" y="397116"/>
                  </a:cubicBezTo>
                  <a:cubicBezTo>
                    <a:pt x="437714" y="409783"/>
                    <a:pt x="448126" y="405994"/>
                    <a:pt x="451055" y="403071"/>
                  </a:cubicBezTo>
                  <a:cubicBezTo>
                    <a:pt x="453983" y="400148"/>
                    <a:pt x="457671" y="391270"/>
                    <a:pt x="440209" y="376331"/>
                  </a:cubicBezTo>
                  <a:cubicBezTo>
                    <a:pt x="434591" y="372047"/>
                    <a:pt x="433517" y="364030"/>
                    <a:pt x="437812" y="358425"/>
                  </a:cubicBezTo>
                  <a:cubicBezTo>
                    <a:pt x="441499" y="353604"/>
                    <a:pt x="448072" y="352038"/>
                    <a:pt x="453549" y="354679"/>
                  </a:cubicBezTo>
                  <a:cubicBezTo>
                    <a:pt x="473073" y="363123"/>
                    <a:pt x="482509" y="363448"/>
                    <a:pt x="486088" y="362257"/>
                  </a:cubicBezTo>
                  <a:cubicBezTo>
                    <a:pt x="486088" y="362257"/>
                    <a:pt x="486847" y="362257"/>
                    <a:pt x="487172" y="360850"/>
                  </a:cubicBezTo>
                  <a:cubicBezTo>
                    <a:pt x="487682" y="358022"/>
                    <a:pt x="487682" y="355125"/>
                    <a:pt x="487172" y="352297"/>
                  </a:cubicBezTo>
                  <a:lnTo>
                    <a:pt x="487172" y="349699"/>
                  </a:lnTo>
                  <a:lnTo>
                    <a:pt x="350295" y="232779"/>
                  </a:lnTo>
                  <a:lnTo>
                    <a:pt x="313201" y="259736"/>
                  </a:lnTo>
                  <a:lnTo>
                    <a:pt x="313201" y="259736"/>
                  </a:lnTo>
                  <a:lnTo>
                    <a:pt x="310923" y="260926"/>
                  </a:lnTo>
                  <a:lnTo>
                    <a:pt x="310923" y="260926"/>
                  </a:lnTo>
                  <a:cubicBezTo>
                    <a:pt x="281964" y="271752"/>
                    <a:pt x="255499" y="264716"/>
                    <a:pt x="248775" y="240899"/>
                  </a:cubicBezTo>
                  <a:cubicBezTo>
                    <a:pt x="242810" y="220113"/>
                    <a:pt x="255283" y="194780"/>
                    <a:pt x="278276" y="176593"/>
                  </a:cubicBezTo>
                  <a:lnTo>
                    <a:pt x="305500" y="156889"/>
                  </a:lnTo>
                  <a:lnTo>
                    <a:pt x="289231" y="156889"/>
                  </a:lnTo>
                  <a:lnTo>
                    <a:pt x="289231" y="156889"/>
                  </a:lnTo>
                  <a:lnTo>
                    <a:pt x="288689" y="157539"/>
                  </a:lnTo>
                  <a:lnTo>
                    <a:pt x="286085" y="159596"/>
                  </a:lnTo>
                  <a:lnTo>
                    <a:pt x="168730" y="299142"/>
                  </a:lnTo>
                  <a:lnTo>
                    <a:pt x="173069" y="309968"/>
                  </a:lnTo>
                  <a:cubicBezTo>
                    <a:pt x="175347" y="315273"/>
                    <a:pt x="177624" y="320252"/>
                    <a:pt x="180010" y="324583"/>
                  </a:cubicBezTo>
                  <a:cubicBezTo>
                    <a:pt x="181692" y="327561"/>
                    <a:pt x="183568" y="330419"/>
                    <a:pt x="185651" y="333135"/>
                  </a:cubicBezTo>
                  <a:lnTo>
                    <a:pt x="190965" y="338765"/>
                  </a:lnTo>
                  <a:lnTo>
                    <a:pt x="198449" y="335192"/>
                  </a:lnTo>
                  <a:cubicBezTo>
                    <a:pt x="201930" y="333961"/>
                    <a:pt x="205607" y="333375"/>
                    <a:pt x="209295" y="333460"/>
                  </a:cubicBezTo>
                  <a:cubicBezTo>
                    <a:pt x="223547" y="333402"/>
                    <a:pt x="236410" y="341962"/>
                    <a:pt x="241833" y="355112"/>
                  </a:cubicBezTo>
                  <a:lnTo>
                    <a:pt x="244111" y="366587"/>
                  </a:lnTo>
                  <a:lnTo>
                    <a:pt x="251161" y="365397"/>
                  </a:lnTo>
                  <a:cubicBezTo>
                    <a:pt x="270543" y="365516"/>
                    <a:pt x="286194" y="381234"/>
                    <a:pt x="286194" y="400581"/>
                  </a:cubicBezTo>
                  <a:lnTo>
                    <a:pt x="288472" y="400039"/>
                  </a:lnTo>
                  <a:lnTo>
                    <a:pt x="289231" y="400039"/>
                  </a:lnTo>
                  <a:cubicBezTo>
                    <a:pt x="308515" y="400039"/>
                    <a:pt x="324155" y="415646"/>
                    <a:pt x="324155" y="434899"/>
                  </a:cubicBezTo>
                  <a:cubicBezTo>
                    <a:pt x="324155" y="434935"/>
                    <a:pt x="324155" y="434971"/>
                    <a:pt x="324155" y="435007"/>
                  </a:cubicBezTo>
                  <a:lnTo>
                    <a:pt x="325348" y="435007"/>
                  </a:lnTo>
                  <a:cubicBezTo>
                    <a:pt x="337724" y="435015"/>
                    <a:pt x="348884" y="442442"/>
                    <a:pt x="353657" y="453844"/>
                  </a:cubicBezTo>
                  <a:close/>
                  <a:moveTo>
                    <a:pt x="288580" y="443884"/>
                  </a:moveTo>
                  <a:cubicBezTo>
                    <a:pt x="293938" y="443318"/>
                    <a:pt x="297832" y="438521"/>
                    <a:pt x="297257" y="433170"/>
                  </a:cubicBezTo>
                  <a:cubicBezTo>
                    <a:pt x="296780" y="428600"/>
                    <a:pt x="293157" y="424990"/>
                    <a:pt x="288580" y="424506"/>
                  </a:cubicBezTo>
                  <a:cubicBezTo>
                    <a:pt x="283222" y="423940"/>
                    <a:pt x="278417" y="427819"/>
                    <a:pt x="277843" y="433170"/>
                  </a:cubicBezTo>
                  <a:cubicBezTo>
                    <a:pt x="277279" y="438521"/>
                    <a:pt x="281162" y="443318"/>
                    <a:pt x="286530" y="443884"/>
                  </a:cubicBezTo>
                  <a:cubicBezTo>
                    <a:pt x="287213" y="443957"/>
                    <a:pt x="287897" y="443957"/>
                    <a:pt x="288580" y="443884"/>
                  </a:cubicBezTo>
                  <a:close/>
                  <a:moveTo>
                    <a:pt x="250510" y="409566"/>
                  </a:moveTo>
                  <a:cubicBezTo>
                    <a:pt x="255836" y="409449"/>
                    <a:pt x="260109" y="405138"/>
                    <a:pt x="260163" y="399823"/>
                  </a:cubicBezTo>
                  <a:cubicBezTo>
                    <a:pt x="259599" y="394472"/>
                    <a:pt x="254795" y="390593"/>
                    <a:pt x="249426" y="391159"/>
                  </a:cubicBezTo>
                  <a:cubicBezTo>
                    <a:pt x="244848" y="391643"/>
                    <a:pt x="241237" y="395253"/>
                    <a:pt x="240749" y="399823"/>
                  </a:cubicBezTo>
                  <a:cubicBezTo>
                    <a:pt x="240749" y="405205"/>
                    <a:pt x="245120" y="409566"/>
                    <a:pt x="250510" y="409566"/>
                  </a:cubicBezTo>
                  <a:close/>
                  <a:moveTo>
                    <a:pt x="208861" y="377089"/>
                  </a:moveTo>
                  <a:cubicBezTo>
                    <a:pt x="214132" y="377149"/>
                    <a:pt x="218449" y="372932"/>
                    <a:pt x="218514" y="367671"/>
                  </a:cubicBezTo>
                  <a:cubicBezTo>
                    <a:pt x="218514" y="367599"/>
                    <a:pt x="218514" y="367526"/>
                    <a:pt x="218514" y="367453"/>
                  </a:cubicBezTo>
                  <a:cubicBezTo>
                    <a:pt x="218579" y="362073"/>
                    <a:pt x="214252" y="357663"/>
                    <a:pt x="208861" y="357603"/>
                  </a:cubicBezTo>
                  <a:cubicBezTo>
                    <a:pt x="203471" y="357543"/>
                    <a:pt x="199056" y="361858"/>
                    <a:pt x="198991" y="367238"/>
                  </a:cubicBezTo>
                  <a:cubicBezTo>
                    <a:pt x="198937" y="372619"/>
                    <a:pt x="203254" y="377029"/>
                    <a:pt x="208644" y="377089"/>
                  </a:cubicBezTo>
                  <a:cubicBezTo>
                    <a:pt x="208720" y="377090"/>
                    <a:pt x="208785" y="377090"/>
                    <a:pt x="208861" y="377089"/>
                  </a:cubicBezTo>
                  <a:close/>
                  <a:moveTo>
                    <a:pt x="501706" y="328697"/>
                  </a:moveTo>
                  <a:lnTo>
                    <a:pt x="506045" y="327722"/>
                  </a:lnTo>
                  <a:lnTo>
                    <a:pt x="518192" y="321876"/>
                  </a:lnTo>
                  <a:cubicBezTo>
                    <a:pt x="529581" y="314147"/>
                    <a:pt x="538268" y="303056"/>
                    <a:pt x="543030" y="290156"/>
                  </a:cubicBezTo>
                  <a:lnTo>
                    <a:pt x="544223" y="286692"/>
                  </a:lnTo>
                  <a:lnTo>
                    <a:pt x="428170" y="148770"/>
                  </a:lnTo>
                  <a:lnTo>
                    <a:pt x="413961" y="148120"/>
                  </a:lnTo>
                  <a:lnTo>
                    <a:pt x="381423" y="151693"/>
                  </a:lnTo>
                  <a:cubicBezTo>
                    <a:pt x="348776" y="159035"/>
                    <a:pt x="318483" y="174362"/>
                    <a:pt x="293244" y="196296"/>
                  </a:cubicBezTo>
                  <a:cubicBezTo>
                    <a:pt x="273721" y="212210"/>
                    <a:pt x="270142" y="227799"/>
                    <a:pt x="271552" y="234186"/>
                  </a:cubicBezTo>
                  <a:cubicBezTo>
                    <a:pt x="272420" y="236893"/>
                    <a:pt x="274914" y="241007"/>
                    <a:pt x="283049" y="241223"/>
                  </a:cubicBezTo>
                  <a:lnTo>
                    <a:pt x="293027" y="239816"/>
                  </a:lnTo>
                  <a:lnTo>
                    <a:pt x="299426" y="238084"/>
                  </a:lnTo>
                  <a:lnTo>
                    <a:pt x="342811" y="206364"/>
                  </a:lnTo>
                  <a:cubicBezTo>
                    <a:pt x="347594" y="203035"/>
                    <a:pt x="354036" y="203392"/>
                    <a:pt x="358429" y="207230"/>
                  </a:cubicBezTo>
                  <a:close/>
                  <a:moveTo>
                    <a:pt x="141507" y="291672"/>
                  </a:moveTo>
                  <a:lnTo>
                    <a:pt x="271660" y="136537"/>
                  </a:lnTo>
                  <a:lnTo>
                    <a:pt x="271660" y="135995"/>
                  </a:lnTo>
                  <a:lnTo>
                    <a:pt x="274263" y="133939"/>
                  </a:lnTo>
                  <a:lnTo>
                    <a:pt x="252571" y="116292"/>
                  </a:lnTo>
                  <a:lnTo>
                    <a:pt x="122418" y="273485"/>
                  </a:lnTo>
                  <a:close/>
                  <a:moveTo>
                    <a:pt x="88903" y="273485"/>
                  </a:moveTo>
                  <a:lnTo>
                    <a:pt x="246931" y="82840"/>
                  </a:lnTo>
                  <a:lnTo>
                    <a:pt x="181854" y="30226"/>
                  </a:lnTo>
                  <a:lnTo>
                    <a:pt x="30009" y="224118"/>
                  </a:lnTo>
                  <a:close/>
                  <a:moveTo>
                    <a:pt x="562770" y="269587"/>
                  </a:moveTo>
                  <a:lnTo>
                    <a:pt x="576002" y="258761"/>
                  </a:lnTo>
                  <a:lnTo>
                    <a:pt x="462552" y="122355"/>
                  </a:lnTo>
                  <a:lnTo>
                    <a:pt x="448669" y="133939"/>
                  </a:lnTo>
                  <a:close/>
                  <a:moveTo>
                    <a:pt x="610384" y="260169"/>
                  </a:moveTo>
                  <a:lnTo>
                    <a:pt x="675461" y="207988"/>
                  </a:lnTo>
                  <a:lnTo>
                    <a:pt x="525785" y="36505"/>
                  </a:lnTo>
                  <a:lnTo>
                    <a:pt x="465589" y="87928"/>
                  </a:lnTo>
                  <a:lnTo>
                    <a:pt x="472313" y="95290"/>
                  </a:lnTo>
                  <a:lnTo>
                    <a:pt x="473832" y="96481"/>
                  </a:lnTo>
                  <a:lnTo>
                    <a:pt x="473832" y="97022"/>
                  </a:lnTo>
                  <a:lnTo>
                    <a:pt x="601707" y="250967"/>
                  </a:lnTo>
                  <a:lnTo>
                    <a:pt x="603551" y="252157"/>
                  </a:lnTo>
                  <a:lnTo>
                    <a:pt x="603551" y="252157"/>
                  </a:lnTo>
                  <a:close/>
                  <a:moveTo>
                    <a:pt x="81094" y="253024"/>
                  </a:moveTo>
                  <a:cubicBezTo>
                    <a:pt x="64087" y="253083"/>
                    <a:pt x="50248" y="239367"/>
                    <a:pt x="50183" y="222386"/>
                  </a:cubicBezTo>
                  <a:cubicBezTo>
                    <a:pt x="50128" y="205406"/>
                    <a:pt x="63870" y="191592"/>
                    <a:pt x="80877" y="191532"/>
                  </a:cubicBezTo>
                  <a:cubicBezTo>
                    <a:pt x="97884" y="191473"/>
                    <a:pt x="111723" y="205189"/>
                    <a:pt x="111788" y="222170"/>
                  </a:cubicBezTo>
                  <a:cubicBezTo>
                    <a:pt x="111908" y="239090"/>
                    <a:pt x="98263" y="252903"/>
                    <a:pt x="81311" y="253023"/>
                  </a:cubicBezTo>
                  <a:cubicBezTo>
                    <a:pt x="81235" y="253024"/>
                    <a:pt x="81170" y="253024"/>
                    <a:pt x="81094" y="253024"/>
                  </a:cubicBezTo>
                  <a:close/>
                  <a:moveTo>
                    <a:pt x="618085" y="239491"/>
                  </a:moveTo>
                  <a:cubicBezTo>
                    <a:pt x="601198" y="239491"/>
                    <a:pt x="587499" y="225822"/>
                    <a:pt x="587499" y="208962"/>
                  </a:cubicBezTo>
                  <a:cubicBezTo>
                    <a:pt x="587499" y="192102"/>
                    <a:pt x="601198" y="178433"/>
                    <a:pt x="618085" y="178433"/>
                  </a:cubicBezTo>
                  <a:cubicBezTo>
                    <a:pt x="634972" y="178433"/>
                    <a:pt x="648671" y="192102"/>
                    <a:pt x="648671" y="208962"/>
                  </a:cubicBezTo>
                  <a:cubicBezTo>
                    <a:pt x="648432" y="225713"/>
                    <a:pt x="634755" y="239169"/>
                    <a:pt x="617976" y="239166"/>
                  </a:cubicBezTo>
                  <a:close/>
                  <a:moveTo>
                    <a:pt x="81094" y="227150"/>
                  </a:moveTo>
                  <a:cubicBezTo>
                    <a:pt x="84033" y="227150"/>
                    <a:pt x="86409" y="224774"/>
                    <a:pt x="86409" y="221845"/>
                  </a:cubicBezTo>
                  <a:cubicBezTo>
                    <a:pt x="86409" y="218915"/>
                    <a:pt x="84033" y="216540"/>
                    <a:pt x="81094" y="216540"/>
                  </a:cubicBezTo>
                  <a:cubicBezTo>
                    <a:pt x="78155" y="216540"/>
                    <a:pt x="75780" y="218915"/>
                    <a:pt x="75780" y="221845"/>
                  </a:cubicBezTo>
                  <a:cubicBezTo>
                    <a:pt x="75780" y="224774"/>
                    <a:pt x="78155" y="227150"/>
                    <a:pt x="81094" y="227150"/>
                  </a:cubicBezTo>
                  <a:close/>
                  <a:moveTo>
                    <a:pt x="618085" y="213942"/>
                  </a:moveTo>
                  <a:cubicBezTo>
                    <a:pt x="621024" y="213942"/>
                    <a:pt x="623400" y="211567"/>
                    <a:pt x="623400" y="208637"/>
                  </a:cubicBezTo>
                  <a:cubicBezTo>
                    <a:pt x="623400" y="205708"/>
                    <a:pt x="621024" y="203333"/>
                    <a:pt x="618085" y="203333"/>
                  </a:cubicBezTo>
                  <a:cubicBezTo>
                    <a:pt x="615146" y="203333"/>
                    <a:pt x="612770" y="205708"/>
                    <a:pt x="612770" y="208637"/>
                  </a:cubicBezTo>
                  <a:cubicBezTo>
                    <a:pt x="612770" y="211526"/>
                    <a:pt x="615081" y="213884"/>
                    <a:pt x="617976" y="213942"/>
                  </a:cubicBezTo>
                  <a:close/>
                </a:path>
              </a:pathLst>
            </a:custGeom>
            <a:solidFill>
              <a:srgbClr val="00000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eform 60">
              <a:extLst>
                <a:ext uri="{FF2B5EF4-FFF2-40B4-BE49-F238E27FC236}">
                  <a16:creationId xmlns:a16="http://schemas.microsoft.com/office/drawing/2014/main" id="{982269AC-4441-6748-B362-14D72D006FAF}"/>
                </a:ext>
              </a:extLst>
            </p:cNvPr>
            <p:cNvSpPr/>
            <p:nvPr/>
          </p:nvSpPr>
          <p:spPr>
            <a:xfrm>
              <a:off x="6828895" y="1774644"/>
              <a:ext cx="107484" cy="105227"/>
            </a:xfrm>
            <a:custGeom>
              <a:avLst/>
              <a:gdLst>
                <a:gd name="connsiteX0" fmla="*/ 23319 w 107484"/>
                <a:gd name="connsiteY0" fmla="*/ 105228 h 105227"/>
                <a:gd name="connsiteX1" fmla="*/ 55749 w 107484"/>
                <a:gd name="connsiteY1" fmla="*/ 85958 h 105227"/>
                <a:gd name="connsiteX2" fmla="*/ 89698 w 107484"/>
                <a:gd name="connsiteY2" fmla="*/ 102197 h 105227"/>
                <a:gd name="connsiteX3" fmla="*/ 81780 w 107484"/>
                <a:gd name="connsiteY3" fmla="*/ 64955 h 105227"/>
                <a:gd name="connsiteX4" fmla="*/ 107485 w 107484"/>
                <a:gd name="connsiteY4" fmla="*/ 37133 h 105227"/>
                <a:gd name="connsiteX5" fmla="*/ 70066 w 107484"/>
                <a:gd name="connsiteY5" fmla="*/ 33344 h 105227"/>
                <a:gd name="connsiteX6" fmla="*/ 51953 w 107484"/>
                <a:gd name="connsiteY6" fmla="*/ 0 h 105227"/>
                <a:gd name="connsiteX7" fmla="*/ 36877 w 107484"/>
                <a:gd name="connsiteY7" fmla="*/ 34859 h 105227"/>
                <a:gd name="connsiteX8" fmla="*/ 0 w 107484"/>
                <a:gd name="connsiteY8" fmla="*/ 42005 h 105227"/>
                <a:gd name="connsiteX9" fmla="*/ 27983 w 107484"/>
                <a:gd name="connsiteY9" fmla="*/ 67337 h 105227"/>
                <a:gd name="connsiteX10" fmla="*/ 23319 w 107484"/>
                <a:gd name="connsiteY10" fmla="*/ 105228 h 105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7484" h="105227">
                  <a:moveTo>
                    <a:pt x="23319" y="105228"/>
                  </a:moveTo>
                  <a:lnTo>
                    <a:pt x="55749" y="85958"/>
                  </a:lnTo>
                  <a:lnTo>
                    <a:pt x="89698" y="102197"/>
                  </a:lnTo>
                  <a:lnTo>
                    <a:pt x="81780" y="64955"/>
                  </a:lnTo>
                  <a:lnTo>
                    <a:pt x="107485" y="37133"/>
                  </a:lnTo>
                  <a:lnTo>
                    <a:pt x="70066" y="33344"/>
                  </a:lnTo>
                  <a:lnTo>
                    <a:pt x="51953" y="0"/>
                  </a:lnTo>
                  <a:lnTo>
                    <a:pt x="36877" y="34859"/>
                  </a:lnTo>
                  <a:lnTo>
                    <a:pt x="0" y="42005"/>
                  </a:lnTo>
                  <a:lnTo>
                    <a:pt x="27983" y="67337"/>
                  </a:lnTo>
                  <a:lnTo>
                    <a:pt x="23319" y="105228"/>
                  </a:lnTo>
                  <a:close/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eform 61">
              <a:extLst>
                <a:ext uri="{FF2B5EF4-FFF2-40B4-BE49-F238E27FC236}">
                  <a16:creationId xmlns:a16="http://schemas.microsoft.com/office/drawing/2014/main" id="{785C16D1-9086-854E-9471-3211080DE802}"/>
                </a:ext>
              </a:extLst>
            </p:cNvPr>
            <p:cNvSpPr/>
            <p:nvPr/>
          </p:nvSpPr>
          <p:spPr>
            <a:xfrm>
              <a:off x="7103952" y="1763168"/>
              <a:ext cx="107484" cy="105227"/>
            </a:xfrm>
            <a:custGeom>
              <a:avLst/>
              <a:gdLst>
                <a:gd name="connsiteX0" fmla="*/ 72669 w 107484"/>
                <a:gd name="connsiteY0" fmla="*/ 56295 h 105227"/>
                <a:gd name="connsiteX1" fmla="*/ 68114 w 107484"/>
                <a:gd name="connsiteY1" fmla="*/ 61166 h 105227"/>
                <a:gd name="connsiteX2" fmla="*/ 69524 w 107484"/>
                <a:gd name="connsiteY2" fmla="*/ 67662 h 105227"/>
                <a:gd name="connsiteX3" fmla="*/ 72127 w 107484"/>
                <a:gd name="connsiteY3" fmla="*/ 79787 h 105227"/>
                <a:gd name="connsiteX4" fmla="*/ 61280 w 107484"/>
                <a:gd name="connsiteY4" fmla="*/ 74591 h 105227"/>
                <a:gd name="connsiteX5" fmla="*/ 55315 w 107484"/>
                <a:gd name="connsiteY5" fmla="*/ 71668 h 105227"/>
                <a:gd name="connsiteX6" fmla="*/ 49675 w 107484"/>
                <a:gd name="connsiteY6" fmla="*/ 75024 h 105227"/>
                <a:gd name="connsiteX7" fmla="*/ 38829 w 107484"/>
                <a:gd name="connsiteY7" fmla="*/ 81303 h 105227"/>
                <a:gd name="connsiteX8" fmla="*/ 40348 w 107484"/>
                <a:gd name="connsiteY8" fmla="*/ 68961 h 105227"/>
                <a:gd name="connsiteX9" fmla="*/ 41215 w 107484"/>
                <a:gd name="connsiteY9" fmla="*/ 62357 h 105227"/>
                <a:gd name="connsiteX10" fmla="*/ 36335 w 107484"/>
                <a:gd name="connsiteY10" fmla="*/ 57919 h 105227"/>
                <a:gd name="connsiteX11" fmla="*/ 27224 w 107484"/>
                <a:gd name="connsiteY11" fmla="*/ 49691 h 105227"/>
                <a:gd name="connsiteX12" fmla="*/ 39263 w 107484"/>
                <a:gd name="connsiteY12" fmla="*/ 47309 h 105227"/>
                <a:gd name="connsiteX13" fmla="*/ 45662 w 107484"/>
                <a:gd name="connsiteY13" fmla="*/ 46118 h 105227"/>
                <a:gd name="connsiteX14" fmla="*/ 48265 w 107484"/>
                <a:gd name="connsiteY14" fmla="*/ 39948 h 105227"/>
                <a:gd name="connsiteX15" fmla="*/ 53254 w 107484"/>
                <a:gd name="connsiteY15" fmla="*/ 29122 h 105227"/>
                <a:gd name="connsiteX16" fmla="*/ 59111 w 107484"/>
                <a:gd name="connsiteY16" fmla="*/ 39948 h 105227"/>
                <a:gd name="connsiteX17" fmla="*/ 62257 w 107484"/>
                <a:gd name="connsiteY17" fmla="*/ 45794 h 105227"/>
                <a:gd name="connsiteX18" fmla="*/ 68764 w 107484"/>
                <a:gd name="connsiteY18" fmla="*/ 46443 h 105227"/>
                <a:gd name="connsiteX19" fmla="*/ 81020 w 107484"/>
                <a:gd name="connsiteY19" fmla="*/ 47742 h 105227"/>
                <a:gd name="connsiteX20" fmla="*/ 51953 w 107484"/>
                <a:gd name="connsiteY20" fmla="*/ 0 h 105227"/>
                <a:gd name="connsiteX21" fmla="*/ 36877 w 107484"/>
                <a:gd name="connsiteY21" fmla="*/ 34859 h 105227"/>
                <a:gd name="connsiteX22" fmla="*/ 0 w 107484"/>
                <a:gd name="connsiteY22" fmla="*/ 42005 h 105227"/>
                <a:gd name="connsiteX23" fmla="*/ 27983 w 107484"/>
                <a:gd name="connsiteY23" fmla="*/ 67445 h 105227"/>
                <a:gd name="connsiteX24" fmla="*/ 23319 w 107484"/>
                <a:gd name="connsiteY24" fmla="*/ 105228 h 105227"/>
                <a:gd name="connsiteX25" fmla="*/ 55857 w 107484"/>
                <a:gd name="connsiteY25" fmla="*/ 86066 h 105227"/>
                <a:gd name="connsiteX26" fmla="*/ 89806 w 107484"/>
                <a:gd name="connsiteY26" fmla="*/ 102305 h 105227"/>
                <a:gd name="connsiteX27" fmla="*/ 81888 w 107484"/>
                <a:gd name="connsiteY27" fmla="*/ 64955 h 105227"/>
                <a:gd name="connsiteX28" fmla="*/ 107485 w 107484"/>
                <a:gd name="connsiteY28" fmla="*/ 37241 h 105227"/>
                <a:gd name="connsiteX29" fmla="*/ 70066 w 107484"/>
                <a:gd name="connsiteY29" fmla="*/ 33993 h 105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7484" h="105227">
                  <a:moveTo>
                    <a:pt x="72669" y="56295"/>
                  </a:moveTo>
                  <a:lnTo>
                    <a:pt x="68114" y="61166"/>
                  </a:lnTo>
                  <a:lnTo>
                    <a:pt x="69524" y="67662"/>
                  </a:lnTo>
                  <a:lnTo>
                    <a:pt x="72127" y="79787"/>
                  </a:lnTo>
                  <a:lnTo>
                    <a:pt x="61280" y="74591"/>
                  </a:lnTo>
                  <a:lnTo>
                    <a:pt x="55315" y="71668"/>
                  </a:lnTo>
                  <a:lnTo>
                    <a:pt x="49675" y="75024"/>
                  </a:lnTo>
                  <a:lnTo>
                    <a:pt x="38829" y="81303"/>
                  </a:lnTo>
                  <a:lnTo>
                    <a:pt x="40348" y="68961"/>
                  </a:lnTo>
                  <a:lnTo>
                    <a:pt x="41215" y="62357"/>
                  </a:lnTo>
                  <a:lnTo>
                    <a:pt x="36335" y="57919"/>
                  </a:lnTo>
                  <a:lnTo>
                    <a:pt x="27224" y="49691"/>
                  </a:lnTo>
                  <a:lnTo>
                    <a:pt x="39263" y="47309"/>
                  </a:lnTo>
                  <a:lnTo>
                    <a:pt x="45662" y="46118"/>
                  </a:lnTo>
                  <a:lnTo>
                    <a:pt x="48265" y="39948"/>
                  </a:lnTo>
                  <a:lnTo>
                    <a:pt x="53254" y="29122"/>
                  </a:lnTo>
                  <a:lnTo>
                    <a:pt x="59111" y="39948"/>
                  </a:lnTo>
                  <a:lnTo>
                    <a:pt x="62257" y="45794"/>
                  </a:lnTo>
                  <a:lnTo>
                    <a:pt x="68764" y="46443"/>
                  </a:lnTo>
                  <a:lnTo>
                    <a:pt x="81020" y="47742"/>
                  </a:lnTo>
                  <a:close/>
                  <a:moveTo>
                    <a:pt x="51953" y="0"/>
                  </a:moveTo>
                  <a:lnTo>
                    <a:pt x="36877" y="34859"/>
                  </a:lnTo>
                  <a:lnTo>
                    <a:pt x="0" y="42005"/>
                  </a:lnTo>
                  <a:lnTo>
                    <a:pt x="27983" y="67445"/>
                  </a:lnTo>
                  <a:lnTo>
                    <a:pt x="23319" y="105228"/>
                  </a:lnTo>
                  <a:lnTo>
                    <a:pt x="55857" y="86066"/>
                  </a:lnTo>
                  <a:lnTo>
                    <a:pt x="89806" y="102305"/>
                  </a:lnTo>
                  <a:lnTo>
                    <a:pt x="81888" y="64955"/>
                  </a:lnTo>
                  <a:lnTo>
                    <a:pt x="107485" y="37241"/>
                  </a:lnTo>
                  <a:lnTo>
                    <a:pt x="70066" y="33993"/>
                  </a:lnTo>
                  <a:close/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 62">
              <a:extLst>
                <a:ext uri="{FF2B5EF4-FFF2-40B4-BE49-F238E27FC236}">
                  <a16:creationId xmlns:a16="http://schemas.microsoft.com/office/drawing/2014/main" id="{9F8CA9AF-B52F-BF45-AAAE-89950407ECF2}"/>
                </a:ext>
              </a:extLst>
            </p:cNvPr>
            <p:cNvSpPr/>
            <p:nvPr/>
          </p:nvSpPr>
          <p:spPr>
            <a:xfrm>
              <a:off x="6951312" y="1767499"/>
              <a:ext cx="167590" cy="316008"/>
            </a:xfrm>
            <a:custGeom>
              <a:avLst/>
              <a:gdLst>
                <a:gd name="connsiteX0" fmla="*/ 45697 w 167590"/>
                <a:gd name="connsiteY0" fmla="*/ 232757 h 316008"/>
                <a:gd name="connsiteX1" fmla="*/ 46240 w 167590"/>
                <a:gd name="connsiteY1" fmla="*/ 232757 h 316008"/>
                <a:gd name="connsiteX2" fmla="*/ 50253 w 167590"/>
                <a:gd name="connsiteY2" fmla="*/ 227561 h 316008"/>
                <a:gd name="connsiteX3" fmla="*/ 45372 w 167590"/>
                <a:gd name="connsiteY3" fmla="*/ 118435 h 316008"/>
                <a:gd name="connsiteX4" fmla="*/ 56218 w 167590"/>
                <a:gd name="connsiteY4" fmla="*/ 107610 h 316008"/>
                <a:gd name="connsiteX5" fmla="*/ 67064 w 167590"/>
                <a:gd name="connsiteY5" fmla="*/ 118435 h 316008"/>
                <a:gd name="connsiteX6" fmla="*/ 70101 w 167590"/>
                <a:gd name="connsiteY6" fmla="*/ 187288 h 316008"/>
                <a:gd name="connsiteX7" fmla="*/ 74114 w 167590"/>
                <a:gd name="connsiteY7" fmla="*/ 192376 h 316008"/>
                <a:gd name="connsiteX8" fmla="*/ 77932 w 167590"/>
                <a:gd name="connsiteY8" fmla="*/ 187581 h 316008"/>
                <a:gd name="connsiteX9" fmla="*/ 77910 w 167590"/>
                <a:gd name="connsiteY9" fmla="*/ 187397 h 316008"/>
                <a:gd name="connsiteX10" fmla="*/ 76717 w 167590"/>
                <a:gd name="connsiteY10" fmla="*/ 159249 h 316008"/>
                <a:gd name="connsiteX11" fmla="*/ 84245 w 167590"/>
                <a:gd name="connsiteY11" fmla="*/ 149571 h 316008"/>
                <a:gd name="connsiteX12" fmla="*/ 85286 w 167590"/>
                <a:gd name="connsiteY12" fmla="*/ 149506 h 316008"/>
                <a:gd name="connsiteX13" fmla="*/ 96132 w 167590"/>
                <a:gd name="connsiteY13" fmla="*/ 160332 h 316008"/>
                <a:gd name="connsiteX14" fmla="*/ 97433 w 167590"/>
                <a:gd name="connsiteY14" fmla="*/ 188912 h 316008"/>
                <a:gd name="connsiteX15" fmla="*/ 101663 w 167590"/>
                <a:gd name="connsiteY15" fmla="*/ 193567 h 316008"/>
                <a:gd name="connsiteX16" fmla="*/ 105329 w 167590"/>
                <a:gd name="connsiteY16" fmla="*/ 189237 h 316008"/>
                <a:gd name="connsiteX17" fmla="*/ 105243 w 167590"/>
                <a:gd name="connsiteY17" fmla="*/ 188696 h 316008"/>
                <a:gd name="connsiteX18" fmla="*/ 104267 w 167590"/>
                <a:gd name="connsiteY18" fmla="*/ 166069 h 316008"/>
                <a:gd name="connsiteX19" fmla="*/ 111718 w 167590"/>
                <a:gd name="connsiteY19" fmla="*/ 155384 h 316008"/>
                <a:gd name="connsiteX20" fmla="*/ 113377 w 167590"/>
                <a:gd name="connsiteY20" fmla="*/ 155244 h 316008"/>
                <a:gd name="connsiteX21" fmla="*/ 124191 w 167590"/>
                <a:gd name="connsiteY21" fmla="*/ 164521 h 316008"/>
                <a:gd name="connsiteX22" fmla="*/ 124223 w 167590"/>
                <a:gd name="connsiteY22" fmla="*/ 165420 h 316008"/>
                <a:gd name="connsiteX23" fmla="*/ 125525 w 167590"/>
                <a:gd name="connsiteY23" fmla="*/ 194975 h 316008"/>
                <a:gd name="connsiteX24" fmla="*/ 129419 w 167590"/>
                <a:gd name="connsiteY24" fmla="*/ 199511 h 316008"/>
                <a:gd name="connsiteX25" fmla="*/ 129755 w 167590"/>
                <a:gd name="connsiteY25" fmla="*/ 199522 h 316008"/>
                <a:gd name="connsiteX26" fmla="*/ 133584 w 167590"/>
                <a:gd name="connsiteY26" fmla="*/ 194931 h 316008"/>
                <a:gd name="connsiteX27" fmla="*/ 133551 w 167590"/>
                <a:gd name="connsiteY27" fmla="*/ 194650 h 316008"/>
                <a:gd name="connsiteX28" fmla="*/ 133551 w 167590"/>
                <a:gd name="connsiteY28" fmla="*/ 186422 h 316008"/>
                <a:gd name="connsiteX29" fmla="*/ 138540 w 167590"/>
                <a:gd name="connsiteY29" fmla="*/ 165853 h 316008"/>
                <a:gd name="connsiteX30" fmla="*/ 150124 w 167590"/>
                <a:gd name="connsiteY30" fmla="*/ 175899 h 316008"/>
                <a:gd name="connsiteX31" fmla="*/ 150145 w 167590"/>
                <a:gd name="connsiteY31" fmla="*/ 176679 h 316008"/>
                <a:gd name="connsiteX32" fmla="*/ 150145 w 167590"/>
                <a:gd name="connsiteY32" fmla="*/ 181334 h 316008"/>
                <a:gd name="connsiteX33" fmla="*/ 152965 w 167590"/>
                <a:gd name="connsiteY33" fmla="*/ 239469 h 316008"/>
                <a:gd name="connsiteX34" fmla="*/ 140601 w 167590"/>
                <a:gd name="connsiteY34" fmla="*/ 279525 h 316008"/>
                <a:gd name="connsiteX35" fmla="*/ 139191 w 167590"/>
                <a:gd name="connsiteY35" fmla="*/ 281257 h 316008"/>
                <a:gd name="connsiteX36" fmla="*/ 135178 w 167590"/>
                <a:gd name="connsiteY36" fmla="*/ 298037 h 316008"/>
                <a:gd name="connsiteX37" fmla="*/ 63919 w 167590"/>
                <a:gd name="connsiteY37" fmla="*/ 301285 h 316008"/>
                <a:gd name="connsiteX38" fmla="*/ 63919 w 167590"/>
                <a:gd name="connsiteY38" fmla="*/ 300203 h 316008"/>
                <a:gd name="connsiteX39" fmla="*/ 58496 w 167590"/>
                <a:gd name="connsiteY39" fmla="*/ 283964 h 316008"/>
                <a:gd name="connsiteX40" fmla="*/ 53181 w 167590"/>
                <a:gd name="connsiteY40" fmla="*/ 279092 h 316008"/>
                <a:gd name="connsiteX41" fmla="*/ 41359 w 167590"/>
                <a:gd name="connsiteY41" fmla="*/ 268266 h 316008"/>
                <a:gd name="connsiteX42" fmla="*/ 18582 w 167590"/>
                <a:gd name="connsiteY42" fmla="*/ 231242 h 316008"/>
                <a:gd name="connsiteX43" fmla="*/ 15328 w 167590"/>
                <a:gd name="connsiteY43" fmla="*/ 207533 h 316008"/>
                <a:gd name="connsiteX44" fmla="*/ 20317 w 167590"/>
                <a:gd name="connsiteY44" fmla="*/ 204826 h 316008"/>
                <a:gd name="connsiteX45" fmla="*/ 41467 w 167590"/>
                <a:gd name="connsiteY45" fmla="*/ 228102 h 316008"/>
                <a:gd name="connsiteX46" fmla="*/ 46240 w 167590"/>
                <a:gd name="connsiteY46" fmla="*/ 231999 h 316008"/>
                <a:gd name="connsiteX47" fmla="*/ 3506 w 167590"/>
                <a:gd name="connsiteY47" fmla="*/ 199522 h 316008"/>
                <a:gd name="connsiteX48" fmla="*/ 5567 w 167590"/>
                <a:gd name="connsiteY48" fmla="*/ 236330 h 316008"/>
                <a:gd name="connsiteX49" fmla="*/ 30405 w 167590"/>
                <a:gd name="connsiteY49" fmla="*/ 276819 h 316008"/>
                <a:gd name="connsiteX50" fmla="*/ 44396 w 167590"/>
                <a:gd name="connsiteY50" fmla="*/ 290243 h 316008"/>
                <a:gd name="connsiteX51" fmla="*/ 47107 w 167590"/>
                <a:gd name="connsiteY51" fmla="*/ 292516 h 316008"/>
                <a:gd name="connsiteX52" fmla="*/ 50144 w 167590"/>
                <a:gd name="connsiteY52" fmla="*/ 303342 h 316008"/>
                <a:gd name="connsiteX53" fmla="*/ 50795 w 167590"/>
                <a:gd name="connsiteY53" fmla="*/ 305507 h 316008"/>
                <a:gd name="connsiteX54" fmla="*/ 50795 w 167590"/>
                <a:gd name="connsiteY54" fmla="*/ 306590 h 316008"/>
                <a:gd name="connsiteX55" fmla="*/ 54483 w 167590"/>
                <a:gd name="connsiteY55" fmla="*/ 316008 h 316008"/>
                <a:gd name="connsiteX56" fmla="*/ 64461 w 167590"/>
                <a:gd name="connsiteY56" fmla="*/ 316008 h 316008"/>
                <a:gd name="connsiteX57" fmla="*/ 135612 w 167590"/>
                <a:gd name="connsiteY57" fmla="*/ 312761 h 316008"/>
                <a:gd name="connsiteX58" fmla="*/ 146458 w 167590"/>
                <a:gd name="connsiteY58" fmla="*/ 312761 h 316008"/>
                <a:gd name="connsiteX59" fmla="*/ 148952 w 167590"/>
                <a:gd name="connsiteY59" fmla="*/ 301935 h 316008"/>
                <a:gd name="connsiteX60" fmla="*/ 152315 w 167590"/>
                <a:gd name="connsiteY60" fmla="*/ 288402 h 316008"/>
                <a:gd name="connsiteX61" fmla="*/ 167174 w 167590"/>
                <a:gd name="connsiteY61" fmla="*/ 239253 h 316008"/>
                <a:gd name="connsiteX62" fmla="*/ 165113 w 167590"/>
                <a:gd name="connsiteY62" fmla="*/ 195299 h 316008"/>
                <a:gd name="connsiteX63" fmla="*/ 164462 w 167590"/>
                <a:gd name="connsiteY63" fmla="*/ 181009 h 316008"/>
                <a:gd name="connsiteX64" fmla="*/ 164462 w 167590"/>
                <a:gd name="connsiteY64" fmla="*/ 177437 h 316008"/>
                <a:gd name="connsiteX65" fmla="*/ 164462 w 167590"/>
                <a:gd name="connsiteY65" fmla="*/ 176462 h 316008"/>
                <a:gd name="connsiteX66" fmla="*/ 139787 w 167590"/>
                <a:gd name="connsiteY66" fmla="*/ 151725 h 316008"/>
                <a:gd name="connsiteX67" fmla="*/ 138106 w 167590"/>
                <a:gd name="connsiteY67" fmla="*/ 151779 h 316008"/>
                <a:gd name="connsiteX68" fmla="*/ 134852 w 167590"/>
                <a:gd name="connsiteY68" fmla="*/ 151779 h 316008"/>
                <a:gd name="connsiteX69" fmla="*/ 104700 w 167590"/>
                <a:gd name="connsiteY69" fmla="*/ 142794 h 316008"/>
                <a:gd name="connsiteX70" fmla="*/ 103182 w 167590"/>
                <a:gd name="connsiteY70" fmla="*/ 141170 h 316008"/>
                <a:gd name="connsiteX71" fmla="*/ 85069 w 167590"/>
                <a:gd name="connsiteY71" fmla="*/ 134566 h 316008"/>
                <a:gd name="connsiteX72" fmla="*/ 82140 w 167590"/>
                <a:gd name="connsiteY72" fmla="*/ 134566 h 316008"/>
                <a:gd name="connsiteX73" fmla="*/ 81381 w 167590"/>
                <a:gd name="connsiteY73" fmla="*/ 116812 h 316008"/>
                <a:gd name="connsiteX74" fmla="*/ 67932 w 167590"/>
                <a:gd name="connsiteY74" fmla="*/ 94510 h 316008"/>
                <a:gd name="connsiteX75" fmla="*/ 82357 w 167590"/>
                <a:gd name="connsiteY75" fmla="*/ 85958 h 316008"/>
                <a:gd name="connsiteX76" fmla="*/ 116306 w 167590"/>
                <a:gd name="connsiteY76" fmla="*/ 102197 h 316008"/>
                <a:gd name="connsiteX77" fmla="*/ 108388 w 167590"/>
                <a:gd name="connsiteY77" fmla="*/ 64955 h 316008"/>
                <a:gd name="connsiteX78" fmla="*/ 133985 w 167590"/>
                <a:gd name="connsiteY78" fmla="*/ 37133 h 316008"/>
                <a:gd name="connsiteX79" fmla="*/ 96674 w 167590"/>
                <a:gd name="connsiteY79" fmla="*/ 33344 h 316008"/>
                <a:gd name="connsiteX80" fmla="*/ 78561 w 167590"/>
                <a:gd name="connsiteY80" fmla="*/ 0 h 316008"/>
                <a:gd name="connsiteX81" fmla="*/ 63485 w 167590"/>
                <a:gd name="connsiteY81" fmla="*/ 34859 h 316008"/>
                <a:gd name="connsiteX82" fmla="*/ 26608 w 167590"/>
                <a:gd name="connsiteY82" fmla="*/ 42005 h 316008"/>
                <a:gd name="connsiteX83" fmla="*/ 54591 w 167590"/>
                <a:gd name="connsiteY83" fmla="*/ 67445 h 316008"/>
                <a:gd name="connsiteX84" fmla="*/ 50795 w 167590"/>
                <a:gd name="connsiteY84" fmla="*/ 94618 h 316008"/>
                <a:gd name="connsiteX85" fmla="*/ 31381 w 167590"/>
                <a:gd name="connsiteY85" fmla="*/ 119518 h 316008"/>
                <a:gd name="connsiteX86" fmla="*/ 34526 w 167590"/>
                <a:gd name="connsiteY86" fmla="*/ 196815 h 316008"/>
                <a:gd name="connsiteX87" fmla="*/ 19125 w 167590"/>
                <a:gd name="connsiteY87" fmla="*/ 191835 h 316008"/>
                <a:gd name="connsiteX88" fmla="*/ 2964 w 167590"/>
                <a:gd name="connsiteY88" fmla="*/ 201254 h 316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167590" h="316008">
                  <a:moveTo>
                    <a:pt x="45697" y="232757"/>
                  </a:moveTo>
                  <a:lnTo>
                    <a:pt x="46240" y="232757"/>
                  </a:lnTo>
                  <a:cubicBezTo>
                    <a:pt x="48745" y="232367"/>
                    <a:pt x="50513" y="230083"/>
                    <a:pt x="50253" y="227561"/>
                  </a:cubicBezTo>
                  <a:cubicBezTo>
                    <a:pt x="50253" y="226695"/>
                    <a:pt x="47433" y="181767"/>
                    <a:pt x="45372" y="118435"/>
                  </a:cubicBezTo>
                  <a:cubicBezTo>
                    <a:pt x="45372" y="112460"/>
                    <a:pt x="50231" y="107610"/>
                    <a:pt x="56218" y="107610"/>
                  </a:cubicBezTo>
                  <a:cubicBezTo>
                    <a:pt x="62205" y="107610"/>
                    <a:pt x="67064" y="112460"/>
                    <a:pt x="67064" y="118435"/>
                  </a:cubicBezTo>
                  <a:cubicBezTo>
                    <a:pt x="67064" y="118435"/>
                    <a:pt x="70101" y="185773"/>
                    <a:pt x="70101" y="187288"/>
                  </a:cubicBezTo>
                  <a:cubicBezTo>
                    <a:pt x="70101" y="190861"/>
                    <a:pt x="72162" y="192485"/>
                    <a:pt x="74114" y="192376"/>
                  </a:cubicBezTo>
                  <a:cubicBezTo>
                    <a:pt x="76501" y="192106"/>
                    <a:pt x="78203" y="189962"/>
                    <a:pt x="77932" y="187581"/>
                  </a:cubicBezTo>
                  <a:cubicBezTo>
                    <a:pt x="77932" y="187526"/>
                    <a:pt x="77921" y="187461"/>
                    <a:pt x="77910" y="187397"/>
                  </a:cubicBezTo>
                  <a:cubicBezTo>
                    <a:pt x="77910" y="186314"/>
                    <a:pt x="76717" y="159249"/>
                    <a:pt x="76717" y="159249"/>
                  </a:cubicBezTo>
                  <a:cubicBezTo>
                    <a:pt x="76121" y="154507"/>
                    <a:pt x="79483" y="150177"/>
                    <a:pt x="84245" y="149571"/>
                  </a:cubicBezTo>
                  <a:cubicBezTo>
                    <a:pt x="84591" y="149527"/>
                    <a:pt x="84939" y="149506"/>
                    <a:pt x="85286" y="149506"/>
                  </a:cubicBezTo>
                  <a:cubicBezTo>
                    <a:pt x="91273" y="149506"/>
                    <a:pt x="96132" y="154356"/>
                    <a:pt x="96132" y="160332"/>
                  </a:cubicBezTo>
                  <a:cubicBezTo>
                    <a:pt x="96132" y="161847"/>
                    <a:pt x="97433" y="188912"/>
                    <a:pt x="97433" y="188912"/>
                  </a:cubicBezTo>
                  <a:cubicBezTo>
                    <a:pt x="97433" y="192160"/>
                    <a:pt x="99602" y="193676"/>
                    <a:pt x="101663" y="193567"/>
                  </a:cubicBezTo>
                  <a:cubicBezTo>
                    <a:pt x="103876" y="193383"/>
                    <a:pt x="105514" y="191445"/>
                    <a:pt x="105329" y="189237"/>
                  </a:cubicBezTo>
                  <a:cubicBezTo>
                    <a:pt x="105308" y="189053"/>
                    <a:pt x="105286" y="188880"/>
                    <a:pt x="105243" y="188696"/>
                  </a:cubicBezTo>
                  <a:lnTo>
                    <a:pt x="104267" y="166069"/>
                  </a:lnTo>
                  <a:cubicBezTo>
                    <a:pt x="103366" y="161068"/>
                    <a:pt x="106707" y="156283"/>
                    <a:pt x="111718" y="155384"/>
                  </a:cubicBezTo>
                  <a:cubicBezTo>
                    <a:pt x="112260" y="155287"/>
                    <a:pt x="112824" y="155244"/>
                    <a:pt x="113377" y="155244"/>
                  </a:cubicBezTo>
                  <a:cubicBezTo>
                    <a:pt x="118930" y="154821"/>
                    <a:pt x="123778" y="158979"/>
                    <a:pt x="124191" y="164521"/>
                  </a:cubicBezTo>
                  <a:cubicBezTo>
                    <a:pt x="124223" y="164825"/>
                    <a:pt x="124223" y="165117"/>
                    <a:pt x="124223" y="165420"/>
                  </a:cubicBezTo>
                  <a:cubicBezTo>
                    <a:pt x="124223" y="169426"/>
                    <a:pt x="125525" y="194975"/>
                    <a:pt x="125525" y="194975"/>
                  </a:cubicBezTo>
                  <a:cubicBezTo>
                    <a:pt x="125340" y="197302"/>
                    <a:pt x="127087" y="199327"/>
                    <a:pt x="129419" y="199511"/>
                  </a:cubicBezTo>
                  <a:cubicBezTo>
                    <a:pt x="129527" y="199522"/>
                    <a:pt x="129646" y="199522"/>
                    <a:pt x="129755" y="199522"/>
                  </a:cubicBezTo>
                  <a:cubicBezTo>
                    <a:pt x="132087" y="199316"/>
                    <a:pt x="133800" y="197259"/>
                    <a:pt x="133584" y="194931"/>
                  </a:cubicBezTo>
                  <a:cubicBezTo>
                    <a:pt x="133584" y="194845"/>
                    <a:pt x="133562" y="194747"/>
                    <a:pt x="133551" y="194650"/>
                  </a:cubicBezTo>
                  <a:lnTo>
                    <a:pt x="133551" y="186422"/>
                  </a:lnTo>
                  <a:cubicBezTo>
                    <a:pt x="132683" y="171158"/>
                    <a:pt x="133551" y="166069"/>
                    <a:pt x="138540" y="165853"/>
                  </a:cubicBezTo>
                  <a:cubicBezTo>
                    <a:pt x="144516" y="165431"/>
                    <a:pt x="149701" y="169934"/>
                    <a:pt x="150124" y="175899"/>
                  </a:cubicBezTo>
                  <a:cubicBezTo>
                    <a:pt x="150135" y="176159"/>
                    <a:pt x="150145" y="176419"/>
                    <a:pt x="150145" y="176679"/>
                  </a:cubicBezTo>
                  <a:cubicBezTo>
                    <a:pt x="150145" y="176679"/>
                    <a:pt x="150145" y="178411"/>
                    <a:pt x="150145" y="181334"/>
                  </a:cubicBezTo>
                  <a:cubicBezTo>
                    <a:pt x="150905" y="195083"/>
                    <a:pt x="152423" y="227669"/>
                    <a:pt x="152965" y="239469"/>
                  </a:cubicBezTo>
                  <a:cubicBezTo>
                    <a:pt x="154885" y="253987"/>
                    <a:pt x="150373" y="268613"/>
                    <a:pt x="140601" y="279525"/>
                  </a:cubicBezTo>
                  <a:lnTo>
                    <a:pt x="139191" y="281257"/>
                  </a:lnTo>
                  <a:lnTo>
                    <a:pt x="135178" y="298037"/>
                  </a:lnTo>
                  <a:lnTo>
                    <a:pt x="63919" y="301285"/>
                  </a:lnTo>
                  <a:lnTo>
                    <a:pt x="63919" y="300203"/>
                  </a:lnTo>
                  <a:cubicBezTo>
                    <a:pt x="62704" y="294606"/>
                    <a:pt x="60882" y="289171"/>
                    <a:pt x="58496" y="283964"/>
                  </a:cubicBezTo>
                  <a:cubicBezTo>
                    <a:pt x="56902" y="282167"/>
                    <a:pt x="55112" y="280532"/>
                    <a:pt x="53181" y="279092"/>
                  </a:cubicBezTo>
                  <a:cubicBezTo>
                    <a:pt x="48843" y="275953"/>
                    <a:pt x="44873" y="272315"/>
                    <a:pt x="41359" y="268266"/>
                  </a:cubicBezTo>
                  <a:cubicBezTo>
                    <a:pt x="32086" y="257040"/>
                    <a:pt x="24417" y="244579"/>
                    <a:pt x="18582" y="231242"/>
                  </a:cubicBezTo>
                  <a:cubicBezTo>
                    <a:pt x="16413" y="226045"/>
                    <a:pt x="11857" y="213270"/>
                    <a:pt x="15328" y="207533"/>
                  </a:cubicBezTo>
                  <a:cubicBezTo>
                    <a:pt x="16456" y="205876"/>
                    <a:pt x="18311" y="204870"/>
                    <a:pt x="20317" y="204826"/>
                  </a:cubicBezTo>
                  <a:cubicBezTo>
                    <a:pt x="31326" y="207771"/>
                    <a:pt x="39602" y="216875"/>
                    <a:pt x="41467" y="228102"/>
                  </a:cubicBezTo>
                  <a:cubicBezTo>
                    <a:pt x="41804" y="230440"/>
                    <a:pt x="43875" y="232140"/>
                    <a:pt x="46240" y="231999"/>
                  </a:cubicBezTo>
                  <a:moveTo>
                    <a:pt x="3506" y="199522"/>
                  </a:moveTo>
                  <a:cubicBezTo>
                    <a:pt x="-1808" y="207857"/>
                    <a:pt x="-1049" y="219983"/>
                    <a:pt x="5567" y="236330"/>
                  </a:cubicBezTo>
                  <a:cubicBezTo>
                    <a:pt x="11988" y="250880"/>
                    <a:pt x="20339" y="264499"/>
                    <a:pt x="30405" y="276819"/>
                  </a:cubicBezTo>
                  <a:cubicBezTo>
                    <a:pt x="34580" y="281777"/>
                    <a:pt x="39266" y="286280"/>
                    <a:pt x="44396" y="290243"/>
                  </a:cubicBezTo>
                  <a:lnTo>
                    <a:pt x="47107" y="292516"/>
                  </a:lnTo>
                  <a:cubicBezTo>
                    <a:pt x="48387" y="296045"/>
                    <a:pt x="49407" y="299661"/>
                    <a:pt x="50144" y="303342"/>
                  </a:cubicBezTo>
                  <a:lnTo>
                    <a:pt x="50795" y="305507"/>
                  </a:lnTo>
                  <a:lnTo>
                    <a:pt x="50795" y="306590"/>
                  </a:lnTo>
                  <a:lnTo>
                    <a:pt x="54483" y="316008"/>
                  </a:lnTo>
                  <a:lnTo>
                    <a:pt x="64461" y="316008"/>
                  </a:lnTo>
                  <a:lnTo>
                    <a:pt x="135612" y="312761"/>
                  </a:lnTo>
                  <a:lnTo>
                    <a:pt x="146458" y="312761"/>
                  </a:lnTo>
                  <a:lnTo>
                    <a:pt x="148952" y="301935"/>
                  </a:lnTo>
                  <a:lnTo>
                    <a:pt x="152315" y="288402"/>
                  </a:lnTo>
                  <a:cubicBezTo>
                    <a:pt x="163822" y="274751"/>
                    <a:pt x="169191" y="256975"/>
                    <a:pt x="167174" y="239253"/>
                  </a:cubicBezTo>
                  <a:cubicBezTo>
                    <a:pt x="167174" y="230592"/>
                    <a:pt x="165872" y="210997"/>
                    <a:pt x="165113" y="195299"/>
                  </a:cubicBezTo>
                  <a:lnTo>
                    <a:pt x="164462" y="181009"/>
                  </a:lnTo>
                  <a:lnTo>
                    <a:pt x="164462" y="177437"/>
                  </a:lnTo>
                  <a:lnTo>
                    <a:pt x="164462" y="176462"/>
                  </a:lnTo>
                  <a:cubicBezTo>
                    <a:pt x="164495" y="162833"/>
                    <a:pt x="153443" y="151758"/>
                    <a:pt x="139787" y="151725"/>
                  </a:cubicBezTo>
                  <a:cubicBezTo>
                    <a:pt x="139223" y="151725"/>
                    <a:pt x="138670" y="151747"/>
                    <a:pt x="138106" y="151779"/>
                  </a:cubicBezTo>
                  <a:lnTo>
                    <a:pt x="134852" y="151779"/>
                  </a:lnTo>
                  <a:cubicBezTo>
                    <a:pt x="128399" y="141776"/>
                    <a:pt x="115601" y="137965"/>
                    <a:pt x="104700" y="142794"/>
                  </a:cubicBezTo>
                  <a:lnTo>
                    <a:pt x="103182" y="141170"/>
                  </a:lnTo>
                  <a:cubicBezTo>
                    <a:pt x="98279" y="136634"/>
                    <a:pt x="91750" y="134252"/>
                    <a:pt x="85069" y="134566"/>
                  </a:cubicBezTo>
                  <a:lnTo>
                    <a:pt x="82140" y="134566"/>
                  </a:lnTo>
                  <a:cubicBezTo>
                    <a:pt x="82140" y="126555"/>
                    <a:pt x="81490" y="119951"/>
                    <a:pt x="81381" y="116812"/>
                  </a:cubicBezTo>
                  <a:cubicBezTo>
                    <a:pt x="81435" y="107447"/>
                    <a:pt x="76240" y="98841"/>
                    <a:pt x="67932" y="94510"/>
                  </a:cubicBezTo>
                  <a:lnTo>
                    <a:pt x="82357" y="85958"/>
                  </a:lnTo>
                  <a:lnTo>
                    <a:pt x="116306" y="102197"/>
                  </a:lnTo>
                  <a:lnTo>
                    <a:pt x="108388" y="64955"/>
                  </a:lnTo>
                  <a:lnTo>
                    <a:pt x="133985" y="37133"/>
                  </a:lnTo>
                  <a:lnTo>
                    <a:pt x="96674" y="33344"/>
                  </a:lnTo>
                  <a:lnTo>
                    <a:pt x="78561" y="0"/>
                  </a:lnTo>
                  <a:lnTo>
                    <a:pt x="63485" y="34859"/>
                  </a:lnTo>
                  <a:lnTo>
                    <a:pt x="26608" y="42005"/>
                  </a:lnTo>
                  <a:lnTo>
                    <a:pt x="54591" y="67445"/>
                  </a:lnTo>
                  <a:lnTo>
                    <a:pt x="50795" y="94618"/>
                  </a:lnTo>
                  <a:cubicBezTo>
                    <a:pt x="39114" y="97087"/>
                    <a:pt x="30914" y="107610"/>
                    <a:pt x="31381" y="119518"/>
                  </a:cubicBezTo>
                  <a:cubicBezTo>
                    <a:pt x="32357" y="150913"/>
                    <a:pt x="33550" y="177653"/>
                    <a:pt x="34526" y="196815"/>
                  </a:cubicBezTo>
                  <a:cubicBezTo>
                    <a:pt x="30014" y="193632"/>
                    <a:pt x="24645" y="191900"/>
                    <a:pt x="19125" y="191835"/>
                  </a:cubicBezTo>
                  <a:cubicBezTo>
                    <a:pt x="12508" y="192117"/>
                    <a:pt x="6467" y="195646"/>
                    <a:pt x="2964" y="201254"/>
                  </a:cubicBezTo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 63">
              <a:extLst>
                <a:ext uri="{FF2B5EF4-FFF2-40B4-BE49-F238E27FC236}">
                  <a16:creationId xmlns:a16="http://schemas.microsoft.com/office/drawing/2014/main" id="{19B1C5AD-E77A-C047-9180-7F10DDFDB9E8}"/>
                </a:ext>
              </a:extLst>
            </p:cNvPr>
            <p:cNvSpPr/>
            <p:nvPr/>
          </p:nvSpPr>
          <p:spPr>
            <a:xfrm>
              <a:off x="7220006" y="2037064"/>
              <a:ext cx="132973" cy="134999"/>
            </a:xfrm>
            <a:custGeom>
              <a:avLst/>
              <a:gdLst>
                <a:gd name="connsiteX0" fmla="*/ 130262 w 132973"/>
                <a:gd name="connsiteY0" fmla="*/ 134999 h 134999"/>
                <a:gd name="connsiteX1" fmla="*/ 108135 w 132973"/>
                <a:gd name="connsiteY1" fmla="*/ 134566 h 134999"/>
                <a:gd name="connsiteX2" fmla="*/ 110305 w 132973"/>
                <a:gd name="connsiteY2" fmla="*/ 23709 h 134999"/>
                <a:gd name="connsiteX3" fmla="*/ 1193 w 132973"/>
                <a:gd name="connsiteY3" fmla="*/ 29555 h 134999"/>
                <a:gd name="connsiteX4" fmla="*/ 0 w 132973"/>
                <a:gd name="connsiteY4" fmla="*/ 7037 h 134999"/>
                <a:gd name="connsiteX5" fmla="*/ 132973 w 132973"/>
                <a:gd name="connsiteY5" fmla="*/ 0 h 134999"/>
                <a:gd name="connsiteX6" fmla="*/ 130262 w 132973"/>
                <a:gd name="connsiteY6" fmla="*/ 134999 h 134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2973" h="134999">
                  <a:moveTo>
                    <a:pt x="130262" y="134999"/>
                  </a:moveTo>
                  <a:lnTo>
                    <a:pt x="108135" y="134566"/>
                  </a:lnTo>
                  <a:lnTo>
                    <a:pt x="110305" y="23709"/>
                  </a:lnTo>
                  <a:lnTo>
                    <a:pt x="1193" y="29555"/>
                  </a:lnTo>
                  <a:lnTo>
                    <a:pt x="0" y="7037"/>
                  </a:lnTo>
                  <a:lnTo>
                    <a:pt x="132973" y="0"/>
                  </a:lnTo>
                  <a:lnTo>
                    <a:pt x="130262" y="134999"/>
                  </a:lnTo>
                  <a:close/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65" name="Graphic 6">
              <a:extLst>
                <a:ext uri="{FF2B5EF4-FFF2-40B4-BE49-F238E27FC236}">
                  <a16:creationId xmlns:a16="http://schemas.microsoft.com/office/drawing/2014/main" id="{5542BCB4-A478-5446-B953-842E618B04D5}"/>
                </a:ext>
              </a:extLst>
            </p:cNvPr>
            <p:cNvGrpSpPr/>
            <p:nvPr/>
          </p:nvGrpSpPr>
          <p:grpSpPr>
            <a:xfrm>
              <a:off x="5927038" y="1790853"/>
              <a:ext cx="3862046" cy="2789433"/>
              <a:chOff x="5927038" y="1790853"/>
              <a:chExt cx="3862046" cy="2789433"/>
            </a:xfrm>
            <a:solidFill>
              <a:schemeClr val="accent1"/>
            </a:solidFill>
          </p:grpSpPr>
          <p:sp>
            <p:nvSpPr>
              <p:cNvPr id="66" name="Freeform 65">
                <a:extLst>
                  <a:ext uri="{FF2B5EF4-FFF2-40B4-BE49-F238E27FC236}">
                    <a16:creationId xmlns:a16="http://schemas.microsoft.com/office/drawing/2014/main" id="{234EED7E-7991-7F44-A392-0A11E3C26B7F}"/>
                  </a:ext>
                </a:extLst>
              </p:cNvPr>
              <p:cNvSpPr/>
              <p:nvPr/>
            </p:nvSpPr>
            <p:spPr>
              <a:xfrm>
                <a:off x="8446216" y="2423446"/>
                <a:ext cx="773580" cy="1244649"/>
              </a:xfrm>
              <a:custGeom>
                <a:avLst/>
                <a:gdLst>
                  <a:gd name="connsiteX0" fmla="*/ 721860 w 773580"/>
                  <a:gd name="connsiteY0" fmla="*/ 1244542 h 1244649"/>
                  <a:gd name="connsiteX1" fmla="*/ 720992 w 773580"/>
                  <a:gd name="connsiteY1" fmla="*/ 1244542 h 1244649"/>
                  <a:gd name="connsiteX2" fmla="*/ 708844 w 773580"/>
                  <a:gd name="connsiteY2" fmla="*/ 1234365 h 1244649"/>
                  <a:gd name="connsiteX3" fmla="*/ 279772 w 773580"/>
                  <a:gd name="connsiteY3" fmla="*/ 539342 h 1244649"/>
                  <a:gd name="connsiteX4" fmla="*/ 271855 w 773580"/>
                  <a:gd name="connsiteY4" fmla="*/ 521804 h 1244649"/>
                  <a:gd name="connsiteX5" fmla="*/ 288894 w 773580"/>
                  <a:gd name="connsiteY5" fmla="*/ 513717 h 1244649"/>
                  <a:gd name="connsiteX6" fmla="*/ 289100 w 773580"/>
                  <a:gd name="connsiteY6" fmla="*/ 513792 h 1244649"/>
                  <a:gd name="connsiteX7" fmla="*/ 722293 w 773580"/>
                  <a:gd name="connsiteY7" fmla="*/ 1180019 h 1244649"/>
                  <a:gd name="connsiteX8" fmla="*/ 731187 w 773580"/>
                  <a:gd name="connsiteY8" fmla="*/ 735182 h 1244649"/>
                  <a:gd name="connsiteX9" fmla="*/ 562747 w 773580"/>
                  <a:gd name="connsiteY9" fmla="*/ 463885 h 1244649"/>
                  <a:gd name="connsiteX10" fmla="*/ 427713 w 773580"/>
                  <a:gd name="connsiteY10" fmla="*/ 425345 h 1244649"/>
                  <a:gd name="connsiteX11" fmla="*/ 418169 w 773580"/>
                  <a:gd name="connsiteY11" fmla="*/ 421231 h 1244649"/>
                  <a:gd name="connsiteX12" fmla="*/ 414264 w 773580"/>
                  <a:gd name="connsiteY12" fmla="*/ 411379 h 1244649"/>
                  <a:gd name="connsiteX13" fmla="*/ 10680 w 773580"/>
                  <a:gd name="connsiteY13" fmla="*/ 26951 h 1244649"/>
                  <a:gd name="connsiteX14" fmla="*/ 333 w 773580"/>
                  <a:gd name="connsiteY14" fmla="*/ 10658 h 1244649"/>
                  <a:gd name="connsiteX15" fmla="*/ 15344 w 773580"/>
                  <a:gd name="connsiteY15" fmla="*/ 103 h 1244649"/>
                  <a:gd name="connsiteX16" fmla="*/ 440620 w 773580"/>
                  <a:gd name="connsiteY16" fmla="*/ 398821 h 1244649"/>
                  <a:gd name="connsiteX17" fmla="*/ 757760 w 773580"/>
                  <a:gd name="connsiteY17" fmla="*/ 731285 h 1244649"/>
                  <a:gd name="connsiteX18" fmla="*/ 734333 w 773580"/>
                  <a:gd name="connsiteY18" fmla="*/ 1235989 h 1244649"/>
                  <a:gd name="connsiteX19" fmla="*/ 721860 w 773580"/>
                  <a:gd name="connsiteY19" fmla="*/ 1244650 h 12446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773580" h="1244649">
                    <a:moveTo>
                      <a:pt x="721860" y="1244542"/>
                    </a:moveTo>
                    <a:lnTo>
                      <a:pt x="720992" y="1244542"/>
                    </a:lnTo>
                    <a:cubicBezTo>
                      <a:pt x="715124" y="1244217"/>
                      <a:pt x="710178" y="1240071"/>
                      <a:pt x="708844" y="1234365"/>
                    </a:cubicBezTo>
                    <a:cubicBezTo>
                      <a:pt x="561879" y="652581"/>
                      <a:pt x="282592" y="540424"/>
                      <a:pt x="279772" y="539342"/>
                    </a:cubicBezTo>
                    <a:cubicBezTo>
                      <a:pt x="272831" y="536570"/>
                      <a:pt x="269338" y="528819"/>
                      <a:pt x="271855" y="521804"/>
                    </a:cubicBezTo>
                    <a:cubicBezTo>
                      <a:pt x="274327" y="514875"/>
                      <a:pt x="281952" y="511259"/>
                      <a:pt x="288894" y="513717"/>
                    </a:cubicBezTo>
                    <a:cubicBezTo>
                      <a:pt x="288959" y="513738"/>
                      <a:pt x="289035" y="513771"/>
                      <a:pt x="289100" y="513792"/>
                    </a:cubicBezTo>
                    <a:cubicBezTo>
                      <a:pt x="300814" y="518123"/>
                      <a:pt x="568821" y="624217"/>
                      <a:pt x="722293" y="1180019"/>
                    </a:cubicBezTo>
                    <a:cubicBezTo>
                      <a:pt x="738997" y="1108785"/>
                      <a:pt x="762207" y="956356"/>
                      <a:pt x="731187" y="735182"/>
                    </a:cubicBezTo>
                    <a:cubicBezTo>
                      <a:pt x="713074" y="606354"/>
                      <a:pt x="656349" y="515092"/>
                      <a:pt x="562747" y="463885"/>
                    </a:cubicBezTo>
                    <a:cubicBezTo>
                      <a:pt x="521239" y="440999"/>
                      <a:pt x="475067" y="427824"/>
                      <a:pt x="427713" y="425345"/>
                    </a:cubicBezTo>
                    <a:cubicBezTo>
                      <a:pt x="424101" y="425323"/>
                      <a:pt x="420663" y="423829"/>
                      <a:pt x="418169" y="421231"/>
                    </a:cubicBezTo>
                    <a:cubicBezTo>
                      <a:pt x="415609" y="418589"/>
                      <a:pt x="414210" y="415049"/>
                      <a:pt x="414264" y="411379"/>
                    </a:cubicBezTo>
                    <a:cubicBezTo>
                      <a:pt x="414264" y="398713"/>
                      <a:pt x="415891" y="100459"/>
                      <a:pt x="10680" y="26951"/>
                    </a:cubicBezTo>
                    <a:cubicBezTo>
                      <a:pt x="3316" y="25306"/>
                      <a:pt x="-1316" y="18009"/>
                      <a:pt x="333" y="10658"/>
                    </a:cubicBezTo>
                    <a:cubicBezTo>
                      <a:pt x="1873" y="3805"/>
                      <a:pt x="8370" y="-752"/>
                      <a:pt x="15344" y="103"/>
                    </a:cubicBezTo>
                    <a:cubicBezTo>
                      <a:pt x="394958" y="68956"/>
                      <a:pt x="436173" y="335706"/>
                      <a:pt x="440620" y="398821"/>
                    </a:cubicBezTo>
                    <a:cubicBezTo>
                      <a:pt x="496694" y="404018"/>
                      <a:pt x="717087" y="442774"/>
                      <a:pt x="757760" y="731285"/>
                    </a:cubicBezTo>
                    <a:cubicBezTo>
                      <a:pt x="802988" y="1052815"/>
                      <a:pt x="737152" y="1228627"/>
                      <a:pt x="734333" y="1235989"/>
                    </a:cubicBezTo>
                    <a:cubicBezTo>
                      <a:pt x="732391" y="1241186"/>
                      <a:pt x="727424" y="1244639"/>
                      <a:pt x="721860" y="1244650"/>
                    </a:cubicBezTo>
                  </a:path>
                </a:pathLst>
              </a:custGeom>
              <a:solidFill>
                <a:srgbClr val="231F2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E2EAE48A-7D04-614A-8761-73D79804A709}"/>
                  </a:ext>
                </a:extLst>
              </p:cNvPr>
              <p:cNvSpPr/>
              <p:nvPr/>
            </p:nvSpPr>
            <p:spPr>
              <a:xfrm>
                <a:off x="7452731" y="4151049"/>
                <a:ext cx="1515810" cy="429237"/>
              </a:xfrm>
              <a:custGeom>
                <a:avLst/>
                <a:gdLst>
                  <a:gd name="connsiteX0" fmla="*/ 762405 w 1515810"/>
                  <a:gd name="connsiteY0" fmla="*/ 429238 h 429237"/>
                  <a:gd name="connsiteX1" fmla="*/ 2635 w 1515810"/>
                  <a:gd name="connsiteY1" fmla="*/ 22941 h 429237"/>
                  <a:gd name="connsiteX2" fmla="*/ 5997 w 1515810"/>
                  <a:gd name="connsiteY2" fmla="*/ 2697 h 429237"/>
                  <a:gd name="connsiteX3" fmla="*/ 25694 w 1515810"/>
                  <a:gd name="connsiteY3" fmla="*/ 5793 h 429237"/>
                  <a:gd name="connsiteX4" fmla="*/ 25954 w 1515810"/>
                  <a:gd name="connsiteY4" fmla="*/ 6161 h 429237"/>
                  <a:gd name="connsiteX5" fmla="*/ 762405 w 1515810"/>
                  <a:gd name="connsiteY5" fmla="*/ 400224 h 429237"/>
                  <a:gd name="connsiteX6" fmla="*/ 1490070 w 1515810"/>
                  <a:gd name="connsiteY6" fmla="*/ 18503 h 429237"/>
                  <a:gd name="connsiteX7" fmla="*/ 1509583 w 1515810"/>
                  <a:gd name="connsiteY7" fmla="*/ 15223 h 429237"/>
                  <a:gd name="connsiteX8" fmla="*/ 1509919 w 1515810"/>
                  <a:gd name="connsiteY8" fmla="*/ 15471 h 429237"/>
                  <a:gd name="connsiteX9" fmla="*/ 1513064 w 1515810"/>
                  <a:gd name="connsiteY9" fmla="*/ 35716 h 429237"/>
                  <a:gd name="connsiteX10" fmla="*/ 762405 w 1515810"/>
                  <a:gd name="connsiteY10" fmla="*/ 429238 h 429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515810" h="429237">
                    <a:moveTo>
                      <a:pt x="762405" y="429238"/>
                    </a:moveTo>
                    <a:cubicBezTo>
                      <a:pt x="460449" y="429238"/>
                      <a:pt x="183548" y="281139"/>
                      <a:pt x="2635" y="22941"/>
                    </a:cubicBezTo>
                    <a:cubicBezTo>
                      <a:pt x="-1920" y="16392"/>
                      <a:pt x="-423" y="7428"/>
                      <a:pt x="5997" y="2697"/>
                    </a:cubicBezTo>
                    <a:cubicBezTo>
                      <a:pt x="12288" y="-1883"/>
                      <a:pt x="21117" y="-486"/>
                      <a:pt x="25694" y="5793"/>
                    </a:cubicBezTo>
                    <a:cubicBezTo>
                      <a:pt x="25781" y="5912"/>
                      <a:pt x="25867" y="6042"/>
                      <a:pt x="25954" y="6161"/>
                    </a:cubicBezTo>
                    <a:cubicBezTo>
                      <a:pt x="201336" y="256565"/>
                      <a:pt x="469777" y="400224"/>
                      <a:pt x="762405" y="400224"/>
                    </a:cubicBezTo>
                    <a:cubicBezTo>
                      <a:pt x="1049285" y="400224"/>
                      <a:pt x="1314472" y="261111"/>
                      <a:pt x="1490070" y="18503"/>
                    </a:cubicBezTo>
                    <a:cubicBezTo>
                      <a:pt x="1494550" y="12224"/>
                      <a:pt x="1503292" y="10752"/>
                      <a:pt x="1509583" y="15223"/>
                    </a:cubicBezTo>
                    <a:cubicBezTo>
                      <a:pt x="1509691" y="15309"/>
                      <a:pt x="1509810" y="15385"/>
                      <a:pt x="1509919" y="15471"/>
                    </a:cubicBezTo>
                    <a:cubicBezTo>
                      <a:pt x="1516318" y="20235"/>
                      <a:pt x="1517717" y="29242"/>
                      <a:pt x="1513064" y="35716"/>
                    </a:cubicBezTo>
                    <a:cubicBezTo>
                      <a:pt x="1332043" y="285794"/>
                      <a:pt x="1058395" y="429238"/>
                      <a:pt x="762405" y="429238"/>
                    </a:cubicBezTo>
                  </a:path>
                </a:pathLst>
              </a:custGeom>
              <a:solidFill>
                <a:srgbClr val="231F2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0CE5B6EF-31D9-2448-A46F-7F5BABEA0458}"/>
                  </a:ext>
                </a:extLst>
              </p:cNvPr>
              <p:cNvSpPr/>
              <p:nvPr/>
            </p:nvSpPr>
            <p:spPr>
              <a:xfrm>
                <a:off x="7109375" y="3757951"/>
                <a:ext cx="306511" cy="324457"/>
              </a:xfrm>
              <a:custGeom>
                <a:avLst/>
                <a:gdLst>
                  <a:gd name="connsiteX0" fmla="*/ 182323 w 306511"/>
                  <a:gd name="connsiteY0" fmla="*/ 324453 h 324457"/>
                  <a:gd name="connsiteX1" fmla="*/ 0 w 306511"/>
                  <a:gd name="connsiteY1" fmla="*/ 158924 h 324457"/>
                  <a:gd name="connsiteX2" fmla="*/ 131021 w 306511"/>
                  <a:gd name="connsiteY2" fmla="*/ 0 h 324457"/>
                  <a:gd name="connsiteX3" fmla="*/ 137854 w 306511"/>
                  <a:gd name="connsiteY3" fmla="*/ 26415 h 324457"/>
                  <a:gd name="connsiteX4" fmla="*/ 26898 w 306511"/>
                  <a:gd name="connsiteY4" fmla="*/ 158924 h 324457"/>
                  <a:gd name="connsiteX5" fmla="*/ 182323 w 306511"/>
                  <a:gd name="connsiteY5" fmla="*/ 297171 h 324457"/>
                  <a:gd name="connsiteX6" fmla="*/ 289266 w 306511"/>
                  <a:gd name="connsiteY6" fmla="*/ 259172 h 324457"/>
                  <a:gd name="connsiteX7" fmla="*/ 306511 w 306511"/>
                  <a:gd name="connsiteY7" fmla="*/ 280175 h 324457"/>
                  <a:gd name="connsiteX8" fmla="*/ 182323 w 306511"/>
                  <a:gd name="connsiteY8" fmla="*/ 324453 h 324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6511" h="324457">
                    <a:moveTo>
                      <a:pt x="182323" y="324453"/>
                    </a:moveTo>
                    <a:cubicBezTo>
                      <a:pt x="81888" y="324453"/>
                      <a:pt x="0" y="250187"/>
                      <a:pt x="0" y="158924"/>
                    </a:cubicBezTo>
                    <a:cubicBezTo>
                      <a:pt x="0" y="85849"/>
                      <a:pt x="54231" y="20461"/>
                      <a:pt x="131021" y="0"/>
                    </a:cubicBezTo>
                    <a:lnTo>
                      <a:pt x="137854" y="26415"/>
                    </a:lnTo>
                    <a:cubicBezTo>
                      <a:pt x="72777" y="43737"/>
                      <a:pt x="26898" y="98191"/>
                      <a:pt x="26898" y="158924"/>
                    </a:cubicBezTo>
                    <a:cubicBezTo>
                      <a:pt x="26898" y="234706"/>
                      <a:pt x="96639" y="297171"/>
                      <a:pt x="182323" y="297171"/>
                    </a:cubicBezTo>
                    <a:cubicBezTo>
                      <a:pt x="221347" y="297507"/>
                      <a:pt x="259233" y="284039"/>
                      <a:pt x="289266" y="259172"/>
                    </a:cubicBezTo>
                    <a:lnTo>
                      <a:pt x="306511" y="280175"/>
                    </a:lnTo>
                    <a:cubicBezTo>
                      <a:pt x="271652" y="309101"/>
                      <a:pt x="227660" y="324788"/>
                      <a:pt x="182323" y="324453"/>
                    </a:cubicBezTo>
                  </a:path>
                </a:pathLst>
              </a:custGeom>
              <a:solidFill>
                <a:srgbClr val="231F2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9" name="Freeform 68">
                <a:extLst>
                  <a:ext uri="{FF2B5EF4-FFF2-40B4-BE49-F238E27FC236}">
                    <a16:creationId xmlns:a16="http://schemas.microsoft.com/office/drawing/2014/main" id="{9A8710E5-5B3C-C04F-A072-D04EA50790A6}"/>
                  </a:ext>
                </a:extLst>
              </p:cNvPr>
              <p:cNvSpPr/>
              <p:nvPr/>
            </p:nvSpPr>
            <p:spPr>
              <a:xfrm>
                <a:off x="8983307" y="3751021"/>
                <a:ext cx="330757" cy="331406"/>
              </a:xfrm>
              <a:custGeom>
                <a:avLst/>
                <a:gdLst>
                  <a:gd name="connsiteX0" fmla="*/ 148434 w 330757"/>
                  <a:gd name="connsiteY0" fmla="*/ 331382 h 331406"/>
                  <a:gd name="connsiteX1" fmla="*/ 3204 w 330757"/>
                  <a:gd name="connsiteY1" fmla="*/ 266427 h 331406"/>
                  <a:gd name="connsiteX2" fmla="*/ 4723 w 330757"/>
                  <a:gd name="connsiteY2" fmla="*/ 247157 h 331406"/>
                  <a:gd name="connsiteX3" fmla="*/ 23541 w 330757"/>
                  <a:gd name="connsiteY3" fmla="*/ 248586 h 331406"/>
                  <a:gd name="connsiteX4" fmla="*/ 23704 w 330757"/>
                  <a:gd name="connsiteY4" fmla="*/ 248780 h 331406"/>
                  <a:gd name="connsiteX5" fmla="*/ 148434 w 330757"/>
                  <a:gd name="connsiteY5" fmla="*/ 304642 h 331406"/>
                  <a:gd name="connsiteX6" fmla="*/ 303858 w 330757"/>
                  <a:gd name="connsiteY6" fmla="*/ 166395 h 331406"/>
                  <a:gd name="connsiteX7" fmla="*/ 148434 w 330757"/>
                  <a:gd name="connsiteY7" fmla="*/ 27282 h 331406"/>
                  <a:gd name="connsiteX8" fmla="*/ 84659 w 330757"/>
                  <a:gd name="connsiteY8" fmla="*/ 39407 h 331406"/>
                  <a:gd name="connsiteX9" fmla="*/ 67370 w 330757"/>
                  <a:gd name="connsiteY9" fmla="*/ 31883 h 331406"/>
                  <a:gd name="connsiteX10" fmla="*/ 67305 w 330757"/>
                  <a:gd name="connsiteY10" fmla="*/ 31721 h 331406"/>
                  <a:gd name="connsiteX11" fmla="*/ 74789 w 330757"/>
                  <a:gd name="connsiteY11" fmla="*/ 13966 h 331406"/>
                  <a:gd name="connsiteX12" fmla="*/ 148434 w 330757"/>
                  <a:gd name="connsiteY12" fmla="*/ 1 h 331406"/>
                  <a:gd name="connsiteX13" fmla="*/ 330757 w 330757"/>
                  <a:gd name="connsiteY13" fmla="*/ 165529 h 331406"/>
                  <a:gd name="connsiteX14" fmla="*/ 148434 w 330757"/>
                  <a:gd name="connsiteY14" fmla="*/ 331057 h 331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30757" h="331406">
                    <a:moveTo>
                      <a:pt x="148434" y="331382"/>
                    </a:moveTo>
                    <a:cubicBezTo>
                      <a:pt x="92772" y="332281"/>
                      <a:pt x="39582" y="308486"/>
                      <a:pt x="3204" y="266427"/>
                    </a:cubicBezTo>
                    <a:cubicBezTo>
                      <a:pt x="-1600" y="260657"/>
                      <a:pt x="-928" y="252104"/>
                      <a:pt x="4723" y="247157"/>
                    </a:cubicBezTo>
                    <a:cubicBezTo>
                      <a:pt x="10308" y="242361"/>
                      <a:pt x="18736" y="242999"/>
                      <a:pt x="23541" y="248586"/>
                    </a:cubicBezTo>
                    <a:cubicBezTo>
                      <a:pt x="23595" y="248651"/>
                      <a:pt x="23650" y="248716"/>
                      <a:pt x="23704" y="248780"/>
                    </a:cubicBezTo>
                    <a:cubicBezTo>
                      <a:pt x="54897" y="284972"/>
                      <a:pt x="100602" y="305443"/>
                      <a:pt x="148434" y="304642"/>
                    </a:cubicBezTo>
                    <a:cubicBezTo>
                      <a:pt x="234227" y="304642"/>
                      <a:pt x="303858" y="242610"/>
                      <a:pt x="303858" y="166395"/>
                    </a:cubicBezTo>
                    <a:cubicBezTo>
                      <a:pt x="303858" y="90181"/>
                      <a:pt x="234227" y="27282"/>
                      <a:pt x="148434" y="27282"/>
                    </a:cubicBezTo>
                    <a:cubicBezTo>
                      <a:pt x="126590" y="27196"/>
                      <a:pt x="104941" y="31310"/>
                      <a:pt x="84659" y="39407"/>
                    </a:cubicBezTo>
                    <a:cubicBezTo>
                      <a:pt x="77804" y="42092"/>
                      <a:pt x="70060" y="38725"/>
                      <a:pt x="67370" y="31883"/>
                    </a:cubicBezTo>
                    <a:cubicBezTo>
                      <a:pt x="67348" y="31829"/>
                      <a:pt x="67327" y="31775"/>
                      <a:pt x="67305" y="31721"/>
                    </a:cubicBezTo>
                    <a:cubicBezTo>
                      <a:pt x="64539" y="24760"/>
                      <a:pt x="67858" y="16857"/>
                      <a:pt x="74789" y="13966"/>
                    </a:cubicBezTo>
                    <a:cubicBezTo>
                      <a:pt x="98217" y="4656"/>
                      <a:pt x="123217" y="-86"/>
                      <a:pt x="148434" y="1"/>
                    </a:cubicBezTo>
                    <a:cubicBezTo>
                      <a:pt x="248977" y="1"/>
                      <a:pt x="330757" y="74158"/>
                      <a:pt x="330757" y="165529"/>
                    </a:cubicBezTo>
                    <a:cubicBezTo>
                      <a:pt x="330757" y="256900"/>
                      <a:pt x="248977" y="331057"/>
                      <a:pt x="148434" y="331057"/>
                    </a:cubicBezTo>
                  </a:path>
                </a:pathLst>
              </a:custGeom>
              <a:solidFill>
                <a:srgbClr val="231F2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0" name="Freeform 69">
                <a:extLst>
                  <a:ext uri="{FF2B5EF4-FFF2-40B4-BE49-F238E27FC236}">
                    <a16:creationId xmlns:a16="http://schemas.microsoft.com/office/drawing/2014/main" id="{50F7EFEE-0522-1A4C-A8C0-B1068F211CCD}"/>
                  </a:ext>
                </a:extLst>
              </p:cNvPr>
              <p:cNvSpPr/>
              <p:nvPr/>
            </p:nvSpPr>
            <p:spPr>
              <a:xfrm>
                <a:off x="8361988" y="3621634"/>
                <a:ext cx="347532" cy="106870"/>
              </a:xfrm>
              <a:custGeom>
                <a:avLst/>
                <a:gdLst>
                  <a:gd name="connsiteX0" fmla="*/ 173867 w 347532"/>
                  <a:gd name="connsiteY0" fmla="*/ 106870 h 106870"/>
                  <a:gd name="connsiteX1" fmla="*/ 166166 w 347532"/>
                  <a:gd name="connsiteY1" fmla="*/ 106870 h 106870"/>
                  <a:gd name="connsiteX2" fmla="*/ 3475 w 347532"/>
                  <a:gd name="connsiteY2" fmla="*/ 24160 h 106870"/>
                  <a:gd name="connsiteX3" fmla="*/ 4993 w 347532"/>
                  <a:gd name="connsiteY3" fmla="*/ 3808 h 106870"/>
                  <a:gd name="connsiteX4" fmla="*/ 24907 w 347532"/>
                  <a:gd name="connsiteY4" fmla="*/ 4814 h 106870"/>
                  <a:gd name="connsiteX5" fmla="*/ 25167 w 347532"/>
                  <a:gd name="connsiteY5" fmla="*/ 5107 h 106870"/>
                  <a:gd name="connsiteX6" fmla="*/ 167793 w 347532"/>
                  <a:gd name="connsiteY6" fmla="*/ 77532 h 106870"/>
                  <a:gd name="connsiteX7" fmla="*/ 323218 w 347532"/>
                  <a:gd name="connsiteY7" fmla="*/ 4241 h 106870"/>
                  <a:gd name="connsiteX8" fmla="*/ 343153 w 347532"/>
                  <a:gd name="connsiteY8" fmla="*/ 4003 h 106870"/>
                  <a:gd name="connsiteX9" fmla="*/ 343392 w 347532"/>
                  <a:gd name="connsiteY9" fmla="*/ 4241 h 106870"/>
                  <a:gd name="connsiteX10" fmla="*/ 343392 w 347532"/>
                  <a:gd name="connsiteY10" fmla="*/ 24702 h 106870"/>
                  <a:gd name="connsiteX11" fmla="*/ 174084 w 347532"/>
                  <a:gd name="connsiteY11" fmla="*/ 106654 h 106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47532" h="106870">
                    <a:moveTo>
                      <a:pt x="173867" y="106870"/>
                    </a:moveTo>
                    <a:lnTo>
                      <a:pt x="166166" y="106870"/>
                    </a:lnTo>
                    <a:cubicBezTo>
                      <a:pt x="70287" y="102973"/>
                      <a:pt x="5752" y="27408"/>
                      <a:pt x="3475" y="24160"/>
                    </a:cubicBezTo>
                    <a:cubicBezTo>
                      <a:pt x="-1699" y="18108"/>
                      <a:pt x="-1016" y="9026"/>
                      <a:pt x="4993" y="3808"/>
                    </a:cubicBezTo>
                    <a:cubicBezTo>
                      <a:pt x="10774" y="-1400"/>
                      <a:pt x="19690" y="-956"/>
                      <a:pt x="24907" y="4814"/>
                    </a:cubicBezTo>
                    <a:cubicBezTo>
                      <a:pt x="24993" y="4912"/>
                      <a:pt x="25080" y="5009"/>
                      <a:pt x="25167" y="5107"/>
                    </a:cubicBezTo>
                    <a:cubicBezTo>
                      <a:pt x="25926" y="6081"/>
                      <a:pt x="84712" y="74392"/>
                      <a:pt x="167793" y="77532"/>
                    </a:cubicBezTo>
                    <a:cubicBezTo>
                      <a:pt x="221048" y="79589"/>
                      <a:pt x="273217" y="55014"/>
                      <a:pt x="323218" y="4241"/>
                    </a:cubicBezTo>
                    <a:cubicBezTo>
                      <a:pt x="328663" y="-1324"/>
                      <a:pt x="337589" y="-1421"/>
                      <a:pt x="343153" y="4003"/>
                    </a:cubicBezTo>
                    <a:cubicBezTo>
                      <a:pt x="343240" y="4089"/>
                      <a:pt x="343316" y="4165"/>
                      <a:pt x="343392" y="4241"/>
                    </a:cubicBezTo>
                    <a:cubicBezTo>
                      <a:pt x="348912" y="9946"/>
                      <a:pt x="348912" y="18996"/>
                      <a:pt x="343392" y="24702"/>
                    </a:cubicBezTo>
                    <a:cubicBezTo>
                      <a:pt x="289812" y="78831"/>
                      <a:pt x="232870" y="106654"/>
                      <a:pt x="174084" y="106654"/>
                    </a:cubicBezTo>
                  </a:path>
                </a:pathLst>
              </a:custGeom>
              <a:solidFill>
                <a:srgbClr val="231F2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1" name="Freeform 70">
                <a:extLst>
                  <a:ext uri="{FF2B5EF4-FFF2-40B4-BE49-F238E27FC236}">
                    <a16:creationId xmlns:a16="http://schemas.microsoft.com/office/drawing/2014/main" id="{3386F69B-768D-784A-9695-138EDF93E216}"/>
                  </a:ext>
                </a:extLst>
              </p:cNvPr>
              <p:cNvSpPr/>
              <p:nvPr/>
            </p:nvSpPr>
            <p:spPr>
              <a:xfrm>
                <a:off x="7750055" y="3621802"/>
                <a:ext cx="347573" cy="106702"/>
              </a:xfrm>
              <a:custGeom>
                <a:avLst/>
                <a:gdLst>
                  <a:gd name="connsiteX0" fmla="*/ 173429 w 347573"/>
                  <a:gd name="connsiteY0" fmla="*/ 106702 h 106702"/>
                  <a:gd name="connsiteX1" fmla="*/ 4230 w 347573"/>
                  <a:gd name="connsiteY1" fmla="*/ 24750 h 106702"/>
                  <a:gd name="connsiteX2" fmla="*/ 4230 w 347573"/>
                  <a:gd name="connsiteY2" fmla="*/ 4289 h 106702"/>
                  <a:gd name="connsiteX3" fmla="*/ 24165 w 347573"/>
                  <a:gd name="connsiteY3" fmla="*/ 4051 h 106702"/>
                  <a:gd name="connsiteX4" fmla="*/ 24404 w 347573"/>
                  <a:gd name="connsiteY4" fmla="*/ 4289 h 106702"/>
                  <a:gd name="connsiteX5" fmla="*/ 179937 w 347573"/>
                  <a:gd name="connsiteY5" fmla="*/ 77581 h 106702"/>
                  <a:gd name="connsiteX6" fmla="*/ 322455 w 347573"/>
                  <a:gd name="connsiteY6" fmla="*/ 5155 h 106702"/>
                  <a:gd name="connsiteX7" fmla="*/ 341978 w 347573"/>
                  <a:gd name="connsiteY7" fmla="*/ 3066 h 106702"/>
                  <a:gd name="connsiteX8" fmla="*/ 342520 w 347573"/>
                  <a:gd name="connsiteY8" fmla="*/ 3531 h 106702"/>
                  <a:gd name="connsiteX9" fmla="*/ 344147 w 347573"/>
                  <a:gd name="connsiteY9" fmla="*/ 23884 h 106702"/>
                  <a:gd name="connsiteX10" fmla="*/ 181455 w 347573"/>
                  <a:gd name="connsiteY10" fmla="*/ 106594 h 106702"/>
                  <a:gd name="connsiteX11" fmla="*/ 173755 w 347573"/>
                  <a:gd name="connsiteY11" fmla="*/ 106594 h 106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47573" h="106702">
                    <a:moveTo>
                      <a:pt x="173429" y="106702"/>
                    </a:moveTo>
                    <a:cubicBezTo>
                      <a:pt x="114752" y="106702"/>
                      <a:pt x="57810" y="79204"/>
                      <a:pt x="4230" y="24750"/>
                    </a:cubicBezTo>
                    <a:cubicBezTo>
                      <a:pt x="-1410" y="19088"/>
                      <a:pt x="-1410" y="9951"/>
                      <a:pt x="4230" y="4289"/>
                    </a:cubicBezTo>
                    <a:cubicBezTo>
                      <a:pt x="9675" y="-1275"/>
                      <a:pt x="18601" y="-1373"/>
                      <a:pt x="24165" y="4051"/>
                    </a:cubicBezTo>
                    <a:cubicBezTo>
                      <a:pt x="24252" y="4127"/>
                      <a:pt x="24328" y="4214"/>
                      <a:pt x="24404" y="4289"/>
                    </a:cubicBezTo>
                    <a:cubicBezTo>
                      <a:pt x="74404" y="55063"/>
                      <a:pt x="126791" y="80071"/>
                      <a:pt x="179937" y="77581"/>
                    </a:cubicBezTo>
                    <a:cubicBezTo>
                      <a:pt x="263452" y="74225"/>
                      <a:pt x="321804" y="5805"/>
                      <a:pt x="322455" y="5155"/>
                    </a:cubicBezTo>
                    <a:cubicBezTo>
                      <a:pt x="327270" y="-799"/>
                      <a:pt x="336012" y="-1730"/>
                      <a:pt x="341978" y="3066"/>
                    </a:cubicBezTo>
                    <a:cubicBezTo>
                      <a:pt x="342162" y="3218"/>
                      <a:pt x="342347" y="3369"/>
                      <a:pt x="342520" y="3531"/>
                    </a:cubicBezTo>
                    <a:cubicBezTo>
                      <a:pt x="348561" y="8717"/>
                      <a:pt x="349288" y="17800"/>
                      <a:pt x="344147" y="23884"/>
                    </a:cubicBezTo>
                    <a:cubicBezTo>
                      <a:pt x="341435" y="27132"/>
                      <a:pt x="277009" y="102697"/>
                      <a:pt x="181455" y="106594"/>
                    </a:cubicBezTo>
                    <a:lnTo>
                      <a:pt x="173755" y="106594"/>
                    </a:lnTo>
                  </a:path>
                </a:pathLst>
              </a:custGeom>
              <a:solidFill>
                <a:srgbClr val="231F2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2" name="Freeform 71">
                <a:extLst>
                  <a:ext uri="{FF2B5EF4-FFF2-40B4-BE49-F238E27FC236}">
                    <a16:creationId xmlns:a16="http://schemas.microsoft.com/office/drawing/2014/main" id="{9DD82614-D953-E54E-81D3-C2F8DBD4C947}"/>
                  </a:ext>
                </a:extLst>
              </p:cNvPr>
              <p:cNvSpPr/>
              <p:nvPr/>
            </p:nvSpPr>
            <p:spPr>
              <a:xfrm>
                <a:off x="8423759" y="3331477"/>
                <a:ext cx="337693" cy="94985"/>
              </a:xfrm>
              <a:custGeom>
                <a:avLst/>
                <a:gdLst>
                  <a:gd name="connsiteX0" fmla="*/ 323379 w 337693"/>
                  <a:gd name="connsiteY0" fmla="*/ 94985 h 94985"/>
                  <a:gd name="connsiteX1" fmla="*/ 313943 w 337693"/>
                  <a:gd name="connsiteY1" fmla="*/ 91304 h 94985"/>
                  <a:gd name="connsiteX2" fmla="*/ 20556 w 337693"/>
                  <a:gd name="connsiteY2" fmla="*/ 55903 h 94985"/>
                  <a:gd name="connsiteX3" fmla="*/ 1629 w 337693"/>
                  <a:gd name="connsiteY3" fmla="*/ 49635 h 94985"/>
                  <a:gd name="connsiteX4" fmla="*/ 1467 w 337693"/>
                  <a:gd name="connsiteY4" fmla="*/ 49300 h 94985"/>
                  <a:gd name="connsiteX5" fmla="*/ 7974 w 337693"/>
                  <a:gd name="connsiteY5" fmla="*/ 29921 h 94985"/>
                  <a:gd name="connsiteX6" fmla="*/ 332815 w 337693"/>
                  <a:gd name="connsiteY6" fmla="*/ 69544 h 94985"/>
                  <a:gd name="connsiteX7" fmla="*/ 334117 w 337693"/>
                  <a:gd name="connsiteY7" fmla="*/ 90005 h 94985"/>
                  <a:gd name="connsiteX8" fmla="*/ 323271 w 337693"/>
                  <a:gd name="connsiteY8" fmla="*/ 94985 h 949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7693" h="94985">
                    <a:moveTo>
                      <a:pt x="323379" y="94985"/>
                    </a:moveTo>
                    <a:cubicBezTo>
                      <a:pt x="319887" y="94985"/>
                      <a:pt x="316514" y="93675"/>
                      <a:pt x="313943" y="91304"/>
                    </a:cubicBezTo>
                    <a:cubicBezTo>
                      <a:pt x="185200" y="-23450"/>
                      <a:pt x="27172" y="52656"/>
                      <a:pt x="20556" y="55903"/>
                    </a:cubicBezTo>
                    <a:cubicBezTo>
                      <a:pt x="13592" y="59389"/>
                      <a:pt x="5122" y="56586"/>
                      <a:pt x="1629" y="49635"/>
                    </a:cubicBezTo>
                    <a:cubicBezTo>
                      <a:pt x="1575" y="49527"/>
                      <a:pt x="1521" y="49408"/>
                      <a:pt x="1467" y="49300"/>
                    </a:cubicBezTo>
                    <a:cubicBezTo>
                      <a:pt x="-2004" y="42144"/>
                      <a:pt x="892" y="33537"/>
                      <a:pt x="7974" y="29921"/>
                    </a:cubicBezTo>
                    <a:cubicBezTo>
                      <a:pt x="9818" y="28947"/>
                      <a:pt x="189538" y="-58202"/>
                      <a:pt x="332815" y="69544"/>
                    </a:cubicBezTo>
                    <a:cubicBezTo>
                      <a:pt x="338770" y="74870"/>
                      <a:pt x="339355" y="83975"/>
                      <a:pt x="334117" y="90005"/>
                    </a:cubicBezTo>
                    <a:cubicBezTo>
                      <a:pt x="331405" y="93177"/>
                      <a:pt x="327446" y="94996"/>
                      <a:pt x="323271" y="94985"/>
                    </a:cubicBezTo>
                  </a:path>
                </a:pathLst>
              </a:custGeom>
              <a:solidFill>
                <a:srgbClr val="231F2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3" name="Freeform 72">
                <a:extLst>
                  <a:ext uri="{FF2B5EF4-FFF2-40B4-BE49-F238E27FC236}">
                    <a16:creationId xmlns:a16="http://schemas.microsoft.com/office/drawing/2014/main" id="{6BEAA6A3-FEAB-C54A-8D1F-D2CAAF9E3B9C}"/>
                  </a:ext>
                </a:extLst>
              </p:cNvPr>
              <p:cNvSpPr/>
              <p:nvPr/>
            </p:nvSpPr>
            <p:spPr>
              <a:xfrm>
                <a:off x="7876778" y="3352984"/>
                <a:ext cx="196880" cy="63626"/>
              </a:xfrm>
              <a:custGeom>
                <a:avLst/>
                <a:gdLst>
                  <a:gd name="connsiteX0" fmla="*/ 182608 w 196880"/>
                  <a:gd name="connsiteY0" fmla="*/ 63626 h 63626"/>
                  <a:gd name="connsiteX1" fmla="*/ 175558 w 196880"/>
                  <a:gd name="connsiteY1" fmla="*/ 61785 h 63626"/>
                  <a:gd name="connsiteX2" fmla="*/ 16446 w 196880"/>
                  <a:gd name="connsiteY2" fmla="*/ 32014 h 63626"/>
                  <a:gd name="connsiteX3" fmla="*/ 198 w 196880"/>
                  <a:gd name="connsiteY3" fmla="*/ 19954 h 63626"/>
                  <a:gd name="connsiteX4" fmla="*/ 177 w 196880"/>
                  <a:gd name="connsiteY4" fmla="*/ 19781 h 63626"/>
                  <a:gd name="connsiteX5" fmla="*/ 12194 w 196880"/>
                  <a:gd name="connsiteY5" fmla="*/ 3326 h 63626"/>
                  <a:gd name="connsiteX6" fmla="*/ 12216 w 196880"/>
                  <a:gd name="connsiteY6" fmla="*/ 3326 h 63626"/>
                  <a:gd name="connsiteX7" fmla="*/ 189658 w 196880"/>
                  <a:gd name="connsiteY7" fmla="*/ 36561 h 63626"/>
                  <a:gd name="connsiteX8" fmla="*/ 195081 w 196880"/>
                  <a:gd name="connsiteY8" fmla="*/ 56264 h 63626"/>
                  <a:gd name="connsiteX9" fmla="*/ 182608 w 196880"/>
                  <a:gd name="connsiteY9" fmla="*/ 63626 h 636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96880" h="63626">
                    <a:moveTo>
                      <a:pt x="182608" y="63626"/>
                    </a:moveTo>
                    <a:cubicBezTo>
                      <a:pt x="180135" y="63647"/>
                      <a:pt x="177706" y="63009"/>
                      <a:pt x="175558" y="61785"/>
                    </a:cubicBezTo>
                    <a:cubicBezTo>
                      <a:pt x="127586" y="33746"/>
                      <a:pt x="71338" y="23224"/>
                      <a:pt x="16446" y="32014"/>
                    </a:cubicBezTo>
                    <a:cubicBezTo>
                      <a:pt x="8626" y="33162"/>
                      <a:pt x="1348" y="27759"/>
                      <a:pt x="198" y="19954"/>
                    </a:cubicBezTo>
                    <a:cubicBezTo>
                      <a:pt x="187" y="19900"/>
                      <a:pt x="187" y="19835"/>
                      <a:pt x="177" y="19781"/>
                    </a:cubicBezTo>
                    <a:cubicBezTo>
                      <a:pt x="-1060" y="11921"/>
                      <a:pt x="4331" y="4560"/>
                      <a:pt x="12194" y="3326"/>
                    </a:cubicBezTo>
                    <a:cubicBezTo>
                      <a:pt x="12205" y="3326"/>
                      <a:pt x="12205" y="3326"/>
                      <a:pt x="12216" y="3326"/>
                    </a:cubicBezTo>
                    <a:cubicBezTo>
                      <a:pt x="73431" y="-6396"/>
                      <a:pt x="136133" y="5350"/>
                      <a:pt x="189658" y="36561"/>
                    </a:cubicBezTo>
                    <a:cubicBezTo>
                      <a:pt x="196480" y="40599"/>
                      <a:pt x="198877" y="49314"/>
                      <a:pt x="195081" y="56264"/>
                    </a:cubicBezTo>
                    <a:cubicBezTo>
                      <a:pt x="192565" y="60789"/>
                      <a:pt x="187793" y="63604"/>
                      <a:pt x="182608" y="63626"/>
                    </a:cubicBezTo>
                  </a:path>
                </a:pathLst>
              </a:custGeom>
              <a:solidFill>
                <a:srgbClr val="231F2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4" name="Freeform 73">
                <a:extLst>
                  <a:ext uri="{FF2B5EF4-FFF2-40B4-BE49-F238E27FC236}">
                    <a16:creationId xmlns:a16="http://schemas.microsoft.com/office/drawing/2014/main" id="{AC0EA991-83B1-6841-A629-4F3BC3EFAF0B}"/>
                  </a:ext>
                </a:extLst>
              </p:cNvPr>
              <p:cNvSpPr/>
              <p:nvPr/>
            </p:nvSpPr>
            <p:spPr>
              <a:xfrm>
                <a:off x="9060966" y="3820100"/>
                <a:ext cx="193700" cy="108359"/>
              </a:xfrm>
              <a:custGeom>
                <a:avLst/>
                <a:gdLst>
                  <a:gd name="connsiteX0" fmla="*/ 179343 w 193700"/>
                  <a:gd name="connsiteY0" fmla="*/ 108360 h 108359"/>
                  <a:gd name="connsiteX1" fmla="*/ 165135 w 193700"/>
                  <a:gd name="connsiteY1" fmla="*/ 93853 h 108359"/>
                  <a:gd name="connsiteX2" fmla="*/ 148324 w 193700"/>
                  <a:gd name="connsiteY2" fmla="*/ 54338 h 108359"/>
                  <a:gd name="connsiteX3" fmla="*/ 16327 w 193700"/>
                  <a:gd name="connsiteY3" fmla="*/ 30630 h 108359"/>
                  <a:gd name="connsiteX4" fmla="*/ 112 w 193700"/>
                  <a:gd name="connsiteY4" fmla="*/ 18017 h 108359"/>
                  <a:gd name="connsiteX5" fmla="*/ 12747 w 193700"/>
                  <a:gd name="connsiteY5" fmla="*/ 1833 h 108359"/>
                  <a:gd name="connsiteX6" fmla="*/ 167196 w 193700"/>
                  <a:gd name="connsiteY6" fmla="*/ 32578 h 108359"/>
                  <a:gd name="connsiteX7" fmla="*/ 193660 w 193700"/>
                  <a:gd name="connsiteY7" fmla="*/ 93853 h 108359"/>
                  <a:gd name="connsiteX8" fmla="*/ 179343 w 193700"/>
                  <a:gd name="connsiteY8" fmla="*/ 108360 h 108359"/>
                  <a:gd name="connsiteX9" fmla="*/ 179343 w 193700"/>
                  <a:gd name="connsiteY9" fmla="*/ 108360 h 108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93700" h="108359">
                    <a:moveTo>
                      <a:pt x="179343" y="108360"/>
                    </a:moveTo>
                    <a:cubicBezTo>
                      <a:pt x="171415" y="108241"/>
                      <a:pt x="165070" y="101766"/>
                      <a:pt x="165135" y="93853"/>
                    </a:cubicBezTo>
                    <a:cubicBezTo>
                      <a:pt x="165765" y="78826"/>
                      <a:pt x="159593" y="64320"/>
                      <a:pt x="148324" y="54338"/>
                    </a:cubicBezTo>
                    <a:cubicBezTo>
                      <a:pt x="115785" y="25000"/>
                      <a:pt x="41923" y="27274"/>
                      <a:pt x="16327" y="30630"/>
                    </a:cubicBezTo>
                    <a:cubicBezTo>
                      <a:pt x="8355" y="31615"/>
                      <a:pt x="1099" y="25975"/>
                      <a:pt x="112" y="18017"/>
                    </a:cubicBezTo>
                    <a:cubicBezTo>
                      <a:pt x="-875" y="10060"/>
                      <a:pt x="4776" y="2818"/>
                      <a:pt x="12747" y="1833"/>
                    </a:cubicBezTo>
                    <a:cubicBezTo>
                      <a:pt x="16978" y="1833"/>
                      <a:pt x="118280" y="-11267"/>
                      <a:pt x="167196" y="32578"/>
                    </a:cubicBezTo>
                    <a:cubicBezTo>
                      <a:pt x="184713" y="48059"/>
                      <a:pt x="194409" y="70512"/>
                      <a:pt x="193660" y="93853"/>
                    </a:cubicBezTo>
                    <a:cubicBezTo>
                      <a:pt x="193726" y="101810"/>
                      <a:pt x="187316" y="108295"/>
                      <a:pt x="179343" y="108360"/>
                    </a:cubicBezTo>
                    <a:cubicBezTo>
                      <a:pt x="179343" y="108360"/>
                      <a:pt x="179343" y="108360"/>
                      <a:pt x="179343" y="108360"/>
                    </a:cubicBezTo>
                  </a:path>
                </a:pathLst>
              </a:custGeom>
              <a:solidFill>
                <a:srgbClr val="231F2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5" name="Freeform 74">
                <a:extLst>
                  <a:ext uri="{FF2B5EF4-FFF2-40B4-BE49-F238E27FC236}">
                    <a16:creationId xmlns:a16="http://schemas.microsoft.com/office/drawing/2014/main" id="{46313F68-31D5-5F4B-9243-499BE03945DA}"/>
                  </a:ext>
                </a:extLst>
              </p:cNvPr>
              <p:cNvSpPr/>
              <p:nvPr/>
            </p:nvSpPr>
            <p:spPr>
              <a:xfrm>
                <a:off x="7190317" y="3816760"/>
                <a:ext cx="84123" cy="149375"/>
              </a:xfrm>
              <a:custGeom>
                <a:avLst/>
                <a:gdLst>
                  <a:gd name="connsiteX0" fmla="*/ 25459 w 84123"/>
                  <a:gd name="connsiteY0" fmla="*/ 149374 h 149375"/>
                  <a:gd name="connsiteX1" fmla="*/ 18084 w 84123"/>
                  <a:gd name="connsiteY1" fmla="*/ 147425 h 149375"/>
                  <a:gd name="connsiteX2" fmla="*/ 296 w 84123"/>
                  <a:gd name="connsiteY2" fmla="*/ 81604 h 149375"/>
                  <a:gd name="connsiteX3" fmla="*/ 64722 w 84123"/>
                  <a:gd name="connsiteY3" fmla="*/ 951 h 149375"/>
                  <a:gd name="connsiteX4" fmla="*/ 83084 w 84123"/>
                  <a:gd name="connsiteY4" fmla="*/ 9092 h 149375"/>
                  <a:gd name="connsiteX5" fmla="*/ 83160 w 84123"/>
                  <a:gd name="connsiteY5" fmla="*/ 9286 h 149375"/>
                  <a:gd name="connsiteX6" fmla="*/ 75026 w 84123"/>
                  <a:gd name="connsiteY6" fmla="*/ 28015 h 149375"/>
                  <a:gd name="connsiteX7" fmla="*/ 31641 w 84123"/>
                  <a:gd name="connsiteY7" fmla="*/ 68829 h 149375"/>
                  <a:gd name="connsiteX8" fmla="*/ 35871 w 84123"/>
                  <a:gd name="connsiteY8" fmla="*/ 124907 h 149375"/>
                  <a:gd name="connsiteX9" fmla="*/ 37390 w 84123"/>
                  <a:gd name="connsiteY9" fmla="*/ 126748 h 149375"/>
                  <a:gd name="connsiteX10" fmla="*/ 33485 w 84123"/>
                  <a:gd name="connsiteY10" fmla="*/ 146884 h 149375"/>
                  <a:gd name="connsiteX11" fmla="*/ 25459 w 84123"/>
                  <a:gd name="connsiteY11" fmla="*/ 149374 h 149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4123" h="149375">
                    <a:moveTo>
                      <a:pt x="25459" y="149374"/>
                    </a:moveTo>
                    <a:cubicBezTo>
                      <a:pt x="22867" y="149385"/>
                      <a:pt x="20329" y="148713"/>
                      <a:pt x="18084" y="147425"/>
                    </a:cubicBezTo>
                    <a:cubicBezTo>
                      <a:pt x="7237" y="141038"/>
                      <a:pt x="-1765" y="107261"/>
                      <a:pt x="296" y="81604"/>
                    </a:cubicBezTo>
                    <a:cubicBezTo>
                      <a:pt x="2357" y="55946"/>
                      <a:pt x="15155" y="20329"/>
                      <a:pt x="64722" y="951"/>
                    </a:cubicBezTo>
                    <a:cubicBezTo>
                      <a:pt x="72043" y="-1864"/>
                      <a:pt x="80264" y="1784"/>
                      <a:pt x="83084" y="9092"/>
                    </a:cubicBezTo>
                    <a:cubicBezTo>
                      <a:pt x="83106" y="9157"/>
                      <a:pt x="83138" y="9221"/>
                      <a:pt x="83160" y="9286"/>
                    </a:cubicBezTo>
                    <a:cubicBezTo>
                      <a:pt x="85991" y="16702"/>
                      <a:pt x="82379" y="25006"/>
                      <a:pt x="75026" y="28015"/>
                    </a:cubicBezTo>
                    <a:cubicBezTo>
                      <a:pt x="55026" y="34197"/>
                      <a:pt x="39017" y="49267"/>
                      <a:pt x="31641" y="68829"/>
                    </a:cubicBezTo>
                    <a:cubicBezTo>
                      <a:pt x="26522" y="87450"/>
                      <a:pt x="28018" y="107261"/>
                      <a:pt x="35871" y="124907"/>
                    </a:cubicBezTo>
                    <a:cubicBezTo>
                      <a:pt x="35871" y="125449"/>
                      <a:pt x="36847" y="126098"/>
                      <a:pt x="37390" y="126748"/>
                    </a:cubicBezTo>
                    <a:cubicBezTo>
                      <a:pt x="41815" y="133395"/>
                      <a:pt x="40079" y="142359"/>
                      <a:pt x="33485" y="146884"/>
                    </a:cubicBezTo>
                    <a:cubicBezTo>
                      <a:pt x="31142" y="148540"/>
                      <a:pt x="28333" y="149417"/>
                      <a:pt x="25459" y="149374"/>
                    </a:cubicBezTo>
                  </a:path>
                </a:pathLst>
              </a:custGeom>
              <a:solidFill>
                <a:srgbClr val="231F2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6" name="Freeform 75">
                <a:extLst>
                  <a:ext uri="{FF2B5EF4-FFF2-40B4-BE49-F238E27FC236}">
                    <a16:creationId xmlns:a16="http://schemas.microsoft.com/office/drawing/2014/main" id="{3A4C3257-7668-F544-A1A9-BD5119AD45E7}"/>
                  </a:ext>
                </a:extLst>
              </p:cNvPr>
              <p:cNvSpPr/>
              <p:nvPr/>
            </p:nvSpPr>
            <p:spPr>
              <a:xfrm>
                <a:off x="8047843" y="3862205"/>
                <a:ext cx="221242" cy="132619"/>
              </a:xfrm>
              <a:custGeom>
                <a:avLst/>
                <a:gdLst>
                  <a:gd name="connsiteX0" fmla="*/ 115340 w 221242"/>
                  <a:gd name="connsiteY0" fmla="*/ 132617 h 132619"/>
                  <a:gd name="connsiteX1" fmla="*/ 108507 w 221242"/>
                  <a:gd name="connsiteY1" fmla="*/ 130885 h 132619"/>
                  <a:gd name="connsiteX2" fmla="*/ 46 w 221242"/>
                  <a:gd name="connsiteY2" fmla="*/ 35184 h 132619"/>
                  <a:gd name="connsiteX3" fmla="*/ 17725 w 221242"/>
                  <a:gd name="connsiteY3" fmla="*/ 14831 h 132619"/>
                  <a:gd name="connsiteX4" fmla="*/ 207966 w 221242"/>
                  <a:gd name="connsiteY4" fmla="*/ 0 h 132619"/>
                  <a:gd name="connsiteX5" fmla="*/ 221187 w 221242"/>
                  <a:gd name="connsiteY5" fmla="*/ 15708 h 132619"/>
                  <a:gd name="connsiteX6" fmla="*/ 207966 w 221242"/>
                  <a:gd name="connsiteY6" fmla="*/ 28905 h 132619"/>
                  <a:gd name="connsiteX7" fmla="*/ 31283 w 221242"/>
                  <a:gd name="connsiteY7" fmla="*/ 41030 h 132619"/>
                  <a:gd name="connsiteX8" fmla="*/ 122065 w 221242"/>
                  <a:gd name="connsiteY8" fmla="*/ 105444 h 132619"/>
                  <a:gd name="connsiteX9" fmla="*/ 127596 w 221242"/>
                  <a:gd name="connsiteY9" fmla="*/ 125148 h 132619"/>
                  <a:gd name="connsiteX10" fmla="*/ 115123 w 221242"/>
                  <a:gd name="connsiteY10" fmla="*/ 132617 h 132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21242" h="132619">
                    <a:moveTo>
                      <a:pt x="115340" y="132617"/>
                    </a:moveTo>
                    <a:cubicBezTo>
                      <a:pt x="112954" y="132617"/>
                      <a:pt x="110600" y="132022"/>
                      <a:pt x="108507" y="130885"/>
                    </a:cubicBezTo>
                    <a:cubicBezTo>
                      <a:pt x="16532" y="79354"/>
                      <a:pt x="-1039" y="50449"/>
                      <a:pt x="46" y="35184"/>
                    </a:cubicBezTo>
                    <a:cubicBezTo>
                      <a:pt x="1131" y="25398"/>
                      <a:pt x="8170" y="17289"/>
                      <a:pt x="17725" y="14831"/>
                    </a:cubicBezTo>
                    <a:cubicBezTo>
                      <a:pt x="61110" y="108"/>
                      <a:pt x="202109" y="0"/>
                      <a:pt x="207966" y="0"/>
                    </a:cubicBezTo>
                    <a:cubicBezTo>
                      <a:pt x="215960" y="693"/>
                      <a:pt x="221882" y="7719"/>
                      <a:pt x="221187" y="15708"/>
                    </a:cubicBezTo>
                    <a:cubicBezTo>
                      <a:pt x="220580" y="22724"/>
                      <a:pt x="215005" y="28299"/>
                      <a:pt x="207966" y="28905"/>
                    </a:cubicBezTo>
                    <a:cubicBezTo>
                      <a:pt x="170222" y="28905"/>
                      <a:pt x="68268" y="31179"/>
                      <a:pt x="31283" y="41030"/>
                    </a:cubicBezTo>
                    <a:cubicBezTo>
                      <a:pt x="42129" y="54671"/>
                      <a:pt x="80958" y="82493"/>
                      <a:pt x="122065" y="105444"/>
                    </a:cubicBezTo>
                    <a:cubicBezTo>
                      <a:pt x="128974" y="109417"/>
                      <a:pt x="131436" y="118176"/>
                      <a:pt x="127596" y="125148"/>
                    </a:cubicBezTo>
                    <a:cubicBezTo>
                      <a:pt x="125199" y="129803"/>
                      <a:pt x="120362" y="132704"/>
                      <a:pt x="115123" y="132617"/>
                    </a:cubicBezTo>
                  </a:path>
                </a:pathLst>
              </a:custGeom>
              <a:solidFill>
                <a:srgbClr val="231F2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7" name="Freeform 76">
                <a:extLst>
                  <a:ext uri="{FF2B5EF4-FFF2-40B4-BE49-F238E27FC236}">
                    <a16:creationId xmlns:a16="http://schemas.microsoft.com/office/drawing/2014/main" id="{A21B9E38-CB32-2C40-BB3A-A33B0C7B173B}"/>
                  </a:ext>
                </a:extLst>
              </p:cNvPr>
              <p:cNvSpPr/>
              <p:nvPr/>
            </p:nvSpPr>
            <p:spPr>
              <a:xfrm>
                <a:off x="7999925" y="4060119"/>
                <a:ext cx="386031" cy="142235"/>
              </a:xfrm>
              <a:custGeom>
                <a:avLst/>
                <a:gdLst>
                  <a:gd name="connsiteX0" fmla="*/ 202847 w 386031"/>
                  <a:gd name="connsiteY0" fmla="*/ 141911 h 142235"/>
                  <a:gd name="connsiteX1" fmla="*/ 196990 w 386031"/>
                  <a:gd name="connsiteY1" fmla="*/ 141911 h 142235"/>
                  <a:gd name="connsiteX2" fmla="*/ 2627 w 386031"/>
                  <a:gd name="connsiteY2" fmla="*/ 22826 h 142235"/>
                  <a:gd name="connsiteX3" fmla="*/ 5990 w 386031"/>
                  <a:gd name="connsiteY3" fmla="*/ 2689 h 142235"/>
                  <a:gd name="connsiteX4" fmla="*/ 25827 w 386031"/>
                  <a:gd name="connsiteY4" fmla="*/ 5883 h 142235"/>
                  <a:gd name="connsiteX5" fmla="*/ 25946 w 386031"/>
                  <a:gd name="connsiteY5" fmla="*/ 6045 h 142235"/>
                  <a:gd name="connsiteX6" fmla="*/ 198074 w 386031"/>
                  <a:gd name="connsiteY6" fmla="*/ 113114 h 142235"/>
                  <a:gd name="connsiteX7" fmla="*/ 360766 w 386031"/>
                  <a:gd name="connsiteY7" fmla="*/ 19469 h 142235"/>
                  <a:gd name="connsiteX8" fmla="*/ 380408 w 386031"/>
                  <a:gd name="connsiteY8" fmla="*/ 17066 h 142235"/>
                  <a:gd name="connsiteX9" fmla="*/ 380831 w 386031"/>
                  <a:gd name="connsiteY9" fmla="*/ 17413 h 142235"/>
                  <a:gd name="connsiteX10" fmla="*/ 382783 w 386031"/>
                  <a:gd name="connsiteY10" fmla="*/ 37765 h 142235"/>
                  <a:gd name="connsiteX11" fmla="*/ 202847 w 386031"/>
                  <a:gd name="connsiteY11" fmla="*/ 142236 h 1422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86031" h="142235">
                    <a:moveTo>
                      <a:pt x="202847" y="141911"/>
                    </a:moveTo>
                    <a:lnTo>
                      <a:pt x="196990" y="141911"/>
                    </a:lnTo>
                    <a:cubicBezTo>
                      <a:pt x="84841" y="138122"/>
                      <a:pt x="5990" y="27372"/>
                      <a:pt x="2627" y="22826"/>
                    </a:cubicBezTo>
                    <a:cubicBezTo>
                      <a:pt x="-1917" y="16319"/>
                      <a:pt x="-420" y="7377"/>
                      <a:pt x="5990" y="2689"/>
                    </a:cubicBezTo>
                    <a:cubicBezTo>
                      <a:pt x="12345" y="-1901"/>
                      <a:pt x="21228" y="-472"/>
                      <a:pt x="25827" y="5883"/>
                    </a:cubicBezTo>
                    <a:cubicBezTo>
                      <a:pt x="25871" y="5937"/>
                      <a:pt x="25903" y="5991"/>
                      <a:pt x="25946" y="6045"/>
                    </a:cubicBezTo>
                    <a:cubicBezTo>
                      <a:pt x="26597" y="7020"/>
                      <a:pt x="100134" y="109974"/>
                      <a:pt x="198074" y="113114"/>
                    </a:cubicBezTo>
                    <a:cubicBezTo>
                      <a:pt x="254582" y="115171"/>
                      <a:pt x="309247" y="83451"/>
                      <a:pt x="360766" y="19469"/>
                    </a:cubicBezTo>
                    <a:cubicBezTo>
                      <a:pt x="365527" y="13396"/>
                      <a:pt x="374313" y="12314"/>
                      <a:pt x="380408" y="17066"/>
                    </a:cubicBezTo>
                    <a:cubicBezTo>
                      <a:pt x="380549" y="17175"/>
                      <a:pt x="380690" y="17293"/>
                      <a:pt x="380831" y="17413"/>
                    </a:cubicBezTo>
                    <a:cubicBezTo>
                      <a:pt x="386916" y="22533"/>
                      <a:pt x="387783" y="31584"/>
                      <a:pt x="382783" y="37765"/>
                    </a:cubicBezTo>
                    <a:cubicBezTo>
                      <a:pt x="327143" y="107051"/>
                      <a:pt x="266622" y="142236"/>
                      <a:pt x="202847" y="142236"/>
                    </a:cubicBezTo>
                  </a:path>
                </a:pathLst>
              </a:custGeom>
              <a:solidFill>
                <a:srgbClr val="231F2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8" name="Freeform 77">
                <a:extLst>
                  <a:ext uri="{FF2B5EF4-FFF2-40B4-BE49-F238E27FC236}">
                    <a16:creationId xmlns:a16="http://schemas.microsoft.com/office/drawing/2014/main" id="{05B3EF6B-30BC-1544-80F7-67ED1D45DD09}"/>
                  </a:ext>
                </a:extLst>
              </p:cNvPr>
              <p:cNvSpPr/>
              <p:nvPr/>
            </p:nvSpPr>
            <p:spPr>
              <a:xfrm>
                <a:off x="7228261" y="3976741"/>
                <a:ext cx="216922" cy="216518"/>
              </a:xfrm>
              <a:custGeom>
                <a:avLst/>
                <a:gdLst>
                  <a:gd name="connsiteX0" fmla="*/ 216910 w 216922"/>
                  <a:gd name="connsiteY0" fmla="*/ 109668 h 216518"/>
                  <a:gd name="connsiteX1" fmla="*/ 107050 w 216922"/>
                  <a:gd name="connsiteY1" fmla="*/ 216509 h 216518"/>
                  <a:gd name="connsiteX2" fmla="*/ 9 w 216922"/>
                  <a:gd name="connsiteY2" fmla="*/ 106853 h 216518"/>
                  <a:gd name="connsiteX3" fmla="*/ 108991 w 216922"/>
                  <a:gd name="connsiteY3" fmla="*/ 1 h 216518"/>
                  <a:gd name="connsiteX4" fmla="*/ 216921 w 216922"/>
                  <a:gd name="connsiteY4" fmla="*/ 108791 h 216518"/>
                  <a:gd name="connsiteX5" fmla="*/ 216910 w 216922"/>
                  <a:gd name="connsiteY5" fmla="*/ 109668 h 216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16922" h="216518">
                    <a:moveTo>
                      <a:pt x="216910" y="109668"/>
                    </a:moveTo>
                    <a:cubicBezTo>
                      <a:pt x="216129" y="169449"/>
                      <a:pt x="166942" y="217288"/>
                      <a:pt x="107050" y="216509"/>
                    </a:cubicBezTo>
                    <a:cubicBezTo>
                      <a:pt x="47146" y="215729"/>
                      <a:pt x="-772" y="166634"/>
                      <a:pt x="9" y="106853"/>
                    </a:cubicBezTo>
                    <a:cubicBezTo>
                      <a:pt x="779" y="47408"/>
                      <a:pt x="49435" y="-291"/>
                      <a:pt x="108991" y="1"/>
                    </a:cubicBezTo>
                    <a:cubicBezTo>
                      <a:pt x="168894" y="294"/>
                      <a:pt x="217214" y="48999"/>
                      <a:pt x="216921" y="108791"/>
                    </a:cubicBezTo>
                    <a:cubicBezTo>
                      <a:pt x="216921" y="109083"/>
                      <a:pt x="216910" y="109376"/>
                      <a:pt x="216910" y="109668"/>
                    </a:cubicBezTo>
                  </a:path>
                </a:pathLst>
              </a:custGeom>
              <a:solidFill>
                <a:srgbClr val="231F2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9" name="Freeform 78">
                <a:extLst>
                  <a:ext uri="{FF2B5EF4-FFF2-40B4-BE49-F238E27FC236}">
                    <a16:creationId xmlns:a16="http://schemas.microsoft.com/office/drawing/2014/main" id="{23918CDF-C14F-7A45-98A8-2EB375EF9679}"/>
                  </a:ext>
                </a:extLst>
              </p:cNvPr>
              <p:cNvSpPr/>
              <p:nvPr/>
            </p:nvSpPr>
            <p:spPr>
              <a:xfrm>
                <a:off x="7220769" y="3972103"/>
                <a:ext cx="229066" cy="228644"/>
              </a:xfrm>
              <a:custGeom>
                <a:avLst/>
                <a:gdLst>
                  <a:gd name="connsiteX0" fmla="*/ 116483 w 229066"/>
                  <a:gd name="connsiteY0" fmla="*/ 9403 h 228644"/>
                  <a:gd name="connsiteX1" fmla="*/ 9551 w 229066"/>
                  <a:gd name="connsiteY1" fmla="*/ 112444 h 228644"/>
                  <a:gd name="connsiteX2" fmla="*/ 112795 w 229066"/>
                  <a:gd name="connsiteY2" fmla="*/ 219176 h 228644"/>
                  <a:gd name="connsiteX3" fmla="*/ 219727 w 229066"/>
                  <a:gd name="connsiteY3" fmla="*/ 116135 h 228644"/>
                  <a:gd name="connsiteX4" fmla="*/ 219738 w 229066"/>
                  <a:gd name="connsiteY4" fmla="*/ 114306 h 228644"/>
                  <a:gd name="connsiteX5" fmla="*/ 116483 w 229066"/>
                  <a:gd name="connsiteY5" fmla="*/ 9403 h 228644"/>
                  <a:gd name="connsiteX6" fmla="*/ 116483 w 229066"/>
                  <a:gd name="connsiteY6" fmla="*/ 228627 h 228644"/>
                  <a:gd name="connsiteX7" fmla="*/ 17 w 229066"/>
                  <a:gd name="connsiteY7" fmla="*/ 116276 h 228644"/>
                  <a:gd name="connsiteX8" fmla="*/ 112578 w 229066"/>
                  <a:gd name="connsiteY8" fmla="*/ 17 h 228644"/>
                  <a:gd name="connsiteX9" fmla="*/ 229044 w 229066"/>
                  <a:gd name="connsiteY9" fmla="*/ 112379 h 228644"/>
                  <a:gd name="connsiteX10" fmla="*/ 229065 w 229066"/>
                  <a:gd name="connsiteY10" fmla="*/ 114306 h 228644"/>
                  <a:gd name="connsiteX11" fmla="*/ 116483 w 229066"/>
                  <a:gd name="connsiteY11" fmla="*/ 228411 h 2286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9066" h="228644">
                    <a:moveTo>
                      <a:pt x="116483" y="9403"/>
                    </a:moveTo>
                    <a:cubicBezTo>
                      <a:pt x="58445" y="8385"/>
                      <a:pt x="10570" y="54525"/>
                      <a:pt x="9551" y="112444"/>
                    </a:cubicBezTo>
                    <a:cubicBezTo>
                      <a:pt x="8542" y="170373"/>
                      <a:pt x="54757" y="218159"/>
                      <a:pt x="112795" y="219176"/>
                    </a:cubicBezTo>
                    <a:cubicBezTo>
                      <a:pt x="170832" y="220194"/>
                      <a:pt x="218707" y="174054"/>
                      <a:pt x="219727" y="116135"/>
                    </a:cubicBezTo>
                    <a:cubicBezTo>
                      <a:pt x="219727" y="115518"/>
                      <a:pt x="219738" y="114912"/>
                      <a:pt x="219738" y="114306"/>
                    </a:cubicBezTo>
                    <a:cubicBezTo>
                      <a:pt x="220215" y="56885"/>
                      <a:pt x="174010" y="9933"/>
                      <a:pt x="116483" y="9403"/>
                    </a:cubicBezTo>
                    <a:moveTo>
                      <a:pt x="116483" y="228627"/>
                    </a:moveTo>
                    <a:cubicBezTo>
                      <a:pt x="53239" y="229699"/>
                      <a:pt x="1091" y="179402"/>
                      <a:pt x="17" y="116276"/>
                    </a:cubicBezTo>
                    <a:cubicBezTo>
                      <a:pt x="-1067" y="53139"/>
                      <a:pt x="49334" y="1089"/>
                      <a:pt x="112578" y="17"/>
                    </a:cubicBezTo>
                    <a:cubicBezTo>
                      <a:pt x="175822" y="-1055"/>
                      <a:pt x="227970" y="49242"/>
                      <a:pt x="229044" y="112379"/>
                    </a:cubicBezTo>
                    <a:cubicBezTo>
                      <a:pt x="229055" y="113018"/>
                      <a:pt x="229065" y="113667"/>
                      <a:pt x="229065" y="114306"/>
                    </a:cubicBezTo>
                    <a:cubicBezTo>
                      <a:pt x="229369" y="176771"/>
                      <a:pt x="179065" y="227761"/>
                      <a:pt x="116483" y="228411"/>
                    </a:cubicBezTo>
                  </a:path>
                </a:pathLst>
              </a:custGeom>
              <a:solidFill>
                <a:srgbClr val="00000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0" name="Freeform 79">
                <a:extLst>
                  <a:ext uri="{FF2B5EF4-FFF2-40B4-BE49-F238E27FC236}">
                    <a16:creationId xmlns:a16="http://schemas.microsoft.com/office/drawing/2014/main" id="{1D7C7189-2813-8C4F-83BB-18375DC4F10D}"/>
                  </a:ext>
                </a:extLst>
              </p:cNvPr>
              <p:cNvSpPr/>
              <p:nvPr/>
            </p:nvSpPr>
            <p:spPr>
              <a:xfrm>
                <a:off x="8935644" y="3967532"/>
                <a:ext cx="219750" cy="219329"/>
              </a:xfrm>
              <a:custGeom>
                <a:avLst/>
                <a:gdLst>
                  <a:gd name="connsiteX0" fmla="*/ 145662 w 219750"/>
                  <a:gd name="connsiteY0" fmla="*/ 79579 h 219329"/>
                  <a:gd name="connsiteX1" fmla="*/ 121193 w 219750"/>
                  <a:gd name="connsiteY1" fmla="*/ 57971 h 219329"/>
                  <a:gd name="connsiteX2" fmla="*/ 142842 w 219750"/>
                  <a:gd name="connsiteY2" fmla="*/ 33548 h 219329"/>
                  <a:gd name="connsiteX3" fmla="*/ 167310 w 219750"/>
                  <a:gd name="connsiteY3" fmla="*/ 55156 h 219329"/>
                  <a:gd name="connsiteX4" fmla="*/ 167354 w 219750"/>
                  <a:gd name="connsiteY4" fmla="*/ 56521 h 219329"/>
                  <a:gd name="connsiteX5" fmla="*/ 144685 w 219750"/>
                  <a:gd name="connsiteY5" fmla="*/ 79579 h 219329"/>
                  <a:gd name="connsiteX6" fmla="*/ 144685 w 219750"/>
                  <a:gd name="connsiteY6" fmla="*/ 79579 h 219329"/>
                  <a:gd name="connsiteX7" fmla="*/ 111280 w 219750"/>
                  <a:gd name="connsiteY7" fmla="*/ 9 h 219329"/>
                  <a:gd name="connsiteX8" fmla="*/ 9 w 219750"/>
                  <a:gd name="connsiteY8" fmla="*/ 108258 h 219329"/>
                  <a:gd name="connsiteX9" fmla="*/ 108460 w 219750"/>
                  <a:gd name="connsiteY9" fmla="*/ 219321 h 219329"/>
                  <a:gd name="connsiteX10" fmla="*/ 219730 w 219750"/>
                  <a:gd name="connsiteY10" fmla="*/ 111072 h 219329"/>
                  <a:gd name="connsiteX11" fmla="*/ 219741 w 219750"/>
                  <a:gd name="connsiteY11" fmla="*/ 109675 h 219329"/>
                  <a:gd name="connsiteX12" fmla="*/ 112701 w 219750"/>
                  <a:gd name="connsiteY12" fmla="*/ 20 h 219329"/>
                  <a:gd name="connsiteX13" fmla="*/ 111280 w 219750"/>
                  <a:gd name="connsiteY13" fmla="*/ 9 h 2193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19750" h="219329">
                    <a:moveTo>
                      <a:pt x="145662" y="79579"/>
                    </a:moveTo>
                    <a:cubicBezTo>
                      <a:pt x="132928" y="80359"/>
                      <a:pt x="121974" y="70681"/>
                      <a:pt x="121193" y="57971"/>
                    </a:cubicBezTo>
                    <a:cubicBezTo>
                      <a:pt x="120412" y="45262"/>
                      <a:pt x="130108" y="34327"/>
                      <a:pt x="142842" y="33548"/>
                    </a:cubicBezTo>
                    <a:cubicBezTo>
                      <a:pt x="155575" y="32769"/>
                      <a:pt x="166530" y="42447"/>
                      <a:pt x="167310" y="55156"/>
                    </a:cubicBezTo>
                    <a:cubicBezTo>
                      <a:pt x="167343" y="55611"/>
                      <a:pt x="167354" y="56066"/>
                      <a:pt x="167354" y="56521"/>
                    </a:cubicBezTo>
                    <a:cubicBezTo>
                      <a:pt x="167473" y="69133"/>
                      <a:pt x="157322" y="79461"/>
                      <a:pt x="144685" y="79579"/>
                    </a:cubicBezTo>
                    <a:cubicBezTo>
                      <a:pt x="144685" y="79579"/>
                      <a:pt x="144685" y="79579"/>
                      <a:pt x="144685" y="79579"/>
                    </a:cubicBezTo>
                    <a:moveTo>
                      <a:pt x="111280" y="9"/>
                    </a:moveTo>
                    <a:cubicBezTo>
                      <a:pt x="50607" y="-770"/>
                      <a:pt x="790" y="47697"/>
                      <a:pt x="9" y="108258"/>
                    </a:cubicBezTo>
                    <a:cubicBezTo>
                      <a:pt x="-771" y="168818"/>
                      <a:pt x="47787" y="218552"/>
                      <a:pt x="108460" y="219321"/>
                    </a:cubicBezTo>
                    <a:cubicBezTo>
                      <a:pt x="169133" y="220100"/>
                      <a:pt x="218949" y="171632"/>
                      <a:pt x="219730" y="111072"/>
                    </a:cubicBezTo>
                    <a:cubicBezTo>
                      <a:pt x="219741" y="110607"/>
                      <a:pt x="219741" y="110141"/>
                      <a:pt x="219741" y="109675"/>
                    </a:cubicBezTo>
                    <a:cubicBezTo>
                      <a:pt x="220521" y="49895"/>
                      <a:pt x="172592" y="800"/>
                      <a:pt x="112701" y="20"/>
                    </a:cubicBezTo>
                    <a:cubicBezTo>
                      <a:pt x="112223" y="9"/>
                      <a:pt x="111757" y="9"/>
                      <a:pt x="111280" y="9"/>
                    </a:cubicBezTo>
                  </a:path>
                </a:pathLst>
              </a:custGeom>
              <a:solidFill>
                <a:srgbClr val="231F2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1" name="Freeform 80">
                <a:extLst>
                  <a:ext uri="{FF2B5EF4-FFF2-40B4-BE49-F238E27FC236}">
                    <a16:creationId xmlns:a16="http://schemas.microsoft.com/office/drawing/2014/main" id="{0B892CC4-A9C6-3E45-884F-50FB605F123D}"/>
                  </a:ext>
                </a:extLst>
              </p:cNvPr>
              <p:cNvSpPr/>
              <p:nvPr/>
            </p:nvSpPr>
            <p:spPr>
              <a:xfrm>
                <a:off x="8931309" y="3962577"/>
                <a:ext cx="229284" cy="228860"/>
              </a:xfrm>
              <a:custGeom>
                <a:avLst/>
                <a:gdLst>
                  <a:gd name="connsiteX0" fmla="*/ 149997 w 229284"/>
                  <a:gd name="connsiteY0" fmla="*/ 43071 h 228860"/>
                  <a:gd name="connsiteX1" fmla="*/ 131450 w 229284"/>
                  <a:gd name="connsiteY1" fmla="*/ 61151 h 228860"/>
                  <a:gd name="connsiteX2" fmla="*/ 149564 w 229284"/>
                  <a:gd name="connsiteY2" fmla="*/ 79663 h 228860"/>
                  <a:gd name="connsiteX3" fmla="*/ 168110 w 229284"/>
                  <a:gd name="connsiteY3" fmla="*/ 61584 h 228860"/>
                  <a:gd name="connsiteX4" fmla="*/ 168110 w 229284"/>
                  <a:gd name="connsiteY4" fmla="*/ 61367 h 228860"/>
                  <a:gd name="connsiteX5" fmla="*/ 149997 w 229284"/>
                  <a:gd name="connsiteY5" fmla="*/ 43071 h 228860"/>
                  <a:gd name="connsiteX6" fmla="*/ 149997 w 229284"/>
                  <a:gd name="connsiteY6" fmla="*/ 43071 h 228860"/>
                  <a:gd name="connsiteX7" fmla="*/ 149997 w 229284"/>
                  <a:gd name="connsiteY7" fmla="*/ 89190 h 228860"/>
                  <a:gd name="connsiteX8" fmla="*/ 121580 w 229284"/>
                  <a:gd name="connsiteY8" fmla="*/ 61919 h 228860"/>
                  <a:gd name="connsiteX9" fmla="*/ 148913 w 229284"/>
                  <a:gd name="connsiteY9" fmla="*/ 33555 h 228860"/>
                  <a:gd name="connsiteX10" fmla="*/ 177330 w 229284"/>
                  <a:gd name="connsiteY10" fmla="*/ 60837 h 228860"/>
                  <a:gd name="connsiteX11" fmla="*/ 177330 w 229284"/>
                  <a:gd name="connsiteY11" fmla="*/ 61367 h 228860"/>
                  <a:gd name="connsiteX12" fmla="*/ 149997 w 229284"/>
                  <a:gd name="connsiteY12" fmla="*/ 89190 h 228860"/>
                  <a:gd name="connsiteX13" fmla="*/ 116591 w 229284"/>
                  <a:gd name="connsiteY13" fmla="*/ 9511 h 228860"/>
                  <a:gd name="connsiteX14" fmla="*/ 9551 w 229284"/>
                  <a:gd name="connsiteY14" fmla="*/ 112660 h 228860"/>
                  <a:gd name="connsiteX15" fmla="*/ 112904 w 229284"/>
                  <a:gd name="connsiteY15" fmla="*/ 219501 h 228860"/>
                  <a:gd name="connsiteX16" fmla="*/ 219933 w 229284"/>
                  <a:gd name="connsiteY16" fmla="*/ 116341 h 228860"/>
                  <a:gd name="connsiteX17" fmla="*/ 219955 w 229284"/>
                  <a:gd name="connsiteY17" fmla="*/ 114522 h 228860"/>
                  <a:gd name="connsiteX18" fmla="*/ 116591 w 229284"/>
                  <a:gd name="connsiteY18" fmla="*/ 9511 h 228860"/>
                  <a:gd name="connsiteX19" fmla="*/ 116591 w 229284"/>
                  <a:gd name="connsiteY19" fmla="*/ 228844 h 228860"/>
                  <a:gd name="connsiteX20" fmla="*/ 17 w 229284"/>
                  <a:gd name="connsiteY20" fmla="*/ 116384 h 228860"/>
                  <a:gd name="connsiteX21" fmla="*/ 112687 w 229284"/>
                  <a:gd name="connsiteY21" fmla="*/ 17 h 228860"/>
                  <a:gd name="connsiteX22" fmla="*/ 229260 w 229284"/>
                  <a:gd name="connsiteY22" fmla="*/ 112487 h 228860"/>
                  <a:gd name="connsiteX23" fmla="*/ 229282 w 229284"/>
                  <a:gd name="connsiteY23" fmla="*/ 114522 h 228860"/>
                  <a:gd name="connsiteX24" fmla="*/ 116591 w 229284"/>
                  <a:gd name="connsiteY24" fmla="*/ 228844 h 228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29284" h="228860">
                    <a:moveTo>
                      <a:pt x="149997" y="43071"/>
                    </a:moveTo>
                    <a:cubicBezTo>
                      <a:pt x="139878" y="42952"/>
                      <a:pt x="131570" y="51050"/>
                      <a:pt x="131450" y="61151"/>
                    </a:cubicBezTo>
                    <a:cubicBezTo>
                      <a:pt x="131331" y="71251"/>
                      <a:pt x="139444" y="79544"/>
                      <a:pt x="149564" y="79663"/>
                    </a:cubicBezTo>
                    <a:cubicBezTo>
                      <a:pt x="159683" y="79782"/>
                      <a:pt x="167991" y="71684"/>
                      <a:pt x="168110" y="61584"/>
                    </a:cubicBezTo>
                    <a:cubicBezTo>
                      <a:pt x="168110" y="61508"/>
                      <a:pt x="168110" y="61443"/>
                      <a:pt x="168110" y="61367"/>
                    </a:cubicBezTo>
                    <a:cubicBezTo>
                      <a:pt x="168176" y="51321"/>
                      <a:pt x="160062" y="43136"/>
                      <a:pt x="149997" y="43071"/>
                    </a:cubicBezTo>
                    <a:cubicBezTo>
                      <a:pt x="149997" y="43071"/>
                      <a:pt x="149997" y="43071"/>
                      <a:pt x="149997" y="43071"/>
                    </a:cubicBezTo>
                    <a:moveTo>
                      <a:pt x="149997" y="89190"/>
                    </a:moveTo>
                    <a:cubicBezTo>
                      <a:pt x="134606" y="89493"/>
                      <a:pt x="121884" y="77281"/>
                      <a:pt x="121580" y="61919"/>
                    </a:cubicBezTo>
                    <a:cubicBezTo>
                      <a:pt x="121288" y="46547"/>
                      <a:pt x="133522" y="33858"/>
                      <a:pt x="148913" y="33555"/>
                    </a:cubicBezTo>
                    <a:cubicBezTo>
                      <a:pt x="164303" y="33252"/>
                      <a:pt x="177026" y="45464"/>
                      <a:pt x="177330" y="60837"/>
                    </a:cubicBezTo>
                    <a:cubicBezTo>
                      <a:pt x="177330" y="61010"/>
                      <a:pt x="177330" y="61194"/>
                      <a:pt x="177330" y="61367"/>
                    </a:cubicBezTo>
                    <a:cubicBezTo>
                      <a:pt x="177449" y="76567"/>
                      <a:pt x="165225" y="89016"/>
                      <a:pt x="149997" y="89190"/>
                    </a:cubicBezTo>
                    <a:moveTo>
                      <a:pt x="116591" y="9511"/>
                    </a:moveTo>
                    <a:cubicBezTo>
                      <a:pt x="58500" y="8493"/>
                      <a:pt x="10571" y="54677"/>
                      <a:pt x="9551" y="112660"/>
                    </a:cubicBezTo>
                    <a:cubicBezTo>
                      <a:pt x="8542" y="170655"/>
                      <a:pt x="54812" y="218484"/>
                      <a:pt x="112904" y="219501"/>
                    </a:cubicBezTo>
                    <a:cubicBezTo>
                      <a:pt x="170995" y="220519"/>
                      <a:pt x="218924" y="174336"/>
                      <a:pt x="219933" y="116341"/>
                    </a:cubicBezTo>
                    <a:cubicBezTo>
                      <a:pt x="219943" y="115735"/>
                      <a:pt x="219955" y="115129"/>
                      <a:pt x="219955" y="114522"/>
                    </a:cubicBezTo>
                    <a:cubicBezTo>
                      <a:pt x="220378" y="57069"/>
                      <a:pt x="174151" y="10106"/>
                      <a:pt x="116591" y="9511"/>
                    </a:cubicBezTo>
                    <a:moveTo>
                      <a:pt x="116591" y="228844"/>
                    </a:moveTo>
                    <a:cubicBezTo>
                      <a:pt x="53283" y="229916"/>
                      <a:pt x="1091" y="179564"/>
                      <a:pt x="17" y="116384"/>
                    </a:cubicBezTo>
                    <a:cubicBezTo>
                      <a:pt x="-1067" y="53194"/>
                      <a:pt x="49378" y="1089"/>
                      <a:pt x="112687" y="17"/>
                    </a:cubicBezTo>
                    <a:cubicBezTo>
                      <a:pt x="175995" y="-1055"/>
                      <a:pt x="228187" y="49296"/>
                      <a:pt x="229260" y="112487"/>
                    </a:cubicBezTo>
                    <a:cubicBezTo>
                      <a:pt x="229282" y="113158"/>
                      <a:pt x="229282" y="113840"/>
                      <a:pt x="229282" y="114522"/>
                    </a:cubicBezTo>
                    <a:cubicBezTo>
                      <a:pt x="229705" y="177118"/>
                      <a:pt x="179304" y="228249"/>
                      <a:pt x="116591" y="228844"/>
                    </a:cubicBezTo>
                  </a:path>
                </a:pathLst>
              </a:custGeom>
              <a:solidFill>
                <a:srgbClr val="00000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2" name="Freeform 81">
                <a:extLst>
                  <a:ext uri="{FF2B5EF4-FFF2-40B4-BE49-F238E27FC236}">
                    <a16:creationId xmlns:a16="http://schemas.microsoft.com/office/drawing/2014/main" id="{FD2E1462-0360-9A41-B244-5E7FCD5E7304}"/>
                  </a:ext>
                </a:extLst>
              </p:cNvPr>
              <p:cNvSpPr/>
              <p:nvPr/>
            </p:nvSpPr>
            <p:spPr>
              <a:xfrm>
                <a:off x="7198394" y="2444641"/>
                <a:ext cx="1689035" cy="1835227"/>
              </a:xfrm>
              <a:custGeom>
                <a:avLst/>
                <a:gdLst>
                  <a:gd name="connsiteX0" fmla="*/ 1471736 w 1689035"/>
                  <a:gd name="connsiteY0" fmla="*/ 551166 h 1835227"/>
                  <a:gd name="connsiteX1" fmla="*/ 1471736 w 1689035"/>
                  <a:gd name="connsiteY1" fmla="*/ 551166 h 1835227"/>
                  <a:gd name="connsiteX2" fmla="*/ 1000256 w 1689035"/>
                  <a:gd name="connsiteY2" fmla="*/ 27841 h 1835227"/>
                  <a:gd name="connsiteX3" fmla="*/ 951882 w 1689035"/>
                  <a:gd name="connsiteY3" fmla="*/ 28815 h 1835227"/>
                  <a:gd name="connsiteX4" fmla="*/ 163478 w 1689035"/>
                  <a:gd name="connsiteY4" fmla="*/ 402634 h 1835227"/>
                  <a:gd name="connsiteX5" fmla="*/ 170637 w 1689035"/>
                  <a:gd name="connsiteY5" fmla="*/ 1731190 h 1835227"/>
                  <a:gd name="connsiteX6" fmla="*/ 334738 w 1689035"/>
                  <a:gd name="connsiteY6" fmla="*/ 1253551 h 1835227"/>
                  <a:gd name="connsiteX7" fmla="*/ 784093 w 1689035"/>
                  <a:gd name="connsiteY7" fmla="*/ 852992 h 1835227"/>
                  <a:gd name="connsiteX8" fmla="*/ 1465445 w 1689035"/>
                  <a:gd name="connsiteY8" fmla="*/ 538283 h 1835227"/>
                  <a:gd name="connsiteX9" fmla="*/ 1659374 w 1689035"/>
                  <a:gd name="connsiteY9" fmla="*/ 385204 h 1835227"/>
                  <a:gd name="connsiteX10" fmla="*/ 1529221 w 1689035"/>
                  <a:gd name="connsiteY10" fmla="*/ 202680 h 1835227"/>
                  <a:gd name="connsiteX11" fmla="*/ 1000039 w 1689035"/>
                  <a:gd name="connsiteY11" fmla="*/ 27300 h 1835227"/>
                  <a:gd name="connsiteX12" fmla="*/ 189617 w 1689035"/>
                  <a:gd name="connsiteY12" fmla="*/ 1835227 h 1835227"/>
                  <a:gd name="connsiteX13" fmla="*/ 177253 w 1689035"/>
                  <a:gd name="connsiteY13" fmla="*/ 1826891 h 1835227"/>
                  <a:gd name="connsiteX14" fmla="*/ 32566 w 1689035"/>
                  <a:gd name="connsiteY14" fmla="*/ 1309629 h 1835227"/>
                  <a:gd name="connsiteX15" fmla="*/ 141027 w 1689035"/>
                  <a:gd name="connsiteY15" fmla="*/ 387586 h 1835227"/>
                  <a:gd name="connsiteX16" fmla="*/ 951123 w 1689035"/>
                  <a:gd name="connsiteY16" fmla="*/ 885 h 1835227"/>
                  <a:gd name="connsiteX17" fmla="*/ 1548852 w 1689035"/>
                  <a:gd name="connsiteY17" fmla="*/ 183409 h 1835227"/>
                  <a:gd name="connsiteX18" fmla="*/ 1688441 w 1689035"/>
                  <a:gd name="connsiteY18" fmla="*/ 385746 h 1835227"/>
                  <a:gd name="connsiteX19" fmla="*/ 1683778 w 1689035"/>
                  <a:gd name="connsiteY19" fmla="*/ 400469 h 1835227"/>
                  <a:gd name="connsiteX20" fmla="*/ 1480196 w 1689035"/>
                  <a:gd name="connsiteY20" fmla="*/ 561234 h 1835227"/>
                  <a:gd name="connsiteX21" fmla="*/ 1475749 w 1689035"/>
                  <a:gd name="connsiteY21" fmla="*/ 563615 h 1835227"/>
                  <a:gd name="connsiteX22" fmla="*/ 798084 w 1689035"/>
                  <a:gd name="connsiteY22" fmla="*/ 876376 h 1835227"/>
                  <a:gd name="connsiteX23" fmla="*/ 356431 w 1689035"/>
                  <a:gd name="connsiteY23" fmla="*/ 1269465 h 1835227"/>
                  <a:gd name="connsiteX24" fmla="*/ 203392 w 1689035"/>
                  <a:gd name="connsiteY24" fmla="*/ 1819854 h 1835227"/>
                  <a:gd name="connsiteX25" fmla="*/ 193522 w 1689035"/>
                  <a:gd name="connsiteY25" fmla="*/ 1834794 h 1835227"/>
                  <a:gd name="connsiteX26" fmla="*/ 190051 w 1689035"/>
                  <a:gd name="connsiteY26" fmla="*/ 1834794 h 18352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689035" h="1835227">
                    <a:moveTo>
                      <a:pt x="1471736" y="551166"/>
                    </a:moveTo>
                    <a:lnTo>
                      <a:pt x="1471736" y="551166"/>
                    </a:lnTo>
                    <a:close/>
                    <a:moveTo>
                      <a:pt x="1000256" y="27841"/>
                    </a:moveTo>
                    <a:cubicBezTo>
                      <a:pt x="984529" y="27841"/>
                      <a:pt x="968368" y="27841"/>
                      <a:pt x="951882" y="28815"/>
                    </a:cubicBezTo>
                    <a:cubicBezTo>
                      <a:pt x="575630" y="43106"/>
                      <a:pt x="310226" y="169011"/>
                      <a:pt x="163478" y="402634"/>
                    </a:cubicBezTo>
                    <a:cubicBezTo>
                      <a:pt x="-102685" y="826360"/>
                      <a:pt x="89399" y="1496051"/>
                      <a:pt x="170637" y="1731190"/>
                    </a:cubicBezTo>
                    <a:cubicBezTo>
                      <a:pt x="170637" y="1565121"/>
                      <a:pt x="225409" y="1404789"/>
                      <a:pt x="334738" y="1253551"/>
                    </a:cubicBezTo>
                    <a:cubicBezTo>
                      <a:pt x="437668" y="1111082"/>
                      <a:pt x="588863" y="976516"/>
                      <a:pt x="784093" y="852992"/>
                    </a:cubicBezTo>
                    <a:cubicBezTo>
                      <a:pt x="1100799" y="653146"/>
                      <a:pt x="1433449" y="548134"/>
                      <a:pt x="1465445" y="538283"/>
                    </a:cubicBezTo>
                    <a:lnTo>
                      <a:pt x="1659374" y="385204"/>
                    </a:lnTo>
                    <a:cubicBezTo>
                      <a:pt x="1630328" y="315345"/>
                      <a:pt x="1585837" y="252955"/>
                      <a:pt x="1529221" y="202680"/>
                    </a:cubicBezTo>
                    <a:cubicBezTo>
                      <a:pt x="1439848" y="121269"/>
                      <a:pt x="1276615" y="27300"/>
                      <a:pt x="1000039" y="27300"/>
                    </a:cubicBezTo>
                    <a:moveTo>
                      <a:pt x="189617" y="1835227"/>
                    </a:moveTo>
                    <a:cubicBezTo>
                      <a:pt x="184183" y="1835195"/>
                      <a:pt x="179313" y="1831904"/>
                      <a:pt x="177253" y="1826891"/>
                    </a:cubicBezTo>
                    <a:cubicBezTo>
                      <a:pt x="112360" y="1659555"/>
                      <a:pt x="63900" y="1486319"/>
                      <a:pt x="32566" y="1309629"/>
                    </a:cubicBezTo>
                    <a:cubicBezTo>
                      <a:pt x="-14506" y="1042337"/>
                      <a:pt x="-33921" y="665379"/>
                      <a:pt x="141027" y="387586"/>
                    </a:cubicBezTo>
                    <a:cubicBezTo>
                      <a:pt x="292872" y="145627"/>
                      <a:pt x="565544" y="15608"/>
                      <a:pt x="951123" y="885"/>
                    </a:cubicBezTo>
                    <a:cubicBezTo>
                      <a:pt x="1125637" y="-5611"/>
                      <a:pt x="1370976" y="20588"/>
                      <a:pt x="1548852" y="183409"/>
                    </a:cubicBezTo>
                    <a:cubicBezTo>
                      <a:pt x="1655903" y="281492"/>
                      <a:pt x="1687140" y="381524"/>
                      <a:pt x="1688441" y="385746"/>
                    </a:cubicBezTo>
                    <a:cubicBezTo>
                      <a:pt x="1690090" y="391148"/>
                      <a:pt x="1688235" y="396994"/>
                      <a:pt x="1683778" y="400469"/>
                    </a:cubicBezTo>
                    <a:lnTo>
                      <a:pt x="1480196" y="561234"/>
                    </a:lnTo>
                    <a:cubicBezTo>
                      <a:pt x="1478873" y="562295"/>
                      <a:pt x="1477365" y="563107"/>
                      <a:pt x="1475749" y="563615"/>
                    </a:cubicBezTo>
                    <a:cubicBezTo>
                      <a:pt x="1472278" y="564698"/>
                      <a:pt x="1126396" y="669060"/>
                      <a:pt x="798084" y="876376"/>
                    </a:cubicBezTo>
                    <a:cubicBezTo>
                      <a:pt x="605891" y="997626"/>
                      <a:pt x="457299" y="1129919"/>
                      <a:pt x="356431" y="1269465"/>
                    </a:cubicBezTo>
                    <a:cubicBezTo>
                      <a:pt x="231266" y="1442680"/>
                      <a:pt x="179747" y="1627911"/>
                      <a:pt x="203392" y="1819854"/>
                    </a:cubicBezTo>
                    <a:cubicBezTo>
                      <a:pt x="204249" y="1826577"/>
                      <a:pt x="200051" y="1832921"/>
                      <a:pt x="193522" y="1834794"/>
                    </a:cubicBezTo>
                    <a:cubicBezTo>
                      <a:pt x="192372" y="1834892"/>
                      <a:pt x="191201" y="1834892"/>
                      <a:pt x="190051" y="1834794"/>
                    </a:cubicBezTo>
                  </a:path>
                </a:pathLst>
              </a:custGeom>
              <a:solidFill>
                <a:srgbClr val="231F2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3" name="Freeform 82">
                <a:extLst>
                  <a:ext uri="{FF2B5EF4-FFF2-40B4-BE49-F238E27FC236}">
                    <a16:creationId xmlns:a16="http://schemas.microsoft.com/office/drawing/2014/main" id="{5633CED7-31E3-4C49-A954-60653BFB5C8E}"/>
                  </a:ext>
                </a:extLst>
              </p:cNvPr>
              <p:cNvSpPr/>
              <p:nvPr/>
            </p:nvSpPr>
            <p:spPr>
              <a:xfrm>
                <a:off x="7367185" y="2909703"/>
                <a:ext cx="1391617" cy="742915"/>
              </a:xfrm>
              <a:custGeom>
                <a:avLst/>
                <a:gdLst>
                  <a:gd name="connsiteX0" fmla="*/ 13452 w 1391617"/>
                  <a:gd name="connsiteY0" fmla="*/ 742912 h 742915"/>
                  <a:gd name="connsiteX1" fmla="*/ 9764 w 1391617"/>
                  <a:gd name="connsiteY1" fmla="*/ 742370 h 742915"/>
                  <a:gd name="connsiteX2" fmla="*/ 545 w 1391617"/>
                  <a:gd name="connsiteY2" fmla="*/ 725590 h 742915"/>
                  <a:gd name="connsiteX3" fmla="*/ 777560 w 1391617"/>
                  <a:gd name="connsiteY3" fmla="*/ 55574 h 742915"/>
                  <a:gd name="connsiteX4" fmla="*/ 1379519 w 1391617"/>
                  <a:gd name="connsiteY4" fmla="*/ 3610 h 742915"/>
                  <a:gd name="connsiteX5" fmla="*/ 1391526 w 1391617"/>
                  <a:gd name="connsiteY5" fmla="*/ 18723 h 742915"/>
                  <a:gd name="connsiteX6" fmla="*/ 1377242 w 1391617"/>
                  <a:gd name="connsiteY6" fmla="*/ 30783 h 742915"/>
                  <a:gd name="connsiteX7" fmla="*/ 783200 w 1391617"/>
                  <a:gd name="connsiteY7" fmla="*/ 82314 h 742915"/>
                  <a:gd name="connsiteX8" fmla="*/ 329941 w 1391617"/>
                  <a:gd name="connsiteY8" fmla="*/ 286816 h 742915"/>
                  <a:gd name="connsiteX9" fmla="*/ 26250 w 1391617"/>
                  <a:gd name="connsiteY9" fmla="*/ 733060 h 742915"/>
                  <a:gd name="connsiteX10" fmla="*/ 13343 w 1391617"/>
                  <a:gd name="connsiteY10" fmla="*/ 742912 h 742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391617" h="742915">
                    <a:moveTo>
                      <a:pt x="13452" y="742912"/>
                    </a:moveTo>
                    <a:cubicBezTo>
                      <a:pt x="12204" y="742944"/>
                      <a:pt x="10957" y="742760"/>
                      <a:pt x="9764" y="742370"/>
                    </a:cubicBezTo>
                    <a:cubicBezTo>
                      <a:pt x="2573" y="740281"/>
                      <a:pt x="-1549" y="732768"/>
                      <a:pt x="545" y="725590"/>
                    </a:cubicBezTo>
                    <a:cubicBezTo>
                      <a:pt x="94472" y="388688"/>
                      <a:pt x="363130" y="157013"/>
                      <a:pt x="777560" y="55574"/>
                    </a:cubicBezTo>
                    <a:cubicBezTo>
                      <a:pt x="974634" y="9229"/>
                      <a:pt x="1177402" y="-8277"/>
                      <a:pt x="1379519" y="3610"/>
                    </a:cubicBezTo>
                    <a:cubicBezTo>
                      <a:pt x="1387014" y="4476"/>
                      <a:pt x="1392394" y="11242"/>
                      <a:pt x="1391526" y="18723"/>
                    </a:cubicBezTo>
                    <a:cubicBezTo>
                      <a:pt x="1390702" y="25879"/>
                      <a:pt x="1384443" y="31162"/>
                      <a:pt x="1377242" y="30783"/>
                    </a:cubicBezTo>
                    <a:cubicBezTo>
                      <a:pt x="1177771" y="19134"/>
                      <a:pt x="977660" y="36488"/>
                      <a:pt x="783200" y="82314"/>
                    </a:cubicBezTo>
                    <a:cubicBezTo>
                      <a:pt x="603480" y="126376"/>
                      <a:pt x="450984" y="195120"/>
                      <a:pt x="329941" y="286816"/>
                    </a:cubicBezTo>
                    <a:cubicBezTo>
                      <a:pt x="181523" y="397446"/>
                      <a:pt x="74580" y="554573"/>
                      <a:pt x="26250" y="733060"/>
                    </a:cubicBezTo>
                    <a:cubicBezTo>
                      <a:pt x="24645" y="738863"/>
                      <a:pt x="19374" y="742890"/>
                      <a:pt x="13343" y="742912"/>
                    </a:cubicBezTo>
                  </a:path>
                </a:pathLst>
              </a:custGeom>
              <a:solidFill>
                <a:srgbClr val="231F2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4" name="Freeform 83">
                <a:extLst>
                  <a:ext uri="{FF2B5EF4-FFF2-40B4-BE49-F238E27FC236}">
                    <a16:creationId xmlns:a16="http://schemas.microsoft.com/office/drawing/2014/main" id="{42230A1B-EC5A-1843-A1A0-D59748ECEFD7}"/>
                  </a:ext>
                </a:extLst>
              </p:cNvPr>
              <p:cNvSpPr/>
              <p:nvPr/>
            </p:nvSpPr>
            <p:spPr>
              <a:xfrm>
                <a:off x="8679862" y="2821328"/>
                <a:ext cx="509701" cy="923198"/>
              </a:xfrm>
              <a:custGeom>
                <a:avLst/>
                <a:gdLst>
                  <a:gd name="connsiteX0" fmla="*/ 32677 w 509701"/>
                  <a:gd name="connsiteY0" fmla="*/ 168308 h 923198"/>
                  <a:gd name="connsiteX1" fmla="*/ 477909 w 509701"/>
                  <a:gd name="connsiteY1" fmla="*/ 828688 h 923198"/>
                  <a:gd name="connsiteX2" fmla="*/ 194067 w 509701"/>
                  <a:gd name="connsiteY2" fmla="*/ 32226 h 923198"/>
                  <a:gd name="connsiteX3" fmla="*/ 480947 w 509701"/>
                  <a:gd name="connsiteY3" fmla="*/ 923199 h 923198"/>
                  <a:gd name="connsiteX4" fmla="*/ 479753 w 509701"/>
                  <a:gd name="connsiteY4" fmla="*/ 923199 h 923198"/>
                  <a:gd name="connsiteX5" fmla="*/ 467497 w 509701"/>
                  <a:gd name="connsiteY5" fmla="*/ 910099 h 923198"/>
                  <a:gd name="connsiteX6" fmla="*/ 3392 w 509701"/>
                  <a:gd name="connsiteY6" fmla="*/ 175994 h 923198"/>
                  <a:gd name="connsiteX7" fmla="*/ 30 w 509701"/>
                  <a:gd name="connsiteY7" fmla="*/ 165926 h 923198"/>
                  <a:gd name="connsiteX8" fmla="*/ 4802 w 509701"/>
                  <a:gd name="connsiteY8" fmla="*/ 156507 h 923198"/>
                  <a:gd name="connsiteX9" fmla="*/ 185824 w 509701"/>
                  <a:gd name="connsiteY9" fmla="*/ 3321 h 923198"/>
                  <a:gd name="connsiteX10" fmla="*/ 203286 w 509701"/>
                  <a:gd name="connsiteY10" fmla="*/ 3321 h 923198"/>
                  <a:gd name="connsiteX11" fmla="*/ 500903 w 509701"/>
                  <a:gd name="connsiteY11" fmla="*/ 594740 h 923198"/>
                  <a:gd name="connsiteX12" fmla="*/ 494070 w 509701"/>
                  <a:gd name="connsiteY12" fmla="*/ 912156 h 923198"/>
                  <a:gd name="connsiteX13" fmla="*/ 480947 w 509701"/>
                  <a:gd name="connsiteY13" fmla="*/ 922982 h 923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09701" h="923198">
                    <a:moveTo>
                      <a:pt x="32677" y="168308"/>
                    </a:moveTo>
                    <a:cubicBezTo>
                      <a:pt x="92113" y="236619"/>
                      <a:pt x="402421" y="600262"/>
                      <a:pt x="477909" y="828688"/>
                    </a:cubicBezTo>
                    <a:cubicBezTo>
                      <a:pt x="491142" y="669331"/>
                      <a:pt x="484742" y="301033"/>
                      <a:pt x="194067" y="32226"/>
                    </a:cubicBezTo>
                    <a:close/>
                    <a:moveTo>
                      <a:pt x="480947" y="923199"/>
                    </a:moveTo>
                    <a:lnTo>
                      <a:pt x="479753" y="923199"/>
                    </a:lnTo>
                    <a:cubicBezTo>
                      <a:pt x="472942" y="922549"/>
                      <a:pt x="467682" y="916930"/>
                      <a:pt x="467497" y="910099"/>
                    </a:cubicBezTo>
                    <a:cubicBezTo>
                      <a:pt x="460230" y="695530"/>
                      <a:pt x="8056" y="181190"/>
                      <a:pt x="3392" y="175994"/>
                    </a:cubicBezTo>
                    <a:cubicBezTo>
                      <a:pt x="995" y="173201"/>
                      <a:pt x="-209" y="169596"/>
                      <a:pt x="30" y="165926"/>
                    </a:cubicBezTo>
                    <a:cubicBezTo>
                      <a:pt x="279" y="162267"/>
                      <a:pt x="2004" y="158878"/>
                      <a:pt x="4802" y="156507"/>
                    </a:cubicBezTo>
                    <a:lnTo>
                      <a:pt x="185824" y="3321"/>
                    </a:lnTo>
                    <a:cubicBezTo>
                      <a:pt x="190802" y="-1107"/>
                      <a:pt x="198308" y="-1107"/>
                      <a:pt x="203286" y="3321"/>
                    </a:cubicBezTo>
                    <a:cubicBezTo>
                      <a:pt x="412941" y="192016"/>
                      <a:pt x="480838" y="429104"/>
                      <a:pt x="500903" y="594740"/>
                    </a:cubicBezTo>
                    <a:cubicBezTo>
                      <a:pt x="514602" y="700293"/>
                      <a:pt x="512291" y="807296"/>
                      <a:pt x="494070" y="912156"/>
                    </a:cubicBezTo>
                    <a:cubicBezTo>
                      <a:pt x="492834" y="918424"/>
                      <a:pt x="487345" y="922950"/>
                      <a:pt x="480947" y="922982"/>
                    </a:cubicBezTo>
                  </a:path>
                </a:pathLst>
              </a:custGeom>
              <a:solidFill>
                <a:srgbClr val="231F2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5" name="Freeform 84">
                <a:extLst>
                  <a:ext uri="{FF2B5EF4-FFF2-40B4-BE49-F238E27FC236}">
                    <a16:creationId xmlns:a16="http://schemas.microsoft.com/office/drawing/2014/main" id="{F9BF72C9-296C-B549-9B01-A928DAB4E8DD}"/>
                  </a:ext>
                </a:extLst>
              </p:cNvPr>
              <p:cNvSpPr/>
              <p:nvPr/>
            </p:nvSpPr>
            <p:spPr>
              <a:xfrm>
                <a:off x="8146960" y="3014053"/>
                <a:ext cx="534276" cy="355680"/>
              </a:xfrm>
              <a:custGeom>
                <a:avLst/>
                <a:gdLst>
                  <a:gd name="connsiteX0" fmla="*/ 13403 w 534276"/>
                  <a:gd name="connsiteY0" fmla="*/ 355464 h 355680"/>
                  <a:gd name="connsiteX1" fmla="*/ 4401 w 534276"/>
                  <a:gd name="connsiteY1" fmla="*/ 351891 h 355680"/>
                  <a:gd name="connsiteX2" fmla="*/ 3533 w 534276"/>
                  <a:gd name="connsiteY2" fmla="*/ 332621 h 355680"/>
                  <a:gd name="connsiteX3" fmla="*/ 515904 w 534276"/>
                  <a:gd name="connsiteY3" fmla="*/ 915 h 355680"/>
                  <a:gd name="connsiteX4" fmla="*/ 533312 w 534276"/>
                  <a:gd name="connsiteY4" fmla="*/ 8569 h 355680"/>
                  <a:gd name="connsiteX5" fmla="*/ 533366 w 534276"/>
                  <a:gd name="connsiteY5" fmla="*/ 8710 h 355680"/>
                  <a:gd name="connsiteX6" fmla="*/ 525665 w 534276"/>
                  <a:gd name="connsiteY6" fmla="*/ 26356 h 355680"/>
                  <a:gd name="connsiteX7" fmla="*/ 23382 w 534276"/>
                  <a:gd name="connsiteY7" fmla="*/ 351134 h 355680"/>
                  <a:gd name="connsiteX8" fmla="*/ 13403 w 534276"/>
                  <a:gd name="connsiteY8" fmla="*/ 355680 h 355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34276" h="355680">
                    <a:moveTo>
                      <a:pt x="13403" y="355464"/>
                    </a:moveTo>
                    <a:cubicBezTo>
                      <a:pt x="10063" y="355442"/>
                      <a:pt x="6852" y="354165"/>
                      <a:pt x="4401" y="351891"/>
                    </a:cubicBezTo>
                    <a:cubicBezTo>
                      <a:pt x="-1108" y="346782"/>
                      <a:pt x="-1499" y="338207"/>
                      <a:pt x="3533" y="332621"/>
                    </a:cubicBezTo>
                    <a:cubicBezTo>
                      <a:pt x="180976" y="133966"/>
                      <a:pt x="502455" y="6220"/>
                      <a:pt x="515904" y="915"/>
                    </a:cubicBezTo>
                    <a:cubicBezTo>
                      <a:pt x="522824" y="-1770"/>
                      <a:pt x="530622" y="1651"/>
                      <a:pt x="533312" y="8569"/>
                    </a:cubicBezTo>
                    <a:cubicBezTo>
                      <a:pt x="533334" y="8613"/>
                      <a:pt x="533345" y="8667"/>
                      <a:pt x="533366" y="8710"/>
                    </a:cubicBezTo>
                    <a:cubicBezTo>
                      <a:pt x="536045" y="15703"/>
                      <a:pt x="532618" y="23552"/>
                      <a:pt x="525665" y="26356"/>
                    </a:cubicBezTo>
                    <a:cubicBezTo>
                      <a:pt x="522411" y="27655"/>
                      <a:pt x="196486" y="157133"/>
                      <a:pt x="23382" y="351134"/>
                    </a:cubicBezTo>
                    <a:cubicBezTo>
                      <a:pt x="20876" y="354035"/>
                      <a:pt x="17232" y="355691"/>
                      <a:pt x="13403" y="355680"/>
                    </a:cubicBezTo>
                  </a:path>
                </a:pathLst>
              </a:custGeom>
              <a:solidFill>
                <a:srgbClr val="231F2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6" name="Freeform 85">
                <a:extLst>
                  <a:ext uri="{FF2B5EF4-FFF2-40B4-BE49-F238E27FC236}">
                    <a16:creationId xmlns:a16="http://schemas.microsoft.com/office/drawing/2014/main" id="{2FAB5A17-9EBA-D242-B9D9-A21AFD56C7E2}"/>
                  </a:ext>
                </a:extLst>
              </p:cNvPr>
              <p:cNvSpPr/>
              <p:nvPr/>
            </p:nvSpPr>
            <p:spPr>
              <a:xfrm>
                <a:off x="8635790" y="2992203"/>
                <a:ext cx="351164" cy="547930"/>
              </a:xfrm>
              <a:custGeom>
                <a:avLst/>
                <a:gdLst>
                  <a:gd name="connsiteX0" fmla="*/ 337706 w 351164"/>
                  <a:gd name="connsiteY0" fmla="*/ 547931 h 547930"/>
                  <a:gd name="connsiteX1" fmla="*/ 324908 w 351164"/>
                  <a:gd name="connsiteY1" fmla="*/ 538513 h 547930"/>
                  <a:gd name="connsiteX2" fmla="*/ 3429 w 351164"/>
                  <a:gd name="connsiteY2" fmla="*/ 22658 h 547930"/>
                  <a:gd name="connsiteX3" fmla="*/ 4514 w 351164"/>
                  <a:gd name="connsiteY3" fmla="*/ 3496 h 547930"/>
                  <a:gd name="connsiteX4" fmla="*/ 23212 w 351164"/>
                  <a:gd name="connsiteY4" fmla="*/ 4265 h 547930"/>
                  <a:gd name="connsiteX5" fmla="*/ 23494 w 351164"/>
                  <a:gd name="connsiteY5" fmla="*/ 4578 h 547930"/>
                  <a:gd name="connsiteX6" fmla="*/ 158203 w 351164"/>
                  <a:gd name="connsiteY6" fmla="*/ 176927 h 547930"/>
                  <a:gd name="connsiteX7" fmla="*/ 350504 w 351164"/>
                  <a:gd name="connsiteY7" fmla="*/ 530068 h 547930"/>
                  <a:gd name="connsiteX8" fmla="*/ 341828 w 351164"/>
                  <a:gd name="connsiteY8" fmla="*/ 547281 h 547930"/>
                  <a:gd name="connsiteX9" fmla="*/ 337706 w 351164"/>
                  <a:gd name="connsiteY9" fmla="*/ 547931 h 547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51164" h="547930">
                    <a:moveTo>
                      <a:pt x="337706" y="547931"/>
                    </a:moveTo>
                    <a:cubicBezTo>
                      <a:pt x="331838" y="547909"/>
                      <a:pt x="326654" y="544099"/>
                      <a:pt x="324908" y="538513"/>
                    </a:cubicBezTo>
                    <a:cubicBezTo>
                      <a:pt x="251263" y="306513"/>
                      <a:pt x="5924" y="25472"/>
                      <a:pt x="3429" y="22658"/>
                    </a:cubicBezTo>
                    <a:cubicBezTo>
                      <a:pt x="-1538" y="17050"/>
                      <a:pt x="-1050" y="8508"/>
                      <a:pt x="4514" y="3496"/>
                    </a:cubicBezTo>
                    <a:cubicBezTo>
                      <a:pt x="9893" y="-1452"/>
                      <a:pt x="18256" y="-1105"/>
                      <a:pt x="23212" y="4265"/>
                    </a:cubicBezTo>
                    <a:cubicBezTo>
                      <a:pt x="23310" y="4362"/>
                      <a:pt x="23397" y="4470"/>
                      <a:pt x="23494" y="4578"/>
                    </a:cubicBezTo>
                    <a:cubicBezTo>
                      <a:pt x="24037" y="5228"/>
                      <a:pt x="86944" y="77004"/>
                      <a:pt x="158203" y="176927"/>
                    </a:cubicBezTo>
                    <a:cubicBezTo>
                      <a:pt x="224039" y="269488"/>
                      <a:pt x="311024" y="405787"/>
                      <a:pt x="350504" y="530068"/>
                    </a:cubicBezTo>
                    <a:cubicBezTo>
                      <a:pt x="352793" y="537203"/>
                      <a:pt x="348943" y="544867"/>
                      <a:pt x="341828" y="547281"/>
                    </a:cubicBezTo>
                    <a:cubicBezTo>
                      <a:pt x="340494" y="547704"/>
                      <a:pt x="339106" y="547920"/>
                      <a:pt x="337706" y="547931"/>
                    </a:cubicBezTo>
                  </a:path>
                </a:pathLst>
              </a:custGeom>
              <a:solidFill>
                <a:srgbClr val="231F2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7" name="Freeform 86">
                <a:extLst>
                  <a:ext uri="{FF2B5EF4-FFF2-40B4-BE49-F238E27FC236}">
                    <a16:creationId xmlns:a16="http://schemas.microsoft.com/office/drawing/2014/main" id="{0585B406-463C-9243-9AA4-B0DDAD08F4FE}"/>
                  </a:ext>
                </a:extLst>
              </p:cNvPr>
              <p:cNvSpPr/>
              <p:nvPr/>
            </p:nvSpPr>
            <p:spPr>
              <a:xfrm>
                <a:off x="7661282" y="2601618"/>
                <a:ext cx="1173207" cy="262329"/>
              </a:xfrm>
              <a:custGeom>
                <a:avLst/>
                <a:gdLst>
                  <a:gd name="connsiteX0" fmla="*/ 1159718 w 1173207"/>
                  <a:gd name="connsiteY0" fmla="*/ 262330 h 262329"/>
                  <a:gd name="connsiteX1" fmla="*/ 1150065 w 1173207"/>
                  <a:gd name="connsiteY1" fmla="*/ 258324 h 262329"/>
                  <a:gd name="connsiteX2" fmla="*/ 838456 w 1173207"/>
                  <a:gd name="connsiteY2" fmla="*/ 73634 h 262329"/>
                  <a:gd name="connsiteX3" fmla="*/ 20117 w 1173207"/>
                  <a:gd name="connsiteY3" fmla="*/ 183950 h 262329"/>
                  <a:gd name="connsiteX4" fmla="*/ 2004 w 1173207"/>
                  <a:gd name="connsiteY4" fmla="*/ 179252 h 262329"/>
                  <a:gd name="connsiteX5" fmla="*/ 1787 w 1173207"/>
                  <a:gd name="connsiteY5" fmla="*/ 178862 h 262329"/>
                  <a:gd name="connsiteX6" fmla="*/ 6777 w 1173207"/>
                  <a:gd name="connsiteY6" fmla="*/ 160350 h 262329"/>
                  <a:gd name="connsiteX7" fmla="*/ 848218 w 1173207"/>
                  <a:gd name="connsiteY7" fmla="*/ 48193 h 262329"/>
                  <a:gd name="connsiteX8" fmla="*/ 1169263 w 1173207"/>
                  <a:gd name="connsiteY8" fmla="*/ 239162 h 262329"/>
                  <a:gd name="connsiteX9" fmla="*/ 1169263 w 1173207"/>
                  <a:gd name="connsiteY9" fmla="*/ 258432 h 262329"/>
                  <a:gd name="connsiteX10" fmla="*/ 1159935 w 1173207"/>
                  <a:gd name="connsiteY10" fmla="*/ 262330 h 2623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73207" h="262329">
                    <a:moveTo>
                      <a:pt x="1159718" y="262330"/>
                    </a:moveTo>
                    <a:cubicBezTo>
                      <a:pt x="1156096" y="262341"/>
                      <a:pt x="1152614" y="260890"/>
                      <a:pt x="1150065" y="258324"/>
                    </a:cubicBezTo>
                    <a:cubicBezTo>
                      <a:pt x="1060574" y="175289"/>
                      <a:pt x="954325" y="112315"/>
                      <a:pt x="838456" y="73634"/>
                    </a:cubicBezTo>
                    <a:cubicBezTo>
                      <a:pt x="658086" y="12035"/>
                      <a:pt x="369688" y="-18819"/>
                      <a:pt x="20117" y="183950"/>
                    </a:cubicBezTo>
                    <a:cubicBezTo>
                      <a:pt x="13816" y="187642"/>
                      <a:pt x="5703" y="185542"/>
                      <a:pt x="2004" y="179252"/>
                    </a:cubicBezTo>
                    <a:cubicBezTo>
                      <a:pt x="1928" y="179122"/>
                      <a:pt x="1863" y="178992"/>
                      <a:pt x="1787" y="178862"/>
                    </a:cubicBezTo>
                    <a:cubicBezTo>
                      <a:pt x="-1911" y="172366"/>
                      <a:pt x="312" y="164117"/>
                      <a:pt x="6777" y="160350"/>
                    </a:cubicBezTo>
                    <a:cubicBezTo>
                      <a:pt x="365675" y="-47833"/>
                      <a:pt x="662424" y="-15572"/>
                      <a:pt x="848218" y="48193"/>
                    </a:cubicBezTo>
                    <a:cubicBezTo>
                      <a:pt x="1049738" y="117371"/>
                      <a:pt x="1164490" y="234182"/>
                      <a:pt x="1169263" y="239162"/>
                    </a:cubicBezTo>
                    <a:cubicBezTo>
                      <a:pt x="1174523" y="244510"/>
                      <a:pt x="1174523" y="253084"/>
                      <a:pt x="1169263" y="258432"/>
                    </a:cubicBezTo>
                    <a:cubicBezTo>
                      <a:pt x="1166801" y="260922"/>
                      <a:pt x="1163439" y="262330"/>
                      <a:pt x="1159935" y="262330"/>
                    </a:cubicBezTo>
                  </a:path>
                </a:pathLst>
              </a:custGeom>
              <a:solidFill>
                <a:srgbClr val="231F2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8" name="Freeform 87">
                <a:extLst>
                  <a:ext uri="{FF2B5EF4-FFF2-40B4-BE49-F238E27FC236}">
                    <a16:creationId xmlns:a16="http://schemas.microsoft.com/office/drawing/2014/main" id="{F8006204-BF29-9A49-8777-2F8E04BDBDE3}"/>
                  </a:ext>
                </a:extLst>
              </p:cNvPr>
              <p:cNvSpPr/>
              <p:nvPr/>
            </p:nvSpPr>
            <p:spPr>
              <a:xfrm>
                <a:off x="8799976" y="2874896"/>
                <a:ext cx="388833" cy="632760"/>
              </a:xfrm>
              <a:custGeom>
                <a:avLst/>
                <a:gdLst>
                  <a:gd name="connsiteX0" fmla="*/ 375366 w 388833"/>
                  <a:gd name="connsiteY0" fmla="*/ 632760 h 632760"/>
                  <a:gd name="connsiteX1" fmla="*/ 362350 w 388833"/>
                  <a:gd name="connsiteY1" fmla="*/ 621934 h 632760"/>
                  <a:gd name="connsiteX2" fmla="*/ 140873 w 388833"/>
                  <a:gd name="connsiteY2" fmla="*/ 132170 h 632760"/>
                  <a:gd name="connsiteX3" fmla="*/ 8984 w 388833"/>
                  <a:gd name="connsiteY3" fmla="*/ 26509 h 632760"/>
                  <a:gd name="connsiteX4" fmla="*/ 741 w 388833"/>
                  <a:gd name="connsiteY4" fmla="*/ 9079 h 632760"/>
                  <a:gd name="connsiteX5" fmla="*/ 17639 w 388833"/>
                  <a:gd name="connsiteY5" fmla="*/ 700 h 632760"/>
                  <a:gd name="connsiteX6" fmla="*/ 17770 w 388833"/>
                  <a:gd name="connsiteY6" fmla="*/ 743 h 632760"/>
                  <a:gd name="connsiteX7" fmla="*/ 388490 w 388833"/>
                  <a:gd name="connsiteY7" fmla="*/ 615439 h 632760"/>
                  <a:gd name="connsiteX8" fmla="*/ 378511 w 388833"/>
                  <a:gd name="connsiteY8" fmla="*/ 631786 h 632760"/>
                  <a:gd name="connsiteX9" fmla="*/ 375366 w 388833"/>
                  <a:gd name="connsiteY9" fmla="*/ 631786 h 632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88833" h="632760">
                    <a:moveTo>
                      <a:pt x="375366" y="632760"/>
                    </a:moveTo>
                    <a:cubicBezTo>
                      <a:pt x="369010" y="632674"/>
                      <a:pt x="363576" y="628159"/>
                      <a:pt x="362350" y="621934"/>
                    </a:cubicBezTo>
                    <a:cubicBezTo>
                      <a:pt x="300961" y="357457"/>
                      <a:pt x="208010" y="209575"/>
                      <a:pt x="140873" y="132170"/>
                    </a:cubicBezTo>
                    <a:cubicBezTo>
                      <a:pt x="68421" y="48161"/>
                      <a:pt x="10177" y="26509"/>
                      <a:pt x="8984" y="26509"/>
                    </a:cubicBezTo>
                    <a:cubicBezTo>
                      <a:pt x="1978" y="23867"/>
                      <a:pt x="-1667" y="16160"/>
                      <a:pt x="741" y="9079"/>
                    </a:cubicBezTo>
                    <a:cubicBezTo>
                      <a:pt x="3084" y="2107"/>
                      <a:pt x="10655" y="-1649"/>
                      <a:pt x="17639" y="700"/>
                    </a:cubicBezTo>
                    <a:cubicBezTo>
                      <a:pt x="17683" y="711"/>
                      <a:pt x="17726" y="733"/>
                      <a:pt x="17770" y="743"/>
                    </a:cubicBezTo>
                    <a:cubicBezTo>
                      <a:pt x="27965" y="4208"/>
                      <a:pt x="267230" y="93413"/>
                      <a:pt x="388490" y="615439"/>
                    </a:cubicBezTo>
                    <a:cubicBezTo>
                      <a:pt x="390138" y="622681"/>
                      <a:pt x="385713" y="629924"/>
                      <a:pt x="378511" y="631786"/>
                    </a:cubicBezTo>
                    <a:cubicBezTo>
                      <a:pt x="377470" y="631894"/>
                      <a:pt x="376407" y="631894"/>
                      <a:pt x="375366" y="631786"/>
                    </a:cubicBezTo>
                  </a:path>
                </a:pathLst>
              </a:custGeom>
              <a:solidFill>
                <a:srgbClr val="231F2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9" name="Freeform 88">
                <a:extLst>
                  <a:ext uri="{FF2B5EF4-FFF2-40B4-BE49-F238E27FC236}">
                    <a16:creationId xmlns:a16="http://schemas.microsoft.com/office/drawing/2014/main" id="{8EFA2316-F561-EB45-8D03-33A8802229EC}"/>
                  </a:ext>
                </a:extLst>
              </p:cNvPr>
              <p:cNvSpPr/>
              <p:nvPr/>
            </p:nvSpPr>
            <p:spPr>
              <a:xfrm>
                <a:off x="7518032" y="2777542"/>
                <a:ext cx="1271146" cy="293180"/>
              </a:xfrm>
              <a:custGeom>
                <a:avLst/>
                <a:gdLst>
                  <a:gd name="connsiteX0" fmla="*/ 13474 w 1271146"/>
                  <a:gd name="connsiteY0" fmla="*/ 293181 h 293180"/>
                  <a:gd name="connsiteX1" fmla="*/ 3387 w 1271146"/>
                  <a:gd name="connsiteY1" fmla="*/ 288526 h 293180"/>
                  <a:gd name="connsiteX2" fmla="*/ 4580 w 1271146"/>
                  <a:gd name="connsiteY2" fmla="*/ 269255 h 293180"/>
                  <a:gd name="connsiteX3" fmla="*/ 843201 w 1271146"/>
                  <a:gd name="connsiteY3" fmla="*/ 5644 h 293180"/>
                  <a:gd name="connsiteX4" fmla="*/ 1263488 w 1271146"/>
                  <a:gd name="connsiteY4" fmla="*/ 113903 h 293180"/>
                  <a:gd name="connsiteX5" fmla="*/ 1269779 w 1271146"/>
                  <a:gd name="connsiteY5" fmla="*/ 132091 h 293180"/>
                  <a:gd name="connsiteX6" fmla="*/ 1252263 w 1271146"/>
                  <a:gd name="connsiteY6" fmla="*/ 138651 h 293180"/>
                  <a:gd name="connsiteX7" fmla="*/ 1251883 w 1271146"/>
                  <a:gd name="connsiteY7" fmla="*/ 138478 h 293180"/>
                  <a:gd name="connsiteX8" fmla="*/ 839731 w 1271146"/>
                  <a:gd name="connsiteY8" fmla="*/ 32493 h 293180"/>
                  <a:gd name="connsiteX9" fmla="*/ 22151 w 1271146"/>
                  <a:gd name="connsiteY9" fmla="*/ 289608 h 293180"/>
                  <a:gd name="connsiteX10" fmla="*/ 13366 w 1271146"/>
                  <a:gd name="connsiteY10" fmla="*/ 292964 h 293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71146" h="293180">
                    <a:moveTo>
                      <a:pt x="13474" y="293181"/>
                    </a:moveTo>
                    <a:cubicBezTo>
                      <a:pt x="9591" y="293181"/>
                      <a:pt x="5903" y="291481"/>
                      <a:pt x="3387" y="288526"/>
                    </a:cubicBezTo>
                    <a:cubicBezTo>
                      <a:pt x="-1559" y="282853"/>
                      <a:pt x="-1027" y="274268"/>
                      <a:pt x="4580" y="269255"/>
                    </a:cubicBezTo>
                    <a:cubicBezTo>
                      <a:pt x="292545" y="12898"/>
                      <a:pt x="619663" y="-15575"/>
                      <a:pt x="843201" y="5644"/>
                    </a:cubicBezTo>
                    <a:cubicBezTo>
                      <a:pt x="988214" y="18971"/>
                      <a:pt x="1130125" y="55519"/>
                      <a:pt x="1263488" y="113903"/>
                    </a:cubicBezTo>
                    <a:cubicBezTo>
                      <a:pt x="1270245" y="117205"/>
                      <a:pt x="1273055" y="125336"/>
                      <a:pt x="1269779" y="132091"/>
                    </a:cubicBezTo>
                    <a:cubicBezTo>
                      <a:pt x="1266753" y="138738"/>
                      <a:pt x="1258911" y="141672"/>
                      <a:pt x="1252263" y="138651"/>
                    </a:cubicBezTo>
                    <a:cubicBezTo>
                      <a:pt x="1252132" y="138597"/>
                      <a:pt x="1252002" y="138543"/>
                      <a:pt x="1251883" y="138478"/>
                    </a:cubicBezTo>
                    <a:cubicBezTo>
                      <a:pt x="1121090" y="81285"/>
                      <a:pt x="981923" y="45505"/>
                      <a:pt x="839731" y="32493"/>
                    </a:cubicBezTo>
                    <a:cubicBezTo>
                      <a:pt x="621615" y="11923"/>
                      <a:pt x="302631" y="39854"/>
                      <a:pt x="22151" y="289608"/>
                    </a:cubicBezTo>
                    <a:cubicBezTo>
                      <a:pt x="19754" y="291795"/>
                      <a:pt x="16609" y="292986"/>
                      <a:pt x="13366" y="292964"/>
                    </a:cubicBezTo>
                  </a:path>
                </a:pathLst>
              </a:custGeom>
              <a:solidFill>
                <a:srgbClr val="231F2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0" name="Freeform 89">
                <a:extLst>
                  <a:ext uri="{FF2B5EF4-FFF2-40B4-BE49-F238E27FC236}">
                    <a16:creationId xmlns:a16="http://schemas.microsoft.com/office/drawing/2014/main" id="{8D2CFAB2-4449-8A4F-AEF8-E3EBB0A13628}"/>
                  </a:ext>
                </a:extLst>
              </p:cNvPr>
              <p:cNvSpPr/>
              <p:nvPr/>
            </p:nvSpPr>
            <p:spPr>
              <a:xfrm>
                <a:off x="9298792" y="1790853"/>
                <a:ext cx="490293" cy="588972"/>
              </a:xfrm>
              <a:custGeom>
                <a:avLst/>
                <a:gdLst>
                  <a:gd name="connsiteX0" fmla="*/ 327857 w 490293"/>
                  <a:gd name="connsiteY0" fmla="*/ 207671 h 588972"/>
                  <a:gd name="connsiteX1" fmla="*/ 253344 w 490293"/>
                  <a:gd name="connsiteY1" fmla="*/ 164367 h 588972"/>
                  <a:gd name="connsiteX2" fmla="*/ 323627 w 490293"/>
                  <a:gd name="connsiteY2" fmla="*/ 40735 h 588972"/>
                  <a:gd name="connsiteX3" fmla="*/ 352261 w 490293"/>
                  <a:gd name="connsiteY3" fmla="*/ 23197 h 588972"/>
                  <a:gd name="connsiteX4" fmla="*/ 389788 w 490293"/>
                  <a:gd name="connsiteY4" fmla="*/ 37271 h 588972"/>
                  <a:gd name="connsiteX5" fmla="*/ 402153 w 490293"/>
                  <a:gd name="connsiteY5" fmla="*/ 73321 h 588972"/>
                  <a:gd name="connsiteX6" fmla="*/ 398140 w 490293"/>
                  <a:gd name="connsiteY6" fmla="*/ 84147 h 588972"/>
                  <a:gd name="connsiteX7" fmla="*/ 314516 w 490293"/>
                  <a:gd name="connsiteY7" fmla="*/ 231055 h 588972"/>
                  <a:gd name="connsiteX8" fmla="*/ 313540 w 490293"/>
                  <a:gd name="connsiteY8" fmla="*/ 232787 h 588972"/>
                  <a:gd name="connsiteX9" fmla="*/ 217769 w 490293"/>
                  <a:gd name="connsiteY9" fmla="*/ 401454 h 588972"/>
                  <a:gd name="connsiteX10" fmla="*/ 143256 w 490293"/>
                  <a:gd name="connsiteY10" fmla="*/ 358151 h 588972"/>
                  <a:gd name="connsiteX11" fmla="*/ 215816 w 490293"/>
                  <a:gd name="connsiteY11" fmla="*/ 230405 h 588972"/>
                  <a:gd name="connsiteX12" fmla="*/ 215816 w 490293"/>
                  <a:gd name="connsiteY12" fmla="*/ 230405 h 588972"/>
                  <a:gd name="connsiteX13" fmla="*/ 241305 w 490293"/>
                  <a:gd name="connsiteY13" fmla="*/ 185477 h 588972"/>
                  <a:gd name="connsiteX14" fmla="*/ 315817 w 490293"/>
                  <a:gd name="connsiteY14" fmla="*/ 228781 h 588972"/>
                  <a:gd name="connsiteX15" fmla="*/ 150631 w 490293"/>
                  <a:gd name="connsiteY15" fmla="*/ 446598 h 588972"/>
                  <a:gd name="connsiteX16" fmla="*/ 150631 w 490293"/>
                  <a:gd name="connsiteY16" fmla="*/ 446598 h 588972"/>
                  <a:gd name="connsiteX17" fmla="*/ 142714 w 490293"/>
                  <a:gd name="connsiteY17" fmla="*/ 446598 h 588972"/>
                  <a:gd name="connsiteX18" fmla="*/ 142714 w 490293"/>
                  <a:gd name="connsiteY18" fmla="*/ 446598 h 588972"/>
                  <a:gd name="connsiteX19" fmla="*/ 141846 w 490293"/>
                  <a:gd name="connsiteY19" fmla="*/ 446057 h 588972"/>
                  <a:gd name="connsiteX20" fmla="*/ 138484 w 490293"/>
                  <a:gd name="connsiteY20" fmla="*/ 439020 h 588972"/>
                  <a:gd name="connsiteX21" fmla="*/ 138484 w 490293"/>
                  <a:gd name="connsiteY21" fmla="*/ 439020 h 588972"/>
                  <a:gd name="connsiteX22" fmla="*/ 140327 w 490293"/>
                  <a:gd name="connsiteY22" fmla="*/ 388355 h 588972"/>
                  <a:gd name="connsiteX23" fmla="*/ 193582 w 490293"/>
                  <a:gd name="connsiteY23" fmla="*/ 419534 h 588972"/>
                  <a:gd name="connsiteX24" fmla="*/ 120587 w 490293"/>
                  <a:gd name="connsiteY24" fmla="*/ 350139 h 588972"/>
                  <a:gd name="connsiteX25" fmla="*/ 120587 w 490293"/>
                  <a:gd name="connsiteY25" fmla="*/ 350139 h 588972"/>
                  <a:gd name="connsiteX26" fmla="*/ 118201 w 490293"/>
                  <a:gd name="connsiteY26" fmla="*/ 356094 h 588972"/>
                  <a:gd name="connsiteX27" fmla="*/ 118201 w 490293"/>
                  <a:gd name="connsiteY27" fmla="*/ 356094 h 588972"/>
                  <a:gd name="connsiteX28" fmla="*/ 117551 w 490293"/>
                  <a:gd name="connsiteY28" fmla="*/ 360965 h 588972"/>
                  <a:gd name="connsiteX29" fmla="*/ 117551 w 490293"/>
                  <a:gd name="connsiteY29" fmla="*/ 360965 h 588972"/>
                  <a:gd name="connsiteX30" fmla="*/ 114839 w 490293"/>
                  <a:gd name="connsiteY30" fmla="*/ 437938 h 588972"/>
                  <a:gd name="connsiteX31" fmla="*/ 114839 w 490293"/>
                  <a:gd name="connsiteY31" fmla="*/ 437938 h 588972"/>
                  <a:gd name="connsiteX32" fmla="*/ 121347 w 490293"/>
                  <a:gd name="connsiteY32" fmla="*/ 458723 h 588972"/>
                  <a:gd name="connsiteX33" fmla="*/ 113321 w 490293"/>
                  <a:gd name="connsiteY33" fmla="*/ 472148 h 588972"/>
                  <a:gd name="connsiteX34" fmla="*/ 112128 w 490293"/>
                  <a:gd name="connsiteY34" fmla="*/ 475504 h 588972"/>
                  <a:gd name="connsiteX35" fmla="*/ 81216 w 490293"/>
                  <a:gd name="connsiteY35" fmla="*/ 466843 h 588972"/>
                  <a:gd name="connsiteX36" fmla="*/ 67658 w 490293"/>
                  <a:gd name="connsiteY36" fmla="*/ 468358 h 588972"/>
                  <a:gd name="connsiteX37" fmla="*/ 27202 w 490293"/>
                  <a:gd name="connsiteY37" fmla="*/ 390953 h 588972"/>
                  <a:gd name="connsiteX38" fmla="*/ 66682 w 490293"/>
                  <a:gd name="connsiteY38" fmla="*/ 267213 h 588972"/>
                  <a:gd name="connsiteX39" fmla="*/ 185990 w 490293"/>
                  <a:gd name="connsiteY39" fmla="*/ 234735 h 588972"/>
                  <a:gd name="connsiteX40" fmla="*/ 483065 w 490293"/>
                  <a:gd name="connsiteY40" fmla="*/ 144447 h 588972"/>
                  <a:gd name="connsiteX41" fmla="*/ 481763 w 490293"/>
                  <a:gd name="connsiteY41" fmla="*/ 138926 h 588972"/>
                  <a:gd name="connsiteX42" fmla="*/ 474496 w 490293"/>
                  <a:gd name="connsiteY42" fmla="*/ 111969 h 588972"/>
                  <a:gd name="connsiteX43" fmla="*/ 469724 w 490293"/>
                  <a:gd name="connsiteY43" fmla="*/ 95298 h 588972"/>
                  <a:gd name="connsiteX44" fmla="*/ 455493 w 490293"/>
                  <a:gd name="connsiteY44" fmla="*/ 86832 h 588972"/>
                  <a:gd name="connsiteX45" fmla="*/ 455407 w 490293"/>
                  <a:gd name="connsiteY45" fmla="*/ 86853 h 588972"/>
                  <a:gd name="connsiteX46" fmla="*/ 447164 w 490293"/>
                  <a:gd name="connsiteY46" fmla="*/ 101468 h 588972"/>
                  <a:gd name="connsiteX47" fmla="*/ 451936 w 490293"/>
                  <a:gd name="connsiteY47" fmla="*/ 118573 h 588972"/>
                  <a:gd name="connsiteX48" fmla="*/ 458986 w 490293"/>
                  <a:gd name="connsiteY48" fmla="*/ 144555 h 588972"/>
                  <a:gd name="connsiteX49" fmla="*/ 460288 w 490293"/>
                  <a:gd name="connsiteY49" fmla="*/ 150077 h 588972"/>
                  <a:gd name="connsiteX50" fmla="*/ 464192 w 490293"/>
                  <a:gd name="connsiteY50" fmla="*/ 215032 h 588972"/>
                  <a:gd name="connsiteX51" fmla="*/ 415277 w 490293"/>
                  <a:gd name="connsiteY51" fmla="*/ 234952 h 588972"/>
                  <a:gd name="connsiteX52" fmla="*/ 343041 w 490293"/>
                  <a:gd name="connsiteY52" fmla="*/ 229431 h 588972"/>
                  <a:gd name="connsiteX53" fmla="*/ 418964 w 490293"/>
                  <a:gd name="connsiteY53" fmla="*/ 96488 h 588972"/>
                  <a:gd name="connsiteX54" fmla="*/ 418964 w 490293"/>
                  <a:gd name="connsiteY54" fmla="*/ 96488 h 588972"/>
                  <a:gd name="connsiteX55" fmla="*/ 418964 w 490293"/>
                  <a:gd name="connsiteY55" fmla="*/ 96488 h 588972"/>
                  <a:gd name="connsiteX56" fmla="*/ 425363 w 490293"/>
                  <a:gd name="connsiteY56" fmla="*/ 78409 h 588972"/>
                  <a:gd name="connsiteX57" fmla="*/ 407033 w 490293"/>
                  <a:gd name="connsiteY57" fmla="*/ 21898 h 588972"/>
                  <a:gd name="connsiteX58" fmla="*/ 350091 w 490293"/>
                  <a:gd name="connsiteY58" fmla="*/ 246 h 588972"/>
                  <a:gd name="connsiteX59" fmla="*/ 303995 w 490293"/>
                  <a:gd name="connsiteY59" fmla="*/ 28718 h 588972"/>
                  <a:gd name="connsiteX60" fmla="*/ 303995 w 490293"/>
                  <a:gd name="connsiteY60" fmla="*/ 28718 h 588972"/>
                  <a:gd name="connsiteX61" fmla="*/ 289461 w 490293"/>
                  <a:gd name="connsiteY61" fmla="*/ 54267 h 588972"/>
                  <a:gd name="connsiteX62" fmla="*/ 279592 w 490293"/>
                  <a:gd name="connsiteY62" fmla="*/ 48421 h 588972"/>
                  <a:gd name="connsiteX63" fmla="*/ 293366 w 490293"/>
                  <a:gd name="connsiteY63" fmla="*/ 24171 h 588972"/>
                  <a:gd name="connsiteX64" fmla="*/ 289136 w 490293"/>
                  <a:gd name="connsiteY64" fmla="*/ 7932 h 588972"/>
                  <a:gd name="connsiteX65" fmla="*/ 273127 w 490293"/>
                  <a:gd name="connsiteY65" fmla="*/ 12186 h 588972"/>
                  <a:gd name="connsiteX66" fmla="*/ 273084 w 490293"/>
                  <a:gd name="connsiteY66" fmla="*/ 12263 h 588972"/>
                  <a:gd name="connsiteX67" fmla="*/ 253669 w 490293"/>
                  <a:gd name="connsiteY67" fmla="*/ 46581 h 588972"/>
                  <a:gd name="connsiteX68" fmla="*/ 253669 w 490293"/>
                  <a:gd name="connsiteY68" fmla="*/ 46581 h 588972"/>
                  <a:gd name="connsiteX69" fmla="*/ 253669 w 490293"/>
                  <a:gd name="connsiteY69" fmla="*/ 46581 h 588972"/>
                  <a:gd name="connsiteX70" fmla="*/ 177747 w 490293"/>
                  <a:gd name="connsiteY70" fmla="*/ 179415 h 588972"/>
                  <a:gd name="connsiteX71" fmla="*/ 182085 w 490293"/>
                  <a:gd name="connsiteY71" fmla="*/ 195654 h 588972"/>
                  <a:gd name="connsiteX72" fmla="*/ 187942 w 490293"/>
                  <a:gd name="connsiteY72" fmla="*/ 197278 h 588972"/>
                  <a:gd name="connsiteX73" fmla="*/ 198029 w 490293"/>
                  <a:gd name="connsiteY73" fmla="*/ 191323 h 588972"/>
                  <a:gd name="connsiteX74" fmla="*/ 267769 w 490293"/>
                  <a:gd name="connsiteY74" fmla="*/ 68449 h 588972"/>
                  <a:gd name="connsiteX75" fmla="*/ 277747 w 490293"/>
                  <a:gd name="connsiteY75" fmla="*/ 74187 h 588972"/>
                  <a:gd name="connsiteX76" fmla="*/ 199222 w 490293"/>
                  <a:gd name="connsiteY76" fmla="*/ 212001 h 588972"/>
                  <a:gd name="connsiteX77" fmla="*/ 126119 w 490293"/>
                  <a:gd name="connsiteY77" fmla="*/ 215573 h 588972"/>
                  <a:gd name="connsiteX78" fmla="*/ 50196 w 490293"/>
                  <a:gd name="connsiteY78" fmla="*/ 250541 h 588972"/>
                  <a:gd name="connsiteX79" fmla="*/ 7897 w 490293"/>
                  <a:gd name="connsiteY79" fmla="*/ 317554 h 588972"/>
                  <a:gd name="connsiteX80" fmla="*/ 4100 w 490293"/>
                  <a:gd name="connsiteY80" fmla="*/ 397665 h 588972"/>
                  <a:gd name="connsiteX81" fmla="*/ 45532 w 490293"/>
                  <a:gd name="connsiteY81" fmla="*/ 478968 h 588972"/>
                  <a:gd name="connsiteX82" fmla="*/ 20152 w 490293"/>
                  <a:gd name="connsiteY82" fmla="*/ 528984 h 588972"/>
                  <a:gd name="connsiteX83" fmla="*/ 81303 w 490293"/>
                  <a:gd name="connsiteY83" fmla="*/ 588970 h 588972"/>
                  <a:gd name="connsiteX84" fmla="*/ 141412 w 490293"/>
                  <a:gd name="connsiteY84" fmla="*/ 527934 h 588972"/>
                  <a:gd name="connsiteX85" fmla="*/ 127420 w 490293"/>
                  <a:gd name="connsiteY85" fmla="*/ 489794 h 588972"/>
                  <a:gd name="connsiteX86" fmla="*/ 132843 w 490293"/>
                  <a:gd name="connsiteY86" fmla="*/ 485139 h 588972"/>
                  <a:gd name="connsiteX87" fmla="*/ 140978 w 490293"/>
                  <a:gd name="connsiteY87" fmla="*/ 471498 h 588972"/>
                  <a:gd name="connsiteX88" fmla="*/ 145967 w 490293"/>
                  <a:gd name="connsiteY88" fmla="*/ 471498 h 588972"/>
                  <a:gd name="connsiteX89" fmla="*/ 162454 w 490293"/>
                  <a:gd name="connsiteY89" fmla="*/ 466735 h 588972"/>
                  <a:gd name="connsiteX90" fmla="*/ 162454 w 490293"/>
                  <a:gd name="connsiteY90" fmla="*/ 466735 h 588972"/>
                  <a:gd name="connsiteX91" fmla="*/ 226988 w 490293"/>
                  <a:gd name="connsiteY91" fmla="*/ 425921 h 588972"/>
                  <a:gd name="connsiteX92" fmla="*/ 226988 w 490293"/>
                  <a:gd name="connsiteY92" fmla="*/ 425921 h 588972"/>
                  <a:gd name="connsiteX93" fmla="*/ 235014 w 490293"/>
                  <a:gd name="connsiteY93" fmla="*/ 417368 h 588972"/>
                  <a:gd name="connsiteX94" fmla="*/ 235014 w 490293"/>
                  <a:gd name="connsiteY94" fmla="*/ 417368 h 588972"/>
                  <a:gd name="connsiteX95" fmla="*/ 329809 w 490293"/>
                  <a:gd name="connsiteY95" fmla="*/ 250649 h 588972"/>
                  <a:gd name="connsiteX96" fmla="*/ 331111 w 490293"/>
                  <a:gd name="connsiteY96" fmla="*/ 250649 h 588972"/>
                  <a:gd name="connsiteX97" fmla="*/ 334581 w 490293"/>
                  <a:gd name="connsiteY97" fmla="*/ 250649 h 588972"/>
                  <a:gd name="connsiteX98" fmla="*/ 407467 w 490293"/>
                  <a:gd name="connsiteY98" fmla="*/ 257145 h 588972"/>
                  <a:gd name="connsiteX99" fmla="*/ 415277 w 490293"/>
                  <a:gd name="connsiteY99" fmla="*/ 257145 h 588972"/>
                  <a:gd name="connsiteX100" fmla="*/ 485233 w 490293"/>
                  <a:gd name="connsiteY100" fmla="*/ 222285 h 588972"/>
                  <a:gd name="connsiteX101" fmla="*/ 482414 w 490293"/>
                  <a:gd name="connsiteY101" fmla="*/ 143473 h 5889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</a:cxnLst>
                <a:rect l="l" t="t" r="r" b="b"/>
                <a:pathLst>
                  <a:path w="490293" h="588972">
                    <a:moveTo>
                      <a:pt x="327857" y="207671"/>
                    </a:moveTo>
                    <a:lnTo>
                      <a:pt x="253344" y="164367"/>
                    </a:lnTo>
                    <a:lnTo>
                      <a:pt x="323627" y="40735"/>
                    </a:lnTo>
                    <a:cubicBezTo>
                      <a:pt x="329993" y="30829"/>
                      <a:pt x="340535" y="24377"/>
                      <a:pt x="352261" y="23197"/>
                    </a:cubicBezTo>
                    <a:cubicBezTo>
                      <a:pt x="366252" y="22039"/>
                      <a:pt x="380027" y="27203"/>
                      <a:pt x="389788" y="37271"/>
                    </a:cubicBezTo>
                    <a:cubicBezTo>
                      <a:pt x="399061" y="46862"/>
                      <a:pt x="403595" y="60070"/>
                      <a:pt x="402153" y="73321"/>
                    </a:cubicBezTo>
                    <a:cubicBezTo>
                      <a:pt x="401361" y="77110"/>
                      <a:pt x="400005" y="80758"/>
                      <a:pt x="398140" y="84147"/>
                    </a:cubicBezTo>
                    <a:close/>
                    <a:moveTo>
                      <a:pt x="314516" y="231055"/>
                    </a:moveTo>
                    <a:lnTo>
                      <a:pt x="313540" y="232787"/>
                    </a:lnTo>
                    <a:lnTo>
                      <a:pt x="217769" y="401454"/>
                    </a:lnTo>
                    <a:cubicBezTo>
                      <a:pt x="188473" y="396561"/>
                      <a:pt x="161976" y="381167"/>
                      <a:pt x="143256" y="358151"/>
                    </a:cubicBezTo>
                    <a:lnTo>
                      <a:pt x="215816" y="230405"/>
                    </a:lnTo>
                    <a:lnTo>
                      <a:pt x="215816" y="230405"/>
                    </a:lnTo>
                    <a:lnTo>
                      <a:pt x="241305" y="185477"/>
                    </a:lnTo>
                    <a:lnTo>
                      <a:pt x="315817" y="228781"/>
                    </a:lnTo>
                    <a:close/>
                    <a:moveTo>
                      <a:pt x="150631" y="446598"/>
                    </a:moveTo>
                    <a:lnTo>
                      <a:pt x="150631" y="446598"/>
                    </a:lnTo>
                    <a:cubicBezTo>
                      <a:pt x="148169" y="447952"/>
                      <a:pt x="145176" y="447952"/>
                      <a:pt x="142714" y="446598"/>
                    </a:cubicBezTo>
                    <a:lnTo>
                      <a:pt x="142714" y="446598"/>
                    </a:lnTo>
                    <a:lnTo>
                      <a:pt x="141846" y="446057"/>
                    </a:lnTo>
                    <a:cubicBezTo>
                      <a:pt x="139568" y="444466"/>
                      <a:pt x="138288" y="441792"/>
                      <a:pt x="138484" y="439020"/>
                    </a:cubicBezTo>
                    <a:lnTo>
                      <a:pt x="138484" y="439020"/>
                    </a:lnTo>
                    <a:lnTo>
                      <a:pt x="140327" y="388355"/>
                    </a:lnTo>
                    <a:cubicBezTo>
                      <a:pt x="155653" y="402418"/>
                      <a:pt x="173810" y="413049"/>
                      <a:pt x="193582" y="419534"/>
                    </a:cubicBezTo>
                    <a:close/>
                    <a:moveTo>
                      <a:pt x="120587" y="350139"/>
                    </a:moveTo>
                    <a:lnTo>
                      <a:pt x="120587" y="350139"/>
                    </a:lnTo>
                    <a:cubicBezTo>
                      <a:pt x="119525" y="352002"/>
                      <a:pt x="118722" y="354015"/>
                      <a:pt x="118201" y="356094"/>
                    </a:cubicBezTo>
                    <a:cubicBezTo>
                      <a:pt x="118201" y="356094"/>
                      <a:pt x="118201" y="356094"/>
                      <a:pt x="118201" y="356094"/>
                    </a:cubicBezTo>
                    <a:cubicBezTo>
                      <a:pt x="117811" y="357685"/>
                      <a:pt x="117594" y="359320"/>
                      <a:pt x="117551" y="360965"/>
                    </a:cubicBezTo>
                    <a:lnTo>
                      <a:pt x="117551" y="360965"/>
                    </a:lnTo>
                    <a:lnTo>
                      <a:pt x="114839" y="437938"/>
                    </a:lnTo>
                    <a:lnTo>
                      <a:pt x="114839" y="437938"/>
                    </a:lnTo>
                    <a:cubicBezTo>
                      <a:pt x="114546" y="445408"/>
                      <a:pt x="116846" y="452748"/>
                      <a:pt x="121347" y="458723"/>
                    </a:cubicBezTo>
                    <a:lnTo>
                      <a:pt x="113321" y="472148"/>
                    </a:lnTo>
                    <a:cubicBezTo>
                      <a:pt x="112713" y="473187"/>
                      <a:pt x="112312" y="474324"/>
                      <a:pt x="112128" y="475504"/>
                    </a:cubicBezTo>
                    <a:cubicBezTo>
                      <a:pt x="102821" y="469831"/>
                      <a:pt x="92128" y="466832"/>
                      <a:pt x="81216" y="466843"/>
                    </a:cubicBezTo>
                    <a:cubicBezTo>
                      <a:pt x="76661" y="466854"/>
                      <a:pt x="72106" y="467363"/>
                      <a:pt x="67658" y="468358"/>
                    </a:cubicBezTo>
                    <a:cubicBezTo>
                      <a:pt x="49730" y="445126"/>
                      <a:pt x="36031" y="418927"/>
                      <a:pt x="27202" y="390953"/>
                    </a:cubicBezTo>
                    <a:cubicBezTo>
                      <a:pt x="16356" y="349815"/>
                      <a:pt x="32300" y="300124"/>
                      <a:pt x="66682" y="267213"/>
                    </a:cubicBezTo>
                    <a:cubicBezTo>
                      <a:pt x="96401" y="238849"/>
                      <a:pt x="140762" y="234735"/>
                      <a:pt x="185990" y="234735"/>
                    </a:cubicBezTo>
                    <a:close/>
                    <a:moveTo>
                      <a:pt x="483065" y="144447"/>
                    </a:moveTo>
                    <a:cubicBezTo>
                      <a:pt x="483065" y="142499"/>
                      <a:pt x="482088" y="140766"/>
                      <a:pt x="481763" y="138926"/>
                    </a:cubicBezTo>
                    <a:cubicBezTo>
                      <a:pt x="479485" y="129724"/>
                      <a:pt x="476882" y="120738"/>
                      <a:pt x="474496" y="111969"/>
                    </a:cubicBezTo>
                    <a:cubicBezTo>
                      <a:pt x="472869" y="106557"/>
                      <a:pt x="471242" y="101144"/>
                      <a:pt x="469724" y="95298"/>
                    </a:cubicBezTo>
                    <a:cubicBezTo>
                      <a:pt x="468140" y="89040"/>
                      <a:pt x="461762" y="85251"/>
                      <a:pt x="455493" y="86832"/>
                    </a:cubicBezTo>
                    <a:cubicBezTo>
                      <a:pt x="455461" y="86843"/>
                      <a:pt x="455440" y="86843"/>
                      <a:pt x="455407" y="86853"/>
                    </a:cubicBezTo>
                    <a:cubicBezTo>
                      <a:pt x="449149" y="88694"/>
                      <a:pt x="445483" y="95168"/>
                      <a:pt x="447164" y="101468"/>
                    </a:cubicBezTo>
                    <a:cubicBezTo>
                      <a:pt x="448682" y="107206"/>
                      <a:pt x="450418" y="113052"/>
                      <a:pt x="451936" y="118573"/>
                    </a:cubicBezTo>
                    <a:cubicBezTo>
                      <a:pt x="454539" y="127451"/>
                      <a:pt x="456925" y="135895"/>
                      <a:pt x="458986" y="144555"/>
                    </a:cubicBezTo>
                    <a:lnTo>
                      <a:pt x="460288" y="150077"/>
                    </a:lnTo>
                    <a:cubicBezTo>
                      <a:pt x="465602" y="171728"/>
                      <a:pt x="471134" y="196087"/>
                      <a:pt x="464192" y="215032"/>
                    </a:cubicBezTo>
                    <a:cubicBezTo>
                      <a:pt x="459312" y="227482"/>
                      <a:pt x="442500" y="234194"/>
                      <a:pt x="415277" y="234952"/>
                    </a:cubicBezTo>
                    <a:cubicBezTo>
                      <a:pt x="391089" y="235071"/>
                      <a:pt x="366925" y="233230"/>
                      <a:pt x="343041" y="229431"/>
                    </a:cubicBezTo>
                    <a:lnTo>
                      <a:pt x="418964" y="96488"/>
                    </a:lnTo>
                    <a:lnTo>
                      <a:pt x="418964" y="96488"/>
                    </a:lnTo>
                    <a:lnTo>
                      <a:pt x="418964" y="96488"/>
                    </a:lnTo>
                    <a:cubicBezTo>
                      <a:pt x="422001" y="90816"/>
                      <a:pt x="424159" y="84721"/>
                      <a:pt x="425363" y="78409"/>
                    </a:cubicBezTo>
                    <a:cubicBezTo>
                      <a:pt x="428096" y="57775"/>
                      <a:pt x="421361" y="37022"/>
                      <a:pt x="407033" y="21898"/>
                    </a:cubicBezTo>
                    <a:cubicBezTo>
                      <a:pt x="392326" y="6430"/>
                      <a:pt x="371382" y="-1536"/>
                      <a:pt x="350091" y="246"/>
                    </a:cubicBezTo>
                    <a:cubicBezTo>
                      <a:pt x="331186" y="2242"/>
                      <a:pt x="314223" y="12722"/>
                      <a:pt x="303995" y="28718"/>
                    </a:cubicBezTo>
                    <a:lnTo>
                      <a:pt x="303995" y="28718"/>
                    </a:lnTo>
                    <a:lnTo>
                      <a:pt x="289461" y="54267"/>
                    </a:lnTo>
                    <a:lnTo>
                      <a:pt x="279592" y="48421"/>
                    </a:lnTo>
                    <a:lnTo>
                      <a:pt x="293366" y="24171"/>
                    </a:lnTo>
                    <a:cubicBezTo>
                      <a:pt x="296598" y="18509"/>
                      <a:pt x="294722" y="11305"/>
                      <a:pt x="289136" y="7932"/>
                    </a:cubicBezTo>
                    <a:cubicBezTo>
                      <a:pt x="283539" y="4694"/>
                      <a:pt x="276370" y="6600"/>
                      <a:pt x="273127" y="12186"/>
                    </a:cubicBezTo>
                    <a:cubicBezTo>
                      <a:pt x="273116" y="12212"/>
                      <a:pt x="273095" y="12237"/>
                      <a:pt x="273084" y="12263"/>
                    </a:cubicBezTo>
                    <a:lnTo>
                      <a:pt x="253669" y="46581"/>
                    </a:lnTo>
                    <a:lnTo>
                      <a:pt x="253669" y="46581"/>
                    </a:lnTo>
                    <a:lnTo>
                      <a:pt x="253669" y="46581"/>
                    </a:lnTo>
                    <a:lnTo>
                      <a:pt x="177747" y="179415"/>
                    </a:lnTo>
                    <a:cubicBezTo>
                      <a:pt x="174525" y="185109"/>
                      <a:pt x="176456" y="192319"/>
                      <a:pt x="182085" y="195654"/>
                    </a:cubicBezTo>
                    <a:cubicBezTo>
                      <a:pt x="183842" y="196736"/>
                      <a:pt x="185871" y="197299"/>
                      <a:pt x="187942" y="197278"/>
                    </a:cubicBezTo>
                    <a:cubicBezTo>
                      <a:pt x="192128" y="197234"/>
                      <a:pt x="195978" y="194961"/>
                      <a:pt x="198029" y="191323"/>
                    </a:cubicBezTo>
                    <a:lnTo>
                      <a:pt x="267769" y="68449"/>
                    </a:lnTo>
                    <a:lnTo>
                      <a:pt x="277747" y="74187"/>
                    </a:lnTo>
                    <a:lnTo>
                      <a:pt x="199222" y="212001"/>
                    </a:lnTo>
                    <a:cubicBezTo>
                      <a:pt x="174797" y="210810"/>
                      <a:pt x="150306" y="212001"/>
                      <a:pt x="126119" y="215573"/>
                    </a:cubicBezTo>
                    <a:cubicBezTo>
                      <a:pt x="97833" y="219243"/>
                      <a:pt x="71346" y="231444"/>
                      <a:pt x="50196" y="250541"/>
                    </a:cubicBezTo>
                    <a:cubicBezTo>
                      <a:pt x="30869" y="269129"/>
                      <a:pt x="16356" y="292123"/>
                      <a:pt x="7897" y="317554"/>
                    </a:cubicBezTo>
                    <a:cubicBezTo>
                      <a:pt x="-1128" y="343330"/>
                      <a:pt x="-2451" y="371163"/>
                      <a:pt x="4100" y="397665"/>
                    </a:cubicBezTo>
                    <a:cubicBezTo>
                      <a:pt x="13070" y="426971"/>
                      <a:pt x="27083" y="454480"/>
                      <a:pt x="45532" y="478968"/>
                    </a:cubicBezTo>
                    <a:cubicBezTo>
                      <a:pt x="29545" y="490627"/>
                      <a:pt x="20120" y="509215"/>
                      <a:pt x="20152" y="528984"/>
                    </a:cubicBezTo>
                    <a:cubicBezTo>
                      <a:pt x="20445" y="562403"/>
                      <a:pt x="47821" y="589262"/>
                      <a:pt x="81303" y="588970"/>
                    </a:cubicBezTo>
                    <a:cubicBezTo>
                      <a:pt x="114785" y="588689"/>
                      <a:pt x="141694" y="561353"/>
                      <a:pt x="141412" y="527934"/>
                    </a:cubicBezTo>
                    <a:cubicBezTo>
                      <a:pt x="141282" y="513990"/>
                      <a:pt x="136347" y="500522"/>
                      <a:pt x="127420" y="489794"/>
                    </a:cubicBezTo>
                    <a:cubicBezTo>
                      <a:pt x="129666" y="488841"/>
                      <a:pt x="131564" y="487217"/>
                      <a:pt x="132843" y="485139"/>
                    </a:cubicBezTo>
                    <a:lnTo>
                      <a:pt x="140978" y="471498"/>
                    </a:lnTo>
                    <a:cubicBezTo>
                      <a:pt x="142638" y="471606"/>
                      <a:pt x="144308" y="471606"/>
                      <a:pt x="145967" y="471498"/>
                    </a:cubicBezTo>
                    <a:cubicBezTo>
                      <a:pt x="151802" y="471509"/>
                      <a:pt x="157529" y="469863"/>
                      <a:pt x="162454" y="466735"/>
                    </a:cubicBezTo>
                    <a:lnTo>
                      <a:pt x="162454" y="466735"/>
                    </a:lnTo>
                    <a:lnTo>
                      <a:pt x="226988" y="425921"/>
                    </a:lnTo>
                    <a:lnTo>
                      <a:pt x="226988" y="425921"/>
                    </a:lnTo>
                    <a:cubicBezTo>
                      <a:pt x="230317" y="423767"/>
                      <a:pt x="233073" y="420833"/>
                      <a:pt x="235014" y="417368"/>
                    </a:cubicBezTo>
                    <a:lnTo>
                      <a:pt x="235014" y="417368"/>
                    </a:lnTo>
                    <a:lnTo>
                      <a:pt x="329809" y="250649"/>
                    </a:lnTo>
                    <a:lnTo>
                      <a:pt x="331111" y="250649"/>
                    </a:lnTo>
                    <a:lnTo>
                      <a:pt x="334581" y="250649"/>
                    </a:lnTo>
                    <a:cubicBezTo>
                      <a:pt x="358692" y="254547"/>
                      <a:pt x="383053" y="256712"/>
                      <a:pt x="407467" y="257145"/>
                    </a:cubicBezTo>
                    <a:lnTo>
                      <a:pt x="415277" y="257145"/>
                    </a:lnTo>
                    <a:cubicBezTo>
                      <a:pt x="453021" y="256062"/>
                      <a:pt x="476557" y="244370"/>
                      <a:pt x="485233" y="222285"/>
                    </a:cubicBezTo>
                    <a:cubicBezTo>
                      <a:pt x="495320" y="196845"/>
                      <a:pt x="488162" y="167182"/>
                      <a:pt x="482414" y="143473"/>
                    </a:cubicBezTo>
                  </a:path>
                </a:pathLst>
              </a:custGeom>
              <a:solidFill>
                <a:srgbClr val="231F2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1" name="Freeform 90">
                <a:extLst>
                  <a:ext uri="{FF2B5EF4-FFF2-40B4-BE49-F238E27FC236}">
                    <a16:creationId xmlns:a16="http://schemas.microsoft.com/office/drawing/2014/main" id="{66CE1DF2-B802-BA4F-9F7F-5B52D2011EF3}"/>
                  </a:ext>
                </a:extLst>
              </p:cNvPr>
              <p:cNvSpPr/>
              <p:nvPr/>
            </p:nvSpPr>
            <p:spPr>
              <a:xfrm>
                <a:off x="6202749" y="3111211"/>
                <a:ext cx="70274" cy="70154"/>
              </a:xfrm>
              <a:custGeom>
                <a:avLst/>
                <a:gdLst>
                  <a:gd name="connsiteX0" fmla="*/ 47723 w 70274"/>
                  <a:gd name="connsiteY0" fmla="*/ 35509 h 70154"/>
                  <a:gd name="connsiteX1" fmla="*/ 35358 w 70274"/>
                  <a:gd name="connsiteY1" fmla="*/ 48283 h 70154"/>
                  <a:gd name="connsiteX2" fmla="*/ 35141 w 70274"/>
                  <a:gd name="connsiteY2" fmla="*/ 48283 h 70154"/>
                  <a:gd name="connsiteX3" fmla="*/ 22343 w 70274"/>
                  <a:gd name="connsiteY3" fmla="*/ 35509 h 70154"/>
                  <a:gd name="connsiteX4" fmla="*/ 35141 w 70274"/>
                  <a:gd name="connsiteY4" fmla="*/ 22734 h 70154"/>
                  <a:gd name="connsiteX5" fmla="*/ 47723 w 70274"/>
                  <a:gd name="connsiteY5" fmla="*/ 35292 h 70154"/>
                  <a:gd name="connsiteX6" fmla="*/ 47723 w 70274"/>
                  <a:gd name="connsiteY6" fmla="*/ 35509 h 70154"/>
                  <a:gd name="connsiteX7" fmla="*/ 0 w 70274"/>
                  <a:gd name="connsiteY7" fmla="*/ 35509 h 70154"/>
                  <a:gd name="connsiteX8" fmla="*/ 35575 w 70274"/>
                  <a:gd name="connsiteY8" fmla="*/ 70152 h 70154"/>
                  <a:gd name="connsiteX9" fmla="*/ 70272 w 70274"/>
                  <a:gd name="connsiteY9" fmla="*/ 34643 h 70154"/>
                  <a:gd name="connsiteX10" fmla="*/ 35250 w 70274"/>
                  <a:gd name="connsiteY10" fmla="*/ 0 h 70154"/>
                  <a:gd name="connsiteX11" fmla="*/ 0 w 70274"/>
                  <a:gd name="connsiteY11" fmla="*/ 35509 h 70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0274" h="70154">
                    <a:moveTo>
                      <a:pt x="47723" y="35509"/>
                    </a:moveTo>
                    <a:cubicBezTo>
                      <a:pt x="47842" y="42448"/>
                      <a:pt x="42311" y="48164"/>
                      <a:pt x="35358" y="48283"/>
                    </a:cubicBezTo>
                    <a:cubicBezTo>
                      <a:pt x="35282" y="48283"/>
                      <a:pt x="35217" y="48283"/>
                      <a:pt x="35141" y="48283"/>
                    </a:cubicBezTo>
                    <a:cubicBezTo>
                      <a:pt x="28070" y="48283"/>
                      <a:pt x="22343" y="42567"/>
                      <a:pt x="22343" y="35509"/>
                    </a:cubicBezTo>
                    <a:cubicBezTo>
                      <a:pt x="22343" y="28450"/>
                      <a:pt x="28070" y="22734"/>
                      <a:pt x="35141" y="22734"/>
                    </a:cubicBezTo>
                    <a:cubicBezTo>
                      <a:pt x="42094" y="22734"/>
                      <a:pt x="47723" y="28353"/>
                      <a:pt x="47723" y="35292"/>
                    </a:cubicBezTo>
                    <a:cubicBezTo>
                      <a:pt x="47723" y="35368"/>
                      <a:pt x="47723" y="35433"/>
                      <a:pt x="47723" y="35509"/>
                    </a:cubicBezTo>
                    <a:moveTo>
                      <a:pt x="0" y="35509"/>
                    </a:moveTo>
                    <a:cubicBezTo>
                      <a:pt x="239" y="54877"/>
                      <a:pt x="16172" y="70390"/>
                      <a:pt x="35575" y="70152"/>
                    </a:cubicBezTo>
                    <a:cubicBezTo>
                      <a:pt x="54979" y="69914"/>
                      <a:pt x="70521" y="54010"/>
                      <a:pt x="70272" y="34643"/>
                    </a:cubicBezTo>
                    <a:cubicBezTo>
                      <a:pt x="70044" y="15481"/>
                      <a:pt x="54447" y="65"/>
                      <a:pt x="35250" y="0"/>
                    </a:cubicBezTo>
                    <a:cubicBezTo>
                      <a:pt x="15727" y="173"/>
                      <a:pt x="0" y="16022"/>
                      <a:pt x="0" y="35509"/>
                    </a:cubicBezTo>
                  </a:path>
                </a:pathLst>
              </a:custGeom>
              <a:solidFill>
                <a:srgbClr val="231F2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2" name="Freeform 91">
                <a:extLst>
                  <a:ext uri="{FF2B5EF4-FFF2-40B4-BE49-F238E27FC236}">
                    <a16:creationId xmlns:a16="http://schemas.microsoft.com/office/drawing/2014/main" id="{189B5982-8211-9A43-9C57-2E029F2EC943}"/>
                  </a:ext>
                </a:extLst>
              </p:cNvPr>
              <p:cNvSpPr/>
              <p:nvPr/>
            </p:nvSpPr>
            <p:spPr>
              <a:xfrm>
                <a:off x="6109581" y="3095189"/>
                <a:ext cx="63125" cy="22842"/>
              </a:xfrm>
              <a:custGeom>
                <a:avLst/>
                <a:gdLst>
                  <a:gd name="connsiteX0" fmla="*/ 58677 w 63125"/>
                  <a:gd name="connsiteY0" fmla="*/ 0 h 22842"/>
                  <a:gd name="connsiteX1" fmla="*/ 4447 w 63125"/>
                  <a:gd name="connsiteY1" fmla="*/ 0 h 22842"/>
                  <a:gd name="connsiteX2" fmla="*/ 0 w 63125"/>
                  <a:gd name="connsiteY2" fmla="*/ 4547 h 22842"/>
                  <a:gd name="connsiteX3" fmla="*/ 0 w 63125"/>
                  <a:gd name="connsiteY3" fmla="*/ 18404 h 22842"/>
                  <a:gd name="connsiteX4" fmla="*/ 4447 w 63125"/>
                  <a:gd name="connsiteY4" fmla="*/ 22843 h 22842"/>
                  <a:gd name="connsiteX5" fmla="*/ 58677 w 63125"/>
                  <a:gd name="connsiteY5" fmla="*/ 22843 h 22842"/>
                  <a:gd name="connsiteX6" fmla="*/ 63124 w 63125"/>
                  <a:gd name="connsiteY6" fmla="*/ 18404 h 22842"/>
                  <a:gd name="connsiteX7" fmla="*/ 63124 w 63125"/>
                  <a:gd name="connsiteY7" fmla="*/ 4547 h 22842"/>
                  <a:gd name="connsiteX8" fmla="*/ 58786 w 63125"/>
                  <a:gd name="connsiteY8" fmla="*/ 0 h 22842"/>
                  <a:gd name="connsiteX9" fmla="*/ 58677 w 63125"/>
                  <a:gd name="connsiteY9" fmla="*/ 0 h 22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3125" h="22842">
                    <a:moveTo>
                      <a:pt x="58677" y="0"/>
                    </a:moveTo>
                    <a:lnTo>
                      <a:pt x="4447" y="0"/>
                    </a:lnTo>
                    <a:cubicBezTo>
                      <a:pt x="1974" y="54"/>
                      <a:pt x="0" y="2079"/>
                      <a:pt x="0" y="4547"/>
                    </a:cubicBezTo>
                    <a:lnTo>
                      <a:pt x="0" y="18404"/>
                    </a:lnTo>
                    <a:cubicBezTo>
                      <a:pt x="0" y="20851"/>
                      <a:pt x="1996" y="22843"/>
                      <a:pt x="4447" y="22843"/>
                    </a:cubicBezTo>
                    <a:lnTo>
                      <a:pt x="58677" y="22843"/>
                    </a:lnTo>
                    <a:cubicBezTo>
                      <a:pt x="61129" y="22843"/>
                      <a:pt x="63124" y="20851"/>
                      <a:pt x="63124" y="18404"/>
                    </a:cubicBezTo>
                    <a:lnTo>
                      <a:pt x="63124" y="4547"/>
                    </a:lnTo>
                    <a:cubicBezTo>
                      <a:pt x="63189" y="2100"/>
                      <a:pt x="61237" y="65"/>
                      <a:pt x="58786" y="0"/>
                    </a:cubicBezTo>
                    <a:cubicBezTo>
                      <a:pt x="58753" y="0"/>
                      <a:pt x="58710" y="0"/>
                      <a:pt x="58677" y="0"/>
                    </a:cubicBezTo>
                  </a:path>
                </a:pathLst>
              </a:custGeom>
              <a:solidFill>
                <a:srgbClr val="231F2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3" name="Freeform 92">
                <a:extLst>
                  <a:ext uri="{FF2B5EF4-FFF2-40B4-BE49-F238E27FC236}">
                    <a16:creationId xmlns:a16="http://schemas.microsoft.com/office/drawing/2014/main" id="{195F8A7E-8DDD-154F-9619-0662C037676C}"/>
                  </a:ext>
                </a:extLst>
              </p:cNvPr>
              <p:cNvSpPr/>
              <p:nvPr/>
            </p:nvSpPr>
            <p:spPr>
              <a:xfrm>
                <a:off x="5927038" y="3052968"/>
                <a:ext cx="426808" cy="577778"/>
              </a:xfrm>
              <a:custGeom>
                <a:avLst/>
                <a:gdLst>
                  <a:gd name="connsiteX0" fmla="*/ 396970 w 426808"/>
                  <a:gd name="connsiteY0" fmla="*/ 73833 h 577778"/>
                  <a:gd name="connsiteX1" fmla="*/ 30588 w 426808"/>
                  <a:gd name="connsiteY1" fmla="*/ 72642 h 577778"/>
                  <a:gd name="connsiteX2" fmla="*/ 30588 w 426808"/>
                  <a:gd name="connsiteY2" fmla="*/ 42546 h 577778"/>
                  <a:gd name="connsiteX3" fmla="*/ 43170 w 426808"/>
                  <a:gd name="connsiteY3" fmla="*/ 29771 h 577778"/>
                  <a:gd name="connsiteX4" fmla="*/ 43278 w 426808"/>
                  <a:gd name="connsiteY4" fmla="*/ 29771 h 577778"/>
                  <a:gd name="connsiteX5" fmla="*/ 384172 w 426808"/>
                  <a:gd name="connsiteY5" fmla="*/ 30962 h 577778"/>
                  <a:gd name="connsiteX6" fmla="*/ 396753 w 426808"/>
                  <a:gd name="connsiteY6" fmla="*/ 43737 h 577778"/>
                  <a:gd name="connsiteX7" fmla="*/ 396753 w 426808"/>
                  <a:gd name="connsiteY7" fmla="*/ 43737 h 577778"/>
                  <a:gd name="connsiteX8" fmla="*/ 420398 w 426808"/>
                  <a:gd name="connsiteY8" fmla="*/ 511308 h 577778"/>
                  <a:gd name="connsiteX9" fmla="*/ 400007 w 426808"/>
                  <a:gd name="connsiteY9" fmla="*/ 511308 h 577778"/>
                  <a:gd name="connsiteX10" fmla="*/ 395560 w 426808"/>
                  <a:gd name="connsiteY10" fmla="*/ 515747 h 577778"/>
                  <a:gd name="connsiteX11" fmla="*/ 395560 w 426808"/>
                  <a:gd name="connsiteY11" fmla="*/ 535342 h 577778"/>
                  <a:gd name="connsiteX12" fmla="*/ 383087 w 426808"/>
                  <a:gd name="connsiteY12" fmla="*/ 548008 h 577778"/>
                  <a:gd name="connsiteX13" fmla="*/ 382978 w 426808"/>
                  <a:gd name="connsiteY13" fmla="*/ 548008 h 577778"/>
                  <a:gd name="connsiteX14" fmla="*/ 41977 w 426808"/>
                  <a:gd name="connsiteY14" fmla="*/ 546925 h 577778"/>
                  <a:gd name="connsiteX15" fmla="*/ 29504 w 426808"/>
                  <a:gd name="connsiteY15" fmla="*/ 534259 h 577778"/>
                  <a:gd name="connsiteX16" fmla="*/ 29504 w 426808"/>
                  <a:gd name="connsiteY16" fmla="*/ 534042 h 577778"/>
                  <a:gd name="connsiteX17" fmla="*/ 29504 w 426808"/>
                  <a:gd name="connsiteY17" fmla="*/ 469087 h 577778"/>
                  <a:gd name="connsiteX18" fmla="*/ 359442 w 426808"/>
                  <a:gd name="connsiteY18" fmla="*/ 470169 h 577778"/>
                  <a:gd name="connsiteX19" fmla="*/ 363781 w 426808"/>
                  <a:gd name="connsiteY19" fmla="*/ 466489 h 577778"/>
                  <a:gd name="connsiteX20" fmla="*/ 361069 w 426808"/>
                  <a:gd name="connsiteY20" fmla="*/ 461400 h 577778"/>
                  <a:gd name="connsiteX21" fmla="*/ 334713 w 426808"/>
                  <a:gd name="connsiteY21" fmla="*/ 447868 h 577778"/>
                  <a:gd name="connsiteX22" fmla="*/ 332435 w 426808"/>
                  <a:gd name="connsiteY22" fmla="*/ 447218 h 577778"/>
                  <a:gd name="connsiteX23" fmla="*/ 29504 w 426808"/>
                  <a:gd name="connsiteY23" fmla="*/ 446136 h 577778"/>
                  <a:gd name="connsiteX24" fmla="*/ 30588 w 426808"/>
                  <a:gd name="connsiteY24" fmla="*/ 95160 h 577778"/>
                  <a:gd name="connsiteX25" fmla="*/ 396753 w 426808"/>
                  <a:gd name="connsiteY25" fmla="*/ 96459 h 577778"/>
                  <a:gd name="connsiteX26" fmla="*/ 396753 w 426808"/>
                  <a:gd name="connsiteY26" fmla="*/ 270756 h 577778"/>
                  <a:gd name="connsiteX27" fmla="*/ 398489 w 426808"/>
                  <a:gd name="connsiteY27" fmla="*/ 274329 h 577778"/>
                  <a:gd name="connsiteX28" fmla="*/ 402502 w 426808"/>
                  <a:gd name="connsiteY28" fmla="*/ 274978 h 577778"/>
                  <a:gd name="connsiteX29" fmla="*/ 420940 w 426808"/>
                  <a:gd name="connsiteY29" fmla="*/ 273679 h 577778"/>
                  <a:gd name="connsiteX30" fmla="*/ 424519 w 426808"/>
                  <a:gd name="connsiteY30" fmla="*/ 272596 h 577778"/>
                  <a:gd name="connsiteX31" fmla="*/ 426037 w 426808"/>
                  <a:gd name="connsiteY31" fmla="*/ 269240 h 577778"/>
                  <a:gd name="connsiteX32" fmla="*/ 426797 w 426808"/>
                  <a:gd name="connsiteY32" fmla="*/ 43520 h 577778"/>
                  <a:gd name="connsiteX33" fmla="*/ 385375 w 426808"/>
                  <a:gd name="connsiteY33" fmla="*/ 227 h 577778"/>
                  <a:gd name="connsiteX34" fmla="*/ 385039 w 426808"/>
                  <a:gd name="connsiteY34" fmla="*/ 217 h 577778"/>
                  <a:gd name="connsiteX35" fmla="*/ 43604 w 426808"/>
                  <a:gd name="connsiteY35" fmla="*/ 0 h 577778"/>
                  <a:gd name="connsiteX36" fmla="*/ 1629 w 426808"/>
                  <a:gd name="connsiteY36" fmla="*/ 42438 h 577778"/>
                  <a:gd name="connsiteX37" fmla="*/ 2 w 426808"/>
                  <a:gd name="connsiteY37" fmla="*/ 534042 h 577778"/>
                  <a:gd name="connsiteX38" fmla="*/ 41868 w 426808"/>
                  <a:gd name="connsiteY38" fmla="*/ 576696 h 577778"/>
                  <a:gd name="connsiteX39" fmla="*/ 41868 w 426808"/>
                  <a:gd name="connsiteY39" fmla="*/ 576696 h 577778"/>
                  <a:gd name="connsiteX40" fmla="*/ 382762 w 426808"/>
                  <a:gd name="connsiteY40" fmla="*/ 577779 h 577778"/>
                  <a:gd name="connsiteX41" fmla="*/ 424845 w 426808"/>
                  <a:gd name="connsiteY41" fmla="*/ 535558 h 577778"/>
                  <a:gd name="connsiteX42" fmla="*/ 424845 w 426808"/>
                  <a:gd name="connsiteY42" fmla="*/ 515855 h 577778"/>
                  <a:gd name="connsiteX43" fmla="*/ 420506 w 426808"/>
                  <a:gd name="connsiteY43" fmla="*/ 511308 h 577778"/>
                  <a:gd name="connsiteX44" fmla="*/ 420398 w 426808"/>
                  <a:gd name="connsiteY44" fmla="*/ 511308 h 577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426808" h="577778">
                    <a:moveTo>
                      <a:pt x="396970" y="73833"/>
                    </a:moveTo>
                    <a:lnTo>
                      <a:pt x="30588" y="72642"/>
                    </a:lnTo>
                    <a:lnTo>
                      <a:pt x="30588" y="42546"/>
                    </a:lnTo>
                    <a:cubicBezTo>
                      <a:pt x="30523" y="35552"/>
                      <a:pt x="36163" y="29836"/>
                      <a:pt x="43170" y="29771"/>
                    </a:cubicBezTo>
                    <a:cubicBezTo>
                      <a:pt x="43202" y="29771"/>
                      <a:pt x="43246" y="29771"/>
                      <a:pt x="43278" y="29771"/>
                    </a:cubicBezTo>
                    <a:lnTo>
                      <a:pt x="384172" y="30962"/>
                    </a:lnTo>
                    <a:cubicBezTo>
                      <a:pt x="391178" y="31016"/>
                      <a:pt x="396818" y="36743"/>
                      <a:pt x="396753" y="43737"/>
                    </a:cubicBezTo>
                    <a:cubicBezTo>
                      <a:pt x="396753" y="43737"/>
                      <a:pt x="396753" y="43737"/>
                      <a:pt x="396753" y="43737"/>
                    </a:cubicBezTo>
                    <a:close/>
                    <a:moveTo>
                      <a:pt x="420398" y="511308"/>
                    </a:moveTo>
                    <a:lnTo>
                      <a:pt x="400007" y="511308"/>
                    </a:lnTo>
                    <a:cubicBezTo>
                      <a:pt x="397556" y="511308"/>
                      <a:pt x="395560" y="513300"/>
                      <a:pt x="395560" y="515747"/>
                    </a:cubicBezTo>
                    <a:lnTo>
                      <a:pt x="395560" y="535342"/>
                    </a:lnTo>
                    <a:cubicBezTo>
                      <a:pt x="395625" y="542281"/>
                      <a:pt x="390039" y="547943"/>
                      <a:pt x="383087" y="548008"/>
                    </a:cubicBezTo>
                    <a:cubicBezTo>
                      <a:pt x="383054" y="548008"/>
                      <a:pt x="383011" y="548008"/>
                      <a:pt x="382978" y="548008"/>
                    </a:cubicBezTo>
                    <a:lnTo>
                      <a:pt x="41977" y="546925"/>
                    </a:lnTo>
                    <a:cubicBezTo>
                      <a:pt x="35024" y="546871"/>
                      <a:pt x="29439" y="541198"/>
                      <a:pt x="29504" y="534259"/>
                    </a:cubicBezTo>
                    <a:cubicBezTo>
                      <a:pt x="29504" y="534194"/>
                      <a:pt x="29504" y="534118"/>
                      <a:pt x="29504" y="534042"/>
                    </a:cubicBezTo>
                    <a:lnTo>
                      <a:pt x="29504" y="469087"/>
                    </a:lnTo>
                    <a:lnTo>
                      <a:pt x="359442" y="470169"/>
                    </a:lnTo>
                    <a:cubicBezTo>
                      <a:pt x="361601" y="470191"/>
                      <a:pt x="363455" y="468621"/>
                      <a:pt x="363781" y="466489"/>
                    </a:cubicBezTo>
                    <a:cubicBezTo>
                      <a:pt x="364204" y="464367"/>
                      <a:pt x="363076" y="462234"/>
                      <a:pt x="361069" y="461400"/>
                    </a:cubicBezTo>
                    <a:cubicBezTo>
                      <a:pt x="351937" y="457601"/>
                      <a:pt x="343119" y="453075"/>
                      <a:pt x="334713" y="447868"/>
                    </a:cubicBezTo>
                    <a:cubicBezTo>
                      <a:pt x="334041" y="447424"/>
                      <a:pt x="333238" y="447197"/>
                      <a:pt x="332435" y="447218"/>
                    </a:cubicBezTo>
                    <a:lnTo>
                      <a:pt x="29504" y="446136"/>
                    </a:lnTo>
                    <a:lnTo>
                      <a:pt x="30588" y="95160"/>
                    </a:lnTo>
                    <a:lnTo>
                      <a:pt x="396753" y="96459"/>
                    </a:lnTo>
                    <a:lnTo>
                      <a:pt x="396753" y="270756"/>
                    </a:lnTo>
                    <a:cubicBezTo>
                      <a:pt x="396753" y="272153"/>
                      <a:pt x="397393" y="273463"/>
                      <a:pt x="398489" y="274329"/>
                    </a:cubicBezTo>
                    <a:cubicBezTo>
                      <a:pt x="399616" y="275238"/>
                      <a:pt x="401146" y="275476"/>
                      <a:pt x="402502" y="274978"/>
                    </a:cubicBezTo>
                    <a:cubicBezTo>
                      <a:pt x="408467" y="273149"/>
                      <a:pt x="414779" y="272705"/>
                      <a:pt x="420940" y="273679"/>
                    </a:cubicBezTo>
                    <a:cubicBezTo>
                      <a:pt x="422231" y="273874"/>
                      <a:pt x="423554" y="273473"/>
                      <a:pt x="424519" y="272596"/>
                    </a:cubicBezTo>
                    <a:cubicBezTo>
                      <a:pt x="425495" y="271763"/>
                      <a:pt x="426059" y="270529"/>
                      <a:pt x="426037" y="269240"/>
                    </a:cubicBezTo>
                    <a:lnTo>
                      <a:pt x="426797" y="43520"/>
                    </a:lnTo>
                    <a:cubicBezTo>
                      <a:pt x="427339" y="20147"/>
                      <a:pt x="408792" y="769"/>
                      <a:pt x="385375" y="227"/>
                    </a:cubicBezTo>
                    <a:cubicBezTo>
                      <a:pt x="385267" y="217"/>
                      <a:pt x="385148" y="217"/>
                      <a:pt x="385039" y="217"/>
                    </a:cubicBezTo>
                    <a:lnTo>
                      <a:pt x="43604" y="0"/>
                    </a:lnTo>
                    <a:cubicBezTo>
                      <a:pt x="20285" y="184"/>
                      <a:pt x="1510" y="19162"/>
                      <a:pt x="1629" y="42438"/>
                    </a:cubicBezTo>
                    <a:lnTo>
                      <a:pt x="2" y="534042"/>
                    </a:lnTo>
                    <a:cubicBezTo>
                      <a:pt x="-236" y="557361"/>
                      <a:pt x="18506" y="576458"/>
                      <a:pt x="41868" y="576696"/>
                    </a:cubicBezTo>
                    <a:cubicBezTo>
                      <a:pt x="41868" y="576696"/>
                      <a:pt x="41868" y="576696"/>
                      <a:pt x="41868" y="576696"/>
                    </a:cubicBezTo>
                    <a:lnTo>
                      <a:pt x="382762" y="577779"/>
                    </a:lnTo>
                    <a:cubicBezTo>
                      <a:pt x="406016" y="577606"/>
                      <a:pt x="424790" y="558769"/>
                      <a:pt x="424845" y="535558"/>
                    </a:cubicBezTo>
                    <a:lnTo>
                      <a:pt x="424845" y="515855"/>
                    </a:lnTo>
                    <a:cubicBezTo>
                      <a:pt x="424909" y="513408"/>
                      <a:pt x="422957" y="511373"/>
                      <a:pt x="420506" y="511308"/>
                    </a:cubicBezTo>
                    <a:cubicBezTo>
                      <a:pt x="420473" y="511308"/>
                      <a:pt x="420430" y="511308"/>
                      <a:pt x="420398" y="511308"/>
                    </a:cubicBezTo>
                  </a:path>
                </a:pathLst>
              </a:custGeom>
              <a:solidFill>
                <a:srgbClr val="231F2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4" name="Freeform 93">
                <a:extLst>
                  <a:ext uri="{FF2B5EF4-FFF2-40B4-BE49-F238E27FC236}">
                    <a16:creationId xmlns:a16="http://schemas.microsoft.com/office/drawing/2014/main" id="{A227BEEE-996D-D946-A063-8CCE256B57B6}"/>
                  </a:ext>
                </a:extLst>
              </p:cNvPr>
              <p:cNvSpPr/>
              <p:nvPr/>
            </p:nvSpPr>
            <p:spPr>
              <a:xfrm>
                <a:off x="6182815" y="3277724"/>
                <a:ext cx="246596" cy="276207"/>
              </a:xfrm>
              <a:custGeom>
                <a:avLst/>
                <a:gdLst>
                  <a:gd name="connsiteX0" fmla="*/ 76659 w 246596"/>
                  <a:gd name="connsiteY0" fmla="*/ 140835 h 276207"/>
                  <a:gd name="connsiteX1" fmla="*/ 75466 w 246596"/>
                  <a:gd name="connsiteY1" fmla="*/ 128385 h 276207"/>
                  <a:gd name="connsiteX2" fmla="*/ 33167 w 246596"/>
                  <a:gd name="connsiteY2" fmla="*/ 31926 h 276207"/>
                  <a:gd name="connsiteX3" fmla="*/ 36334 w 246596"/>
                  <a:gd name="connsiteY3" fmla="*/ 23633 h 276207"/>
                  <a:gd name="connsiteX4" fmla="*/ 36420 w 246596"/>
                  <a:gd name="connsiteY4" fmla="*/ 23590 h 276207"/>
                  <a:gd name="connsiteX5" fmla="*/ 39240 w 246596"/>
                  <a:gd name="connsiteY5" fmla="*/ 22832 h 276207"/>
                  <a:gd name="connsiteX6" fmla="*/ 44555 w 246596"/>
                  <a:gd name="connsiteY6" fmla="*/ 27054 h 276207"/>
                  <a:gd name="connsiteX7" fmla="*/ 74056 w 246596"/>
                  <a:gd name="connsiteY7" fmla="*/ 86813 h 276207"/>
                  <a:gd name="connsiteX8" fmla="*/ 87614 w 246596"/>
                  <a:gd name="connsiteY8" fmla="*/ 97639 h 276207"/>
                  <a:gd name="connsiteX9" fmla="*/ 100738 w 246596"/>
                  <a:gd name="connsiteY9" fmla="*/ 87355 h 276207"/>
                  <a:gd name="connsiteX10" fmla="*/ 103449 w 246596"/>
                  <a:gd name="connsiteY10" fmla="*/ 84648 h 276207"/>
                  <a:gd name="connsiteX11" fmla="*/ 108872 w 246596"/>
                  <a:gd name="connsiteY11" fmla="*/ 85406 h 276207"/>
                  <a:gd name="connsiteX12" fmla="*/ 114946 w 246596"/>
                  <a:gd name="connsiteY12" fmla="*/ 91685 h 276207"/>
                  <a:gd name="connsiteX13" fmla="*/ 118634 w 246596"/>
                  <a:gd name="connsiteY13" fmla="*/ 93092 h 276207"/>
                  <a:gd name="connsiteX14" fmla="*/ 121888 w 246596"/>
                  <a:gd name="connsiteY14" fmla="*/ 90927 h 276207"/>
                  <a:gd name="connsiteX15" fmla="*/ 126443 w 246596"/>
                  <a:gd name="connsiteY15" fmla="*/ 83457 h 276207"/>
                  <a:gd name="connsiteX16" fmla="*/ 130998 w 246596"/>
                  <a:gd name="connsiteY16" fmla="*/ 79560 h 276207"/>
                  <a:gd name="connsiteX17" fmla="*/ 135337 w 246596"/>
                  <a:gd name="connsiteY17" fmla="*/ 81184 h 276207"/>
                  <a:gd name="connsiteX18" fmla="*/ 140652 w 246596"/>
                  <a:gd name="connsiteY18" fmla="*/ 85406 h 276207"/>
                  <a:gd name="connsiteX19" fmla="*/ 144014 w 246596"/>
                  <a:gd name="connsiteY19" fmla="*/ 86380 h 276207"/>
                  <a:gd name="connsiteX20" fmla="*/ 146942 w 246596"/>
                  <a:gd name="connsiteY20" fmla="*/ 84756 h 276207"/>
                  <a:gd name="connsiteX21" fmla="*/ 151172 w 246596"/>
                  <a:gd name="connsiteY21" fmla="*/ 79235 h 276207"/>
                  <a:gd name="connsiteX22" fmla="*/ 152365 w 246596"/>
                  <a:gd name="connsiteY22" fmla="*/ 78153 h 276207"/>
                  <a:gd name="connsiteX23" fmla="*/ 158331 w 246596"/>
                  <a:gd name="connsiteY23" fmla="*/ 76745 h 276207"/>
                  <a:gd name="connsiteX24" fmla="*/ 193472 w 246596"/>
                  <a:gd name="connsiteY24" fmla="*/ 110089 h 276207"/>
                  <a:gd name="connsiteX25" fmla="*/ 204318 w 246596"/>
                  <a:gd name="connsiteY25" fmla="*/ 162811 h 276207"/>
                  <a:gd name="connsiteX26" fmla="*/ 209307 w 246596"/>
                  <a:gd name="connsiteY26" fmla="*/ 182406 h 276207"/>
                  <a:gd name="connsiteX27" fmla="*/ 210067 w 246596"/>
                  <a:gd name="connsiteY27" fmla="*/ 183164 h 276207"/>
                  <a:gd name="connsiteX28" fmla="*/ 223299 w 246596"/>
                  <a:gd name="connsiteY28" fmla="*/ 206332 h 276207"/>
                  <a:gd name="connsiteX29" fmla="*/ 183494 w 246596"/>
                  <a:gd name="connsiteY29" fmla="*/ 244872 h 276207"/>
                  <a:gd name="connsiteX30" fmla="*/ 182734 w 246596"/>
                  <a:gd name="connsiteY30" fmla="*/ 244872 h 276207"/>
                  <a:gd name="connsiteX31" fmla="*/ 152691 w 246596"/>
                  <a:gd name="connsiteY31" fmla="*/ 253532 h 276207"/>
                  <a:gd name="connsiteX32" fmla="*/ 144881 w 246596"/>
                  <a:gd name="connsiteY32" fmla="*/ 251692 h 276207"/>
                  <a:gd name="connsiteX33" fmla="*/ 132734 w 246596"/>
                  <a:gd name="connsiteY33" fmla="*/ 225818 h 276207"/>
                  <a:gd name="connsiteX34" fmla="*/ 120044 w 246596"/>
                  <a:gd name="connsiteY34" fmla="*/ 213044 h 276207"/>
                  <a:gd name="connsiteX35" fmla="*/ 118851 w 246596"/>
                  <a:gd name="connsiteY35" fmla="*/ 213044 h 276207"/>
                  <a:gd name="connsiteX36" fmla="*/ 72646 w 246596"/>
                  <a:gd name="connsiteY36" fmla="*/ 186520 h 276207"/>
                  <a:gd name="connsiteX37" fmla="*/ 60390 w 246596"/>
                  <a:gd name="connsiteY37" fmla="*/ 169632 h 276207"/>
                  <a:gd name="connsiteX38" fmla="*/ 43362 w 246596"/>
                  <a:gd name="connsiteY38" fmla="*/ 152635 h 276207"/>
                  <a:gd name="connsiteX39" fmla="*/ 34360 w 246596"/>
                  <a:gd name="connsiteY39" fmla="*/ 147330 h 276207"/>
                  <a:gd name="connsiteX40" fmla="*/ 23513 w 246596"/>
                  <a:gd name="connsiteY40" fmla="*/ 140077 h 276207"/>
                  <a:gd name="connsiteX41" fmla="*/ 28611 w 246596"/>
                  <a:gd name="connsiteY41" fmla="*/ 140077 h 276207"/>
                  <a:gd name="connsiteX42" fmla="*/ 53232 w 246596"/>
                  <a:gd name="connsiteY42" fmla="*/ 144840 h 276207"/>
                  <a:gd name="connsiteX43" fmla="*/ 65596 w 246596"/>
                  <a:gd name="connsiteY43" fmla="*/ 148738 h 276207"/>
                  <a:gd name="connsiteX44" fmla="*/ 76443 w 246596"/>
                  <a:gd name="connsiteY44" fmla="*/ 141701 h 276207"/>
                  <a:gd name="connsiteX45" fmla="*/ 245208 w 246596"/>
                  <a:gd name="connsiteY45" fmla="*/ 203517 h 276207"/>
                  <a:gd name="connsiteX46" fmla="*/ 245208 w 246596"/>
                  <a:gd name="connsiteY46" fmla="*/ 203517 h 276207"/>
                  <a:gd name="connsiteX47" fmla="*/ 245208 w 246596"/>
                  <a:gd name="connsiteY47" fmla="*/ 202542 h 276207"/>
                  <a:gd name="connsiteX48" fmla="*/ 226444 w 246596"/>
                  <a:gd name="connsiteY48" fmla="*/ 168224 h 276207"/>
                  <a:gd name="connsiteX49" fmla="*/ 226444 w 246596"/>
                  <a:gd name="connsiteY49" fmla="*/ 166059 h 276207"/>
                  <a:gd name="connsiteX50" fmla="*/ 213538 w 246596"/>
                  <a:gd name="connsiteY50" fmla="*/ 101104 h 276207"/>
                  <a:gd name="connsiteX51" fmla="*/ 158222 w 246596"/>
                  <a:gd name="connsiteY51" fmla="*/ 54877 h 276207"/>
                  <a:gd name="connsiteX52" fmla="*/ 143580 w 246596"/>
                  <a:gd name="connsiteY52" fmla="*/ 56717 h 276207"/>
                  <a:gd name="connsiteX53" fmla="*/ 141411 w 246596"/>
                  <a:gd name="connsiteY53" fmla="*/ 57908 h 276207"/>
                  <a:gd name="connsiteX54" fmla="*/ 131649 w 246596"/>
                  <a:gd name="connsiteY54" fmla="*/ 56068 h 276207"/>
                  <a:gd name="connsiteX55" fmla="*/ 115055 w 246596"/>
                  <a:gd name="connsiteY55" fmla="*/ 62239 h 276207"/>
                  <a:gd name="connsiteX56" fmla="*/ 94773 w 246596"/>
                  <a:gd name="connsiteY56" fmla="*/ 63213 h 276207"/>
                  <a:gd name="connsiteX57" fmla="*/ 89783 w 246596"/>
                  <a:gd name="connsiteY57" fmla="*/ 66136 h 276207"/>
                  <a:gd name="connsiteX58" fmla="*/ 65271 w 246596"/>
                  <a:gd name="connsiteY58" fmla="*/ 16445 h 276207"/>
                  <a:gd name="connsiteX59" fmla="*/ 27191 w 246596"/>
                  <a:gd name="connsiteY59" fmla="*/ 2718 h 276207"/>
                  <a:gd name="connsiteX60" fmla="*/ 26768 w 246596"/>
                  <a:gd name="connsiteY60" fmla="*/ 2913 h 276207"/>
                  <a:gd name="connsiteX61" fmla="*/ 13210 w 246596"/>
                  <a:gd name="connsiteY61" fmla="*/ 41128 h 276207"/>
                  <a:gd name="connsiteX62" fmla="*/ 47050 w 246596"/>
                  <a:gd name="connsiteY62" fmla="*/ 118209 h 276207"/>
                  <a:gd name="connsiteX63" fmla="*/ 29045 w 246596"/>
                  <a:gd name="connsiteY63" fmla="*/ 116043 h 276207"/>
                  <a:gd name="connsiteX64" fmla="*/ 1821 w 246596"/>
                  <a:gd name="connsiteY64" fmla="*/ 129034 h 276207"/>
                  <a:gd name="connsiteX65" fmla="*/ 6485 w 246596"/>
                  <a:gd name="connsiteY65" fmla="*/ 153826 h 276207"/>
                  <a:gd name="connsiteX66" fmla="*/ 24273 w 246596"/>
                  <a:gd name="connsiteY66" fmla="*/ 166492 h 276207"/>
                  <a:gd name="connsiteX67" fmla="*/ 32407 w 246596"/>
                  <a:gd name="connsiteY67" fmla="*/ 171364 h 276207"/>
                  <a:gd name="connsiteX68" fmla="*/ 40651 w 246596"/>
                  <a:gd name="connsiteY68" fmla="*/ 178184 h 276207"/>
                  <a:gd name="connsiteX69" fmla="*/ 59739 w 246596"/>
                  <a:gd name="connsiteY69" fmla="*/ 203842 h 276207"/>
                  <a:gd name="connsiteX70" fmla="*/ 111692 w 246596"/>
                  <a:gd name="connsiteY70" fmla="*/ 233721 h 276207"/>
                  <a:gd name="connsiteX71" fmla="*/ 113211 w 246596"/>
                  <a:gd name="connsiteY71" fmla="*/ 235129 h 276207"/>
                  <a:gd name="connsiteX72" fmla="*/ 125250 w 246596"/>
                  <a:gd name="connsiteY72" fmla="*/ 261652 h 276207"/>
                  <a:gd name="connsiteX73" fmla="*/ 153125 w 246596"/>
                  <a:gd name="connsiteY73" fmla="*/ 276051 h 276207"/>
                  <a:gd name="connsiteX74" fmla="*/ 192062 w 246596"/>
                  <a:gd name="connsiteY74" fmla="*/ 265225 h 276207"/>
                  <a:gd name="connsiteX75" fmla="*/ 246293 w 246596"/>
                  <a:gd name="connsiteY75" fmla="*/ 202001 h 276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</a:cxnLst>
                <a:rect l="l" t="t" r="r" b="b"/>
                <a:pathLst>
                  <a:path w="246596" h="276207">
                    <a:moveTo>
                      <a:pt x="76659" y="140835"/>
                    </a:moveTo>
                    <a:cubicBezTo>
                      <a:pt x="78536" y="136775"/>
                      <a:pt x="78080" y="132022"/>
                      <a:pt x="75466" y="128385"/>
                    </a:cubicBezTo>
                    <a:lnTo>
                      <a:pt x="33167" y="31926"/>
                    </a:lnTo>
                    <a:cubicBezTo>
                      <a:pt x="31746" y="28765"/>
                      <a:pt x="33167" y="25052"/>
                      <a:pt x="36334" y="23633"/>
                    </a:cubicBezTo>
                    <a:cubicBezTo>
                      <a:pt x="36366" y="23612"/>
                      <a:pt x="36388" y="23601"/>
                      <a:pt x="36420" y="23590"/>
                    </a:cubicBezTo>
                    <a:cubicBezTo>
                      <a:pt x="37288" y="23125"/>
                      <a:pt x="38253" y="22865"/>
                      <a:pt x="39240" y="22832"/>
                    </a:cubicBezTo>
                    <a:cubicBezTo>
                      <a:pt x="41735" y="22832"/>
                      <a:pt x="44013" y="26080"/>
                      <a:pt x="44555" y="27054"/>
                    </a:cubicBezTo>
                    <a:lnTo>
                      <a:pt x="74056" y="86813"/>
                    </a:lnTo>
                    <a:cubicBezTo>
                      <a:pt x="75835" y="92919"/>
                      <a:pt x="81258" y="97250"/>
                      <a:pt x="87614" y="97639"/>
                    </a:cubicBezTo>
                    <a:cubicBezTo>
                      <a:pt x="93753" y="97401"/>
                      <a:pt x="99057" y="93255"/>
                      <a:pt x="100738" y="87355"/>
                    </a:cubicBezTo>
                    <a:cubicBezTo>
                      <a:pt x="101302" y="86164"/>
                      <a:pt x="102256" y="85211"/>
                      <a:pt x="103449" y="84648"/>
                    </a:cubicBezTo>
                    <a:cubicBezTo>
                      <a:pt x="105261" y="83923"/>
                      <a:pt x="107322" y="84215"/>
                      <a:pt x="108872" y="85406"/>
                    </a:cubicBezTo>
                    <a:lnTo>
                      <a:pt x="114946" y="91685"/>
                    </a:lnTo>
                    <a:cubicBezTo>
                      <a:pt x="115879" y="92714"/>
                      <a:pt x="117246" y="93244"/>
                      <a:pt x="118634" y="93092"/>
                    </a:cubicBezTo>
                    <a:cubicBezTo>
                      <a:pt x="119979" y="92865"/>
                      <a:pt x="121161" y="92075"/>
                      <a:pt x="121888" y="90927"/>
                    </a:cubicBezTo>
                    <a:lnTo>
                      <a:pt x="126443" y="83457"/>
                    </a:lnTo>
                    <a:cubicBezTo>
                      <a:pt x="128037" y="80859"/>
                      <a:pt x="129556" y="79560"/>
                      <a:pt x="130998" y="79560"/>
                    </a:cubicBezTo>
                    <a:cubicBezTo>
                      <a:pt x="132560" y="79722"/>
                      <a:pt x="134057" y="80275"/>
                      <a:pt x="135337" y="81184"/>
                    </a:cubicBezTo>
                    <a:lnTo>
                      <a:pt x="140652" y="85406"/>
                    </a:lnTo>
                    <a:cubicBezTo>
                      <a:pt x="141573" y="86196"/>
                      <a:pt x="142810" y="86554"/>
                      <a:pt x="144014" y="86380"/>
                    </a:cubicBezTo>
                    <a:cubicBezTo>
                      <a:pt x="145153" y="86218"/>
                      <a:pt x="146205" y="85644"/>
                      <a:pt x="146942" y="84756"/>
                    </a:cubicBezTo>
                    <a:lnTo>
                      <a:pt x="151172" y="79235"/>
                    </a:lnTo>
                    <a:cubicBezTo>
                      <a:pt x="151519" y="78824"/>
                      <a:pt x="151921" y="78456"/>
                      <a:pt x="152365" y="78153"/>
                    </a:cubicBezTo>
                    <a:cubicBezTo>
                      <a:pt x="154220" y="77243"/>
                      <a:pt x="156259" y="76756"/>
                      <a:pt x="158331" y="76745"/>
                    </a:cubicBezTo>
                    <a:cubicBezTo>
                      <a:pt x="172214" y="76745"/>
                      <a:pt x="188049" y="99263"/>
                      <a:pt x="193472" y="110089"/>
                    </a:cubicBezTo>
                    <a:cubicBezTo>
                      <a:pt x="201119" y="126588"/>
                      <a:pt x="204828" y="144635"/>
                      <a:pt x="204318" y="162811"/>
                    </a:cubicBezTo>
                    <a:cubicBezTo>
                      <a:pt x="202952" y="169762"/>
                      <a:pt x="204785" y="176950"/>
                      <a:pt x="209307" y="182406"/>
                    </a:cubicBezTo>
                    <a:lnTo>
                      <a:pt x="210067" y="183164"/>
                    </a:lnTo>
                    <a:cubicBezTo>
                      <a:pt x="216303" y="189692"/>
                      <a:pt x="220848" y="197649"/>
                      <a:pt x="223299" y="206332"/>
                    </a:cubicBezTo>
                    <a:cubicBezTo>
                      <a:pt x="225251" y="224627"/>
                      <a:pt x="194448" y="240758"/>
                      <a:pt x="183494" y="244872"/>
                    </a:cubicBezTo>
                    <a:lnTo>
                      <a:pt x="182734" y="244872"/>
                    </a:lnTo>
                    <a:cubicBezTo>
                      <a:pt x="173429" y="249808"/>
                      <a:pt x="163201" y="252753"/>
                      <a:pt x="152691" y="253532"/>
                    </a:cubicBezTo>
                    <a:cubicBezTo>
                      <a:pt x="149958" y="253760"/>
                      <a:pt x="147224" y="253110"/>
                      <a:pt x="144881" y="251692"/>
                    </a:cubicBezTo>
                    <a:lnTo>
                      <a:pt x="132734" y="225818"/>
                    </a:lnTo>
                    <a:cubicBezTo>
                      <a:pt x="130011" y="220297"/>
                      <a:pt x="125554" y="215804"/>
                      <a:pt x="120044" y="213044"/>
                    </a:cubicBezTo>
                    <a:lnTo>
                      <a:pt x="118851" y="213044"/>
                    </a:lnTo>
                    <a:cubicBezTo>
                      <a:pt x="102386" y="206180"/>
                      <a:pt x="86866" y="197270"/>
                      <a:pt x="72646" y="186520"/>
                    </a:cubicBezTo>
                    <a:cubicBezTo>
                      <a:pt x="67538" y="181703"/>
                      <a:pt x="63384" y="175976"/>
                      <a:pt x="60390" y="169632"/>
                    </a:cubicBezTo>
                    <a:cubicBezTo>
                      <a:pt x="56247" y="162616"/>
                      <a:pt x="50390" y="156771"/>
                      <a:pt x="43362" y="152635"/>
                    </a:cubicBezTo>
                    <a:cubicBezTo>
                      <a:pt x="40325" y="150686"/>
                      <a:pt x="37288" y="148954"/>
                      <a:pt x="34360" y="147330"/>
                    </a:cubicBezTo>
                    <a:cubicBezTo>
                      <a:pt x="30553" y="145219"/>
                      <a:pt x="26919" y="142794"/>
                      <a:pt x="23513" y="140077"/>
                    </a:cubicBezTo>
                    <a:cubicBezTo>
                      <a:pt x="25206" y="139925"/>
                      <a:pt x="26919" y="139925"/>
                      <a:pt x="28611" y="140077"/>
                    </a:cubicBezTo>
                    <a:cubicBezTo>
                      <a:pt x="37006" y="140488"/>
                      <a:pt x="45292" y="142091"/>
                      <a:pt x="53232" y="144840"/>
                    </a:cubicBezTo>
                    <a:cubicBezTo>
                      <a:pt x="57039" y="146973"/>
                      <a:pt x="61247" y="148305"/>
                      <a:pt x="65596" y="148738"/>
                    </a:cubicBezTo>
                    <a:cubicBezTo>
                      <a:pt x="70271" y="148673"/>
                      <a:pt x="74479" y="145934"/>
                      <a:pt x="76443" y="141701"/>
                    </a:cubicBezTo>
                    <a:moveTo>
                      <a:pt x="245208" y="203517"/>
                    </a:moveTo>
                    <a:lnTo>
                      <a:pt x="245208" y="203517"/>
                    </a:lnTo>
                    <a:cubicBezTo>
                      <a:pt x="245208" y="203517"/>
                      <a:pt x="245208" y="202651"/>
                      <a:pt x="245208" y="202542"/>
                    </a:cubicBezTo>
                    <a:cubicBezTo>
                      <a:pt x="241954" y="189703"/>
                      <a:pt x="235501" y="177903"/>
                      <a:pt x="226444" y="168224"/>
                    </a:cubicBezTo>
                    <a:cubicBezTo>
                      <a:pt x="226368" y="167510"/>
                      <a:pt x="226368" y="166774"/>
                      <a:pt x="226444" y="166059"/>
                    </a:cubicBezTo>
                    <a:cubicBezTo>
                      <a:pt x="227421" y="143693"/>
                      <a:pt x="222995" y="121413"/>
                      <a:pt x="213538" y="101104"/>
                    </a:cubicBezTo>
                    <a:cubicBezTo>
                      <a:pt x="212561" y="99155"/>
                      <a:pt x="190110" y="54985"/>
                      <a:pt x="158222" y="54877"/>
                    </a:cubicBezTo>
                    <a:cubicBezTo>
                      <a:pt x="153266" y="54433"/>
                      <a:pt x="148277" y="55061"/>
                      <a:pt x="143580" y="56717"/>
                    </a:cubicBezTo>
                    <a:cubicBezTo>
                      <a:pt x="142832" y="57064"/>
                      <a:pt x="142105" y="57454"/>
                      <a:pt x="141411" y="57908"/>
                    </a:cubicBezTo>
                    <a:cubicBezTo>
                      <a:pt x="138309" y="56674"/>
                      <a:pt x="134990" y="56046"/>
                      <a:pt x="131649" y="56068"/>
                    </a:cubicBezTo>
                    <a:cubicBezTo>
                      <a:pt x="125543" y="55981"/>
                      <a:pt x="119621" y="58179"/>
                      <a:pt x="115055" y="62239"/>
                    </a:cubicBezTo>
                    <a:cubicBezTo>
                      <a:pt x="108439" y="59846"/>
                      <a:pt x="101128" y="60193"/>
                      <a:pt x="94773" y="63213"/>
                    </a:cubicBezTo>
                    <a:cubicBezTo>
                      <a:pt x="92972" y="63927"/>
                      <a:pt x="91280" y="64913"/>
                      <a:pt x="89783" y="66136"/>
                    </a:cubicBezTo>
                    <a:lnTo>
                      <a:pt x="65271" y="16445"/>
                    </a:lnTo>
                    <a:cubicBezTo>
                      <a:pt x="58557" y="2155"/>
                      <a:pt x="41507" y="-3994"/>
                      <a:pt x="27191" y="2718"/>
                    </a:cubicBezTo>
                    <a:cubicBezTo>
                      <a:pt x="27050" y="2783"/>
                      <a:pt x="26909" y="2848"/>
                      <a:pt x="26768" y="2913"/>
                    </a:cubicBezTo>
                    <a:cubicBezTo>
                      <a:pt x="12689" y="9949"/>
                      <a:pt x="6702" y="26827"/>
                      <a:pt x="13210" y="41128"/>
                    </a:cubicBezTo>
                    <a:lnTo>
                      <a:pt x="47050" y="118209"/>
                    </a:lnTo>
                    <a:cubicBezTo>
                      <a:pt x="41138" y="116866"/>
                      <a:pt x="35108" y="116130"/>
                      <a:pt x="29045" y="116043"/>
                    </a:cubicBezTo>
                    <a:cubicBezTo>
                      <a:pt x="18231" y="114831"/>
                      <a:pt x="7667" y="119876"/>
                      <a:pt x="1821" y="129034"/>
                    </a:cubicBezTo>
                    <a:cubicBezTo>
                      <a:pt x="-1780" y="137479"/>
                      <a:pt x="53" y="147255"/>
                      <a:pt x="6485" y="153826"/>
                    </a:cubicBezTo>
                    <a:cubicBezTo>
                      <a:pt x="11637" y="159044"/>
                      <a:pt x="17657" y="163331"/>
                      <a:pt x="24273" y="166492"/>
                    </a:cubicBezTo>
                    <a:lnTo>
                      <a:pt x="32407" y="171364"/>
                    </a:lnTo>
                    <a:cubicBezTo>
                      <a:pt x="35477" y="173226"/>
                      <a:pt x="38253" y="175521"/>
                      <a:pt x="40651" y="178184"/>
                    </a:cubicBezTo>
                    <a:cubicBezTo>
                      <a:pt x="45151" y="187971"/>
                      <a:pt x="51659" y="196707"/>
                      <a:pt x="59739" y="203842"/>
                    </a:cubicBezTo>
                    <a:cubicBezTo>
                      <a:pt x="75683" y="216010"/>
                      <a:pt x="93146" y="226056"/>
                      <a:pt x="111692" y="233721"/>
                    </a:cubicBezTo>
                    <a:cubicBezTo>
                      <a:pt x="112289" y="234078"/>
                      <a:pt x="112810" y="234555"/>
                      <a:pt x="113211" y="235129"/>
                    </a:cubicBezTo>
                    <a:lnTo>
                      <a:pt x="125250" y="261652"/>
                    </a:lnTo>
                    <a:cubicBezTo>
                      <a:pt x="130825" y="271579"/>
                      <a:pt x="141790" y="277241"/>
                      <a:pt x="153125" y="276051"/>
                    </a:cubicBezTo>
                    <a:cubicBezTo>
                      <a:pt x="166737" y="275293"/>
                      <a:pt x="180023" y="271601"/>
                      <a:pt x="192062" y="265225"/>
                    </a:cubicBezTo>
                    <a:cubicBezTo>
                      <a:pt x="198136" y="262843"/>
                      <a:pt x="251065" y="240974"/>
                      <a:pt x="246293" y="202001"/>
                    </a:cubicBezTo>
                  </a:path>
                </a:pathLst>
              </a:custGeom>
              <a:solidFill>
                <a:srgbClr val="231F2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5" name="Freeform 94">
                <a:extLst>
                  <a:ext uri="{FF2B5EF4-FFF2-40B4-BE49-F238E27FC236}">
                    <a16:creationId xmlns:a16="http://schemas.microsoft.com/office/drawing/2014/main" id="{571DEF42-496F-5C46-86E8-C37BC77FB270}"/>
                  </a:ext>
                </a:extLst>
              </p:cNvPr>
              <p:cNvSpPr/>
              <p:nvPr/>
            </p:nvSpPr>
            <p:spPr>
              <a:xfrm>
                <a:off x="6120318" y="3201824"/>
                <a:ext cx="190242" cy="167693"/>
              </a:xfrm>
              <a:custGeom>
                <a:avLst/>
                <a:gdLst>
                  <a:gd name="connsiteX0" fmla="*/ 172129 w 190242"/>
                  <a:gd name="connsiteY0" fmla="*/ 100898 h 167693"/>
                  <a:gd name="connsiteX1" fmla="*/ 185795 w 190242"/>
                  <a:gd name="connsiteY1" fmla="*/ 100898 h 167693"/>
                  <a:gd name="connsiteX2" fmla="*/ 188940 w 190242"/>
                  <a:gd name="connsiteY2" fmla="*/ 99599 h 167693"/>
                  <a:gd name="connsiteX3" fmla="*/ 190242 w 190242"/>
                  <a:gd name="connsiteY3" fmla="*/ 96351 h 167693"/>
                  <a:gd name="connsiteX4" fmla="*/ 190242 w 190242"/>
                  <a:gd name="connsiteY4" fmla="*/ 95160 h 167693"/>
                  <a:gd name="connsiteX5" fmla="*/ 95338 w 190242"/>
                  <a:gd name="connsiteY5" fmla="*/ 0 h 167693"/>
                  <a:gd name="connsiteX6" fmla="*/ 1 w 190242"/>
                  <a:gd name="connsiteY6" fmla="*/ 94727 h 167693"/>
                  <a:gd name="connsiteX7" fmla="*/ 31129 w 190242"/>
                  <a:gd name="connsiteY7" fmla="*/ 166503 h 167693"/>
                  <a:gd name="connsiteX8" fmla="*/ 34166 w 190242"/>
                  <a:gd name="connsiteY8" fmla="*/ 167694 h 167693"/>
                  <a:gd name="connsiteX9" fmla="*/ 34166 w 190242"/>
                  <a:gd name="connsiteY9" fmla="*/ 167694 h 167693"/>
                  <a:gd name="connsiteX10" fmla="*/ 37203 w 190242"/>
                  <a:gd name="connsiteY10" fmla="*/ 166178 h 167693"/>
                  <a:gd name="connsiteX11" fmla="*/ 46314 w 190242"/>
                  <a:gd name="connsiteY11" fmla="*/ 155893 h 167693"/>
                  <a:gd name="connsiteX12" fmla="*/ 46314 w 190242"/>
                  <a:gd name="connsiteY12" fmla="*/ 149614 h 167693"/>
                  <a:gd name="connsiteX13" fmla="*/ 46314 w 190242"/>
                  <a:gd name="connsiteY13" fmla="*/ 149614 h 167693"/>
                  <a:gd name="connsiteX14" fmla="*/ 22561 w 190242"/>
                  <a:gd name="connsiteY14" fmla="*/ 94835 h 167693"/>
                  <a:gd name="connsiteX15" fmla="*/ 92258 w 190242"/>
                  <a:gd name="connsiteY15" fmla="*/ 19660 h 167693"/>
                  <a:gd name="connsiteX16" fmla="*/ 167573 w 190242"/>
                  <a:gd name="connsiteY16" fmla="*/ 89238 h 167693"/>
                  <a:gd name="connsiteX17" fmla="*/ 167573 w 190242"/>
                  <a:gd name="connsiteY17" fmla="*/ 94835 h 167693"/>
                  <a:gd name="connsiteX18" fmla="*/ 167573 w 190242"/>
                  <a:gd name="connsiteY18" fmla="*/ 95918 h 167693"/>
                  <a:gd name="connsiteX19" fmla="*/ 171912 w 190242"/>
                  <a:gd name="connsiteY19" fmla="*/ 100465 h 167693"/>
                  <a:gd name="connsiteX20" fmla="*/ 171912 w 190242"/>
                  <a:gd name="connsiteY20" fmla="*/ 100465 h 167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90242" h="167693">
                    <a:moveTo>
                      <a:pt x="172129" y="100898"/>
                    </a:moveTo>
                    <a:lnTo>
                      <a:pt x="185795" y="100898"/>
                    </a:lnTo>
                    <a:cubicBezTo>
                      <a:pt x="186966" y="100876"/>
                      <a:pt x="188094" y="100411"/>
                      <a:pt x="188940" y="99599"/>
                    </a:cubicBezTo>
                    <a:cubicBezTo>
                      <a:pt x="189786" y="98733"/>
                      <a:pt x="190263" y="97563"/>
                      <a:pt x="190242" y="96351"/>
                    </a:cubicBezTo>
                    <a:lnTo>
                      <a:pt x="190242" y="95160"/>
                    </a:lnTo>
                    <a:cubicBezTo>
                      <a:pt x="190361" y="42719"/>
                      <a:pt x="147877" y="119"/>
                      <a:pt x="95338" y="0"/>
                    </a:cubicBezTo>
                    <a:cubicBezTo>
                      <a:pt x="42800" y="-119"/>
                      <a:pt x="120" y="42286"/>
                      <a:pt x="1" y="94727"/>
                    </a:cubicBezTo>
                    <a:cubicBezTo>
                      <a:pt x="-118" y="121943"/>
                      <a:pt x="11161" y="147969"/>
                      <a:pt x="31129" y="166503"/>
                    </a:cubicBezTo>
                    <a:cubicBezTo>
                      <a:pt x="31954" y="167271"/>
                      <a:pt x="33038" y="167694"/>
                      <a:pt x="34166" y="167694"/>
                    </a:cubicBezTo>
                    <a:lnTo>
                      <a:pt x="34166" y="167694"/>
                    </a:lnTo>
                    <a:cubicBezTo>
                      <a:pt x="35327" y="167575"/>
                      <a:pt x="36411" y="167033"/>
                      <a:pt x="37203" y="166178"/>
                    </a:cubicBezTo>
                    <a:lnTo>
                      <a:pt x="46314" y="155893"/>
                    </a:lnTo>
                    <a:cubicBezTo>
                      <a:pt x="48049" y="154161"/>
                      <a:pt x="48049" y="151346"/>
                      <a:pt x="46314" y="149614"/>
                    </a:cubicBezTo>
                    <a:cubicBezTo>
                      <a:pt x="46314" y="149614"/>
                      <a:pt x="46314" y="149614"/>
                      <a:pt x="46314" y="149614"/>
                    </a:cubicBezTo>
                    <a:cubicBezTo>
                      <a:pt x="31086" y="135465"/>
                      <a:pt x="22463" y="115599"/>
                      <a:pt x="22561" y="94835"/>
                    </a:cubicBezTo>
                    <a:cubicBezTo>
                      <a:pt x="21010" y="54866"/>
                      <a:pt x="52214" y="21208"/>
                      <a:pt x="92258" y="19660"/>
                    </a:cubicBezTo>
                    <a:cubicBezTo>
                      <a:pt x="132302" y="18123"/>
                      <a:pt x="166022" y="49269"/>
                      <a:pt x="167573" y="89238"/>
                    </a:cubicBezTo>
                    <a:cubicBezTo>
                      <a:pt x="167649" y="91100"/>
                      <a:pt x="167649" y="92973"/>
                      <a:pt x="167573" y="94835"/>
                    </a:cubicBezTo>
                    <a:lnTo>
                      <a:pt x="167573" y="95918"/>
                    </a:lnTo>
                    <a:cubicBezTo>
                      <a:pt x="167508" y="98364"/>
                      <a:pt x="169450" y="100400"/>
                      <a:pt x="171912" y="100465"/>
                    </a:cubicBezTo>
                    <a:cubicBezTo>
                      <a:pt x="171912" y="100465"/>
                      <a:pt x="171912" y="100465"/>
                      <a:pt x="171912" y="100465"/>
                    </a:cubicBezTo>
                  </a:path>
                </a:pathLst>
              </a:custGeom>
              <a:solidFill>
                <a:srgbClr val="231F2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6" name="Freeform 95">
                <a:extLst>
                  <a:ext uri="{FF2B5EF4-FFF2-40B4-BE49-F238E27FC236}">
                    <a16:creationId xmlns:a16="http://schemas.microsoft.com/office/drawing/2014/main" id="{D2897223-92A4-DF45-B834-7BA0DECFC159}"/>
                  </a:ext>
                </a:extLst>
              </p:cNvPr>
              <p:cNvSpPr/>
              <p:nvPr/>
            </p:nvSpPr>
            <p:spPr>
              <a:xfrm>
                <a:off x="6154580" y="3234723"/>
                <a:ext cx="121922" cy="107296"/>
              </a:xfrm>
              <a:custGeom>
                <a:avLst/>
                <a:gdLst>
                  <a:gd name="connsiteX0" fmla="*/ 61076 w 121922"/>
                  <a:gd name="connsiteY0" fmla="*/ 23179 h 107296"/>
                  <a:gd name="connsiteX1" fmla="*/ 99362 w 121922"/>
                  <a:gd name="connsiteY1" fmla="*/ 60529 h 107296"/>
                  <a:gd name="connsiteX2" fmla="*/ 104026 w 121922"/>
                  <a:gd name="connsiteY2" fmla="*/ 64859 h 107296"/>
                  <a:gd name="connsiteX3" fmla="*/ 117584 w 121922"/>
                  <a:gd name="connsiteY3" fmla="*/ 64318 h 107296"/>
                  <a:gd name="connsiteX4" fmla="*/ 120729 w 121922"/>
                  <a:gd name="connsiteY4" fmla="*/ 62911 h 107296"/>
                  <a:gd name="connsiteX5" fmla="*/ 121922 w 121922"/>
                  <a:gd name="connsiteY5" fmla="*/ 59663 h 107296"/>
                  <a:gd name="connsiteX6" fmla="*/ 59774 w 121922"/>
                  <a:gd name="connsiteY6" fmla="*/ 12 h 107296"/>
                  <a:gd name="connsiteX7" fmla="*/ 12 w 121922"/>
                  <a:gd name="connsiteY7" fmla="*/ 62045 h 107296"/>
                  <a:gd name="connsiteX8" fmla="*/ 17908 w 121922"/>
                  <a:gd name="connsiteY8" fmla="*/ 105998 h 107296"/>
                  <a:gd name="connsiteX9" fmla="*/ 21053 w 121922"/>
                  <a:gd name="connsiteY9" fmla="*/ 107297 h 107296"/>
                  <a:gd name="connsiteX10" fmla="*/ 21053 w 121922"/>
                  <a:gd name="connsiteY10" fmla="*/ 107297 h 107296"/>
                  <a:gd name="connsiteX11" fmla="*/ 24199 w 121922"/>
                  <a:gd name="connsiteY11" fmla="*/ 105998 h 107296"/>
                  <a:gd name="connsiteX12" fmla="*/ 33852 w 121922"/>
                  <a:gd name="connsiteY12" fmla="*/ 96146 h 107296"/>
                  <a:gd name="connsiteX13" fmla="*/ 35153 w 121922"/>
                  <a:gd name="connsiteY13" fmla="*/ 93007 h 107296"/>
                  <a:gd name="connsiteX14" fmla="*/ 33852 w 121922"/>
                  <a:gd name="connsiteY14" fmla="*/ 89759 h 107296"/>
                  <a:gd name="connsiteX15" fmla="*/ 34112 w 121922"/>
                  <a:gd name="connsiteY15" fmla="*/ 34493 h 107296"/>
                  <a:gd name="connsiteX16" fmla="*/ 61076 w 121922"/>
                  <a:gd name="connsiteY16" fmla="*/ 23179 h 1072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21922" h="107296">
                    <a:moveTo>
                      <a:pt x="61076" y="23179"/>
                    </a:moveTo>
                    <a:cubicBezTo>
                      <a:pt x="81835" y="23288"/>
                      <a:pt x="98777" y="39808"/>
                      <a:pt x="99362" y="60529"/>
                    </a:cubicBezTo>
                    <a:cubicBezTo>
                      <a:pt x="99482" y="62997"/>
                      <a:pt x="101553" y="64924"/>
                      <a:pt x="104026" y="64859"/>
                    </a:cubicBezTo>
                    <a:lnTo>
                      <a:pt x="117584" y="64318"/>
                    </a:lnTo>
                    <a:cubicBezTo>
                      <a:pt x="118788" y="64318"/>
                      <a:pt x="119927" y="63809"/>
                      <a:pt x="120729" y="62911"/>
                    </a:cubicBezTo>
                    <a:cubicBezTo>
                      <a:pt x="121499" y="62001"/>
                      <a:pt x="121922" y="60854"/>
                      <a:pt x="121922" y="59663"/>
                    </a:cubicBezTo>
                    <a:cubicBezTo>
                      <a:pt x="121261" y="26059"/>
                      <a:pt x="93440" y="-648"/>
                      <a:pt x="59774" y="12"/>
                    </a:cubicBezTo>
                    <a:cubicBezTo>
                      <a:pt x="26108" y="672"/>
                      <a:pt x="-650" y="28441"/>
                      <a:pt x="12" y="62045"/>
                    </a:cubicBezTo>
                    <a:cubicBezTo>
                      <a:pt x="-75" y="78478"/>
                      <a:pt x="6368" y="94284"/>
                      <a:pt x="17908" y="105998"/>
                    </a:cubicBezTo>
                    <a:cubicBezTo>
                      <a:pt x="18754" y="106810"/>
                      <a:pt x="19882" y="107275"/>
                      <a:pt x="21053" y="107297"/>
                    </a:cubicBezTo>
                    <a:lnTo>
                      <a:pt x="21053" y="107297"/>
                    </a:lnTo>
                    <a:cubicBezTo>
                      <a:pt x="22225" y="107254"/>
                      <a:pt x="23342" y="106799"/>
                      <a:pt x="24199" y="105998"/>
                    </a:cubicBezTo>
                    <a:lnTo>
                      <a:pt x="33852" y="96146"/>
                    </a:lnTo>
                    <a:cubicBezTo>
                      <a:pt x="34654" y="95291"/>
                      <a:pt x="35110" y="94176"/>
                      <a:pt x="35153" y="93007"/>
                    </a:cubicBezTo>
                    <a:cubicBezTo>
                      <a:pt x="35121" y="91805"/>
                      <a:pt x="34654" y="90657"/>
                      <a:pt x="33852" y="89759"/>
                    </a:cubicBezTo>
                    <a:cubicBezTo>
                      <a:pt x="18635" y="74418"/>
                      <a:pt x="18754" y="49681"/>
                      <a:pt x="34112" y="34493"/>
                    </a:cubicBezTo>
                    <a:cubicBezTo>
                      <a:pt x="41303" y="27391"/>
                      <a:pt x="50967" y="23331"/>
                      <a:pt x="61076" y="23179"/>
                    </a:cubicBezTo>
                  </a:path>
                </a:pathLst>
              </a:custGeom>
              <a:solidFill>
                <a:srgbClr val="231F20"/>
              </a:solidFill>
              <a:ln w="10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97" name="Freeform 96">
              <a:extLst>
                <a:ext uri="{FF2B5EF4-FFF2-40B4-BE49-F238E27FC236}">
                  <a16:creationId xmlns:a16="http://schemas.microsoft.com/office/drawing/2014/main" id="{2433DF20-CC47-E54B-A7FE-DADE0BBA3D36}"/>
                </a:ext>
              </a:extLst>
            </p:cNvPr>
            <p:cNvSpPr/>
            <p:nvPr/>
          </p:nvSpPr>
          <p:spPr>
            <a:xfrm>
              <a:off x="10618309" y="3127991"/>
              <a:ext cx="178526" cy="172348"/>
            </a:xfrm>
            <a:custGeom>
              <a:avLst/>
              <a:gdLst>
                <a:gd name="connsiteX0" fmla="*/ 34165 w 178526"/>
                <a:gd name="connsiteY0" fmla="*/ 172349 h 172348"/>
                <a:gd name="connsiteX1" fmla="*/ 89372 w 178526"/>
                <a:gd name="connsiteY1" fmla="*/ 142902 h 172348"/>
                <a:gd name="connsiteX2" fmla="*/ 144470 w 178526"/>
                <a:gd name="connsiteY2" fmla="*/ 172349 h 172348"/>
                <a:gd name="connsiteX3" fmla="*/ 133949 w 178526"/>
                <a:gd name="connsiteY3" fmla="*/ 109991 h 172348"/>
                <a:gd name="connsiteX4" fmla="*/ 178527 w 178526"/>
                <a:gd name="connsiteY4" fmla="*/ 65822 h 172348"/>
                <a:gd name="connsiteX5" fmla="*/ 116921 w 178526"/>
                <a:gd name="connsiteY5" fmla="*/ 56728 h 172348"/>
                <a:gd name="connsiteX6" fmla="*/ 89372 w 178526"/>
                <a:gd name="connsiteY6" fmla="*/ 0 h 172348"/>
                <a:gd name="connsiteX7" fmla="*/ 61714 w 178526"/>
                <a:gd name="connsiteY7" fmla="*/ 56728 h 172348"/>
                <a:gd name="connsiteX8" fmla="*/ 0 w 178526"/>
                <a:gd name="connsiteY8" fmla="*/ 65822 h 172348"/>
                <a:gd name="connsiteX9" fmla="*/ 44686 w 178526"/>
                <a:gd name="connsiteY9" fmla="*/ 109991 h 172348"/>
                <a:gd name="connsiteX10" fmla="*/ 34165 w 178526"/>
                <a:gd name="connsiteY10" fmla="*/ 172349 h 172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8526" h="172348">
                  <a:moveTo>
                    <a:pt x="34165" y="172349"/>
                  </a:moveTo>
                  <a:lnTo>
                    <a:pt x="89372" y="142902"/>
                  </a:lnTo>
                  <a:lnTo>
                    <a:pt x="144470" y="172349"/>
                  </a:lnTo>
                  <a:lnTo>
                    <a:pt x="133949" y="109991"/>
                  </a:lnTo>
                  <a:lnTo>
                    <a:pt x="178527" y="65822"/>
                  </a:lnTo>
                  <a:lnTo>
                    <a:pt x="116921" y="56728"/>
                  </a:lnTo>
                  <a:lnTo>
                    <a:pt x="89372" y="0"/>
                  </a:lnTo>
                  <a:lnTo>
                    <a:pt x="61714" y="56728"/>
                  </a:lnTo>
                  <a:lnTo>
                    <a:pt x="0" y="65822"/>
                  </a:lnTo>
                  <a:lnTo>
                    <a:pt x="44686" y="109991"/>
                  </a:lnTo>
                  <a:lnTo>
                    <a:pt x="34165" y="172349"/>
                  </a:lnTo>
                  <a:close/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" name="Freeform 97">
              <a:extLst>
                <a:ext uri="{FF2B5EF4-FFF2-40B4-BE49-F238E27FC236}">
                  <a16:creationId xmlns:a16="http://schemas.microsoft.com/office/drawing/2014/main" id="{F8FD5AD9-6BB2-9840-ADA3-B4786E96C8A5}"/>
                </a:ext>
              </a:extLst>
            </p:cNvPr>
            <p:cNvSpPr/>
            <p:nvPr/>
          </p:nvSpPr>
          <p:spPr>
            <a:xfrm>
              <a:off x="8091436" y="4564427"/>
              <a:ext cx="28636" cy="146853"/>
            </a:xfrm>
            <a:custGeom>
              <a:avLst/>
              <a:gdLst>
                <a:gd name="connsiteX0" fmla="*/ 14371 w 28636"/>
                <a:gd name="connsiteY0" fmla="*/ 146854 h 146853"/>
                <a:gd name="connsiteX1" fmla="*/ 54 w 28636"/>
                <a:gd name="connsiteY1" fmla="*/ 132347 h 146853"/>
                <a:gd name="connsiteX2" fmla="*/ 54 w 28636"/>
                <a:gd name="connsiteY2" fmla="*/ 132347 h 146853"/>
                <a:gd name="connsiteX3" fmla="*/ 54 w 28636"/>
                <a:gd name="connsiteY3" fmla="*/ 15535 h 146853"/>
                <a:gd name="connsiteX4" fmla="*/ 13070 w 28636"/>
                <a:gd name="connsiteY4" fmla="*/ 54 h 146853"/>
                <a:gd name="connsiteX5" fmla="*/ 28580 w 28636"/>
                <a:gd name="connsiteY5" fmla="*/ 13046 h 146853"/>
                <a:gd name="connsiteX6" fmla="*/ 28580 w 28636"/>
                <a:gd name="connsiteY6" fmla="*/ 15535 h 146853"/>
                <a:gd name="connsiteX7" fmla="*/ 28580 w 28636"/>
                <a:gd name="connsiteY7" fmla="*/ 132347 h 146853"/>
                <a:gd name="connsiteX8" fmla="*/ 14480 w 28636"/>
                <a:gd name="connsiteY8" fmla="*/ 146854 h 146853"/>
                <a:gd name="connsiteX9" fmla="*/ 14371 w 28636"/>
                <a:gd name="connsiteY9" fmla="*/ 146854 h 146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636" h="146853">
                  <a:moveTo>
                    <a:pt x="14371" y="146854"/>
                  </a:moveTo>
                  <a:cubicBezTo>
                    <a:pt x="6400" y="146789"/>
                    <a:pt x="-10" y="140304"/>
                    <a:pt x="54" y="132347"/>
                  </a:cubicBezTo>
                  <a:cubicBezTo>
                    <a:pt x="54" y="132347"/>
                    <a:pt x="54" y="132347"/>
                    <a:pt x="54" y="132347"/>
                  </a:cubicBezTo>
                  <a:lnTo>
                    <a:pt x="54" y="15535"/>
                  </a:lnTo>
                  <a:cubicBezTo>
                    <a:pt x="-629" y="7676"/>
                    <a:pt x="5196" y="747"/>
                    <a:pt x="13070" y="54"/>
                  </a:cubicBezTo>
                  <a:cubicBezTo>
                    <a:pt x="20944" y="-628"/>
                    <a:pt x="27897" y="5186"/>
                    <a:pt x="28580" y="13046"/>
                  </a:cubicBezTo>
                  <a:cubicBezTo>
                    <a:pt x="28656" y="13879"/>
                    <a:pt x="28656" y="14713"/>
                    <a:pt x="28580" y="15535"/>
                  </a:cubicBezTo>
                  <a:lnTo>
                    <a:pt x="28580" y="132347"/>
                  </a:lnTo>
                  <a:cubicBezTo>
                    <a:pt x="28699" y="140239"/>
                    <a:pt x="22387" y="146735"/>
                    <a:pt x="14480" y="146854"/>
                  </a:cubicBezTo>
                  <a:cubicBezTo>
                    <a:pt x="14447" y="146854"/>
                    <a:pt x="14404" y="146854"/>
                    <a:pt x="14371" y="146854"/>
                  </a:cubicBezTo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" name="Freeform 98">
              <a:extLst>
                <a:ext uri="{FF2B5EF4-FFF2-40B4-BE49-F238E27FC236}">
                  <a16:creationId xmlns:a16="http://schemas.microsoft.com/office/drawing/2014/main" id="{108E7B88-2379-CC4D-8705-ECB96CAD6946}"/>
                </a:ext>
              </a:extLst>
            </p:cNvPr>
            <p:cNvSpPr/>
            <p:nvPr/>
          </p:nvSpPr>
          <p:spPr>
            <a:xfrm>
              <a:off x="8375548" y="4547485"/>
              <a:ext cx="29503" cy="167693"/>
            </a:xfrm>
            <a:custGeom>
              <a:avLst/>
              <a:gdLst>
                <a:gd name="connsiteX0" fmla="*/ 15295 w 29503"/>
                <a:gd name="connsiteY0" fmla="*/ 167694 h 167693"/>
                <a:gd name="connsiteX1" fmla="*/ 1086 w 29503"/>
                <a:gd name="connsiteY1" fmla="*/ 153295 h 167693"/>
                <a:gd name="connsiteX2" fmla="*/ 1086 w 29503"/>
                <a:gd name="connsiteY2" fmla="*/ 153295 h 167693"/>
                <a:gd name="connsiteX3" fmla="*/ 2 w 29503"/>
                <a:gd name="connsiteY3" fmla="*/ 14507 h 167693"/>
                <a:gd name="connsiteX4" fmla="*/ 14102 w 29503"/>
                <a:gd name="connsiteY4" fmla="*/ 0 h 167693"/>
                <a:gd name="connsiteX5" fmla="*/ 14210 w 29503"/>
                <a:gd name="connsiteY5" fmla="*/ 0 h 167693"/>
                <a:gd name="connsiteX6" fmla="*/ 14210 w 29503"/>
                <a:gd name="connsiteY6" fmla="*/ 0 h 167693"/>
                <a:gd name="connsiteX7" fmla="*/ 28418 w 29503"/>
                <a:gd name="connsiteY7" fmla="*/ 14290 h 167693"/>
                <a:gd name="connsiteX8" fmla="*/ 29503 w 29503"/>
                <a:gd name="connsiteY8" fmla="*/ 153079 h 167693"/>
                <a:gd name="connsiteX9" fmla="*/ 15295 w 29503"/>
                <a:gd name="connsiteY9" fmla="*/ 167694 h 167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03" h="167693">
                  <a:moveTo>
                    <a:pt x="15295" y="167694"/>
                  </a:moveTo>
                  <a:cubicBezTo>
                    <a:pt x="7388" y="167639"/>
                    <a:pt x="1032" y="161187"/>
                    <a:pt x="1086" y="153295"/>
                  </a:cubicBezTo>
                  <a:cubicBezTo>
                    <a:pt x="1086" y="153295"/>
                    <a:pt x="1086" y="153295"/>
                    <a:pt x="1086" y="153295"/>
                  </a:cubicBezTo>
                  <a:lnTo>
                    <a:pt x="2" y="14507"/>
                  </a:lnTo>
                  <a:cubicBezTo>
                    <a:pt x="-117" y="6615"/>
                    <a:pt x="6195" y="119"/>
                    <a:pt x="14102" y="0"/>
                  </a:cubicBezTo>
                  <a:cubicBezTo>
                    <a:pt x="14134" y="0"/>
                    <a:pt x="14178" y="0"/>
                    <a:pt x="14210" y="0"/>
                  </a:cubicBezTo>
                  <a:lnTo>
                    <a:pt x="14210" y="0"/>
                  </a:lnTo>
                  <a:cubicBezTo>
                    <a:pt x="22074" y="54"/>
                    <a:pt x="28418" y="6441"/>
                    <a:pt x="28418" y="14290"/>
                  </a:cubicBezTo>
                  <a:lnTo>
                    <a:pt x="29503" y="153079"/>
                  </a:lnTo>
                  <a:cubicBezTo>
                    <a:pt x="29568" y="161003"/>
                    <a:pt x="23234" y="167520"/>
                    <a:pt x="15295" y="167694"/>
                  </a:cubicBezTo>
                  <a:close/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" name="Freeform 99">
              <a:extLst>
                <a:ext uri="{FF2B5EF4-FFF2-40B4-BE49-F238E27FC236}">
                  <a16:creationId xmlns:a16="http://schemas.microsoft.com/office/drawing/2014/main" id="{2D37427F-4BA0-AA4F-89B3-435650550009}"/>
                </a:ext>
              </a:extLst>
            </p:cNvPr>
            <p:cNvSpPr/>
            <p:nvPr/>
          </p:nvSpPr>
          <p:spPr>
            <a:xfrm>
              <a:off x="7999716" y="4592023"/>
              <a:ext cx="252083" cy="542983"/>
            </a:xfrm>
            <a:custGeom>
              <a:avLst/>
              <a:gdLst>
                <a:gd name="connsiteX0" fmla="*/ 228870 w 252083"/>
                <a:gd name="connsiteY0" fmla="*/ 542984 h 542983"/>
                <a:gd name="connsiteX1" fmla="*/ 228870 w 252083"/>
                <a:gd name="connsiteY1" fmla="*/ 542984 h 542983"/>
                <a:gd name="connsiteX2" fmla="*/ 214878 w 252083"/>
                <a:gd name="connsiteY2" fmla="*/ 528153 h 542983"/>
                <a:gd name="connsiteX3" fmla="*/ 222470 w 252083"/>
                <a:gd name="connsiteY3" fmla="*/ 187786 h 542983"/>
                <a:gd name="connsiteX4" fmla="*/ 21926 w 252083"/>
                <a:gd name="connsiteY4" fmla="*/ 78444 h 542983"/>
                <a:gd name="connsiteX5" fmla="*/ 233 w 252083"/>
                <a:gd name="connsiteY5" fmla="*/ 47807 h 542983"/>
                <a:gd name="connsiteX6" fmla="*/ 91232 w 252083"/>
                <a:gd name="connsiteY6" fmla="*/ 281 h 542983"/>
                <a:gd name="connsiteX7" fmla="*/ 107848 w 252083"/>
                <a:gd name="connsiteY7" fmla="*/ 11280 h 542983"/>
                <a:gd name="connsiteX8" fmla="*/ 107936 w 252083"/>
                <a:gd name="connsiteY8" fmla="*/ 11756 h 542983"/>
                <a:gd name="connsiteX9" fmla="*/ 97089 w 252083"/>
                <a:gd name="connsiteY9" fmla="*/ 28753 h 542983"/>
                <a:gd name="connsiteX10" fmla="*/ 32013 w 252083"/>
                <a:gd name="connsiteY10" fmla="*/ 50405 h 542983"/>
                <a:gd name="connsiteX11" fmla="*/ 35483 w 252083"/>
                <a:gd name="connsiteY11" fmla="*/ 52462 h 542983"/>
                <a:gd name="connsiteX12" fmla="*/ 244705 w 252083"/>
                <a:gd name="connsiteY12" fmla="*/ 166459 h 542983"/>
                <a:gd name="connsiteX13" fmla="*/ 252080 w 252083"/>
                <a:gd name="connsiteY13" fmla="*/ 179450 h 542983"/>
                <a:gd name="connsiteX14" fmla="*/ 243187 w 252083"/>
                <a:gd name="connsiteY14" fmla="*/ 528694 h 542983"/>
                <a:gd name="connsiteX15" fmla="*/ 228870 w 252083"/>
                <a:gd name="connsiteY15" fmla="*/ 542876 h 542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52083" h="542983">
                  <a:moveTo>
                    <a:pt x="228870" y="542984"/>
                  </a:moveTo>
                  <a:lnTo>
                    <a:pt x="228870" y="542984"/>
                  </a:lnTo>
                  <a:cubicBezTo>
                    <a:pt x="220930" y="542692"/>
                    <a:pt x="214694" y="536088"/>
                    <a:pt x="214878" y="528153"/>
                  </a:cubicBezTo>
                  <a:lnTo>
                    <a:pt x="222470" y="187786"/>
                  </a:lnTo>
                  <a:cubicBezTo>
                    <a:pt x="190691" y="170031"/>
                    <a:pt x="68239" y="102044"/>
                    <a:pt x="21926" y="78444"/>
                  </a:cubicBezTo>
                  <a:cubicBezTo>
                    <a:pt x="1861" y="68268"/>
                    <a:pt x="-959" y="56143"/>
                    <a:pt x="233" y="47807"/>
                  </a:cubicBezTo>
                  <a:cubicBezTo>
                    <a:pt x="2077" y="33949"/>
                    <a:pt x="19431" y="14355"/>
                    <a:pt x="91232" y="281"/>
                  </a:cubicBezTo>
                  <a:cubicBezTo>
                    <a:pt x="98868" y="-1256"/>
                    <a:pt x="106308" y="3669"/>
                    <a:pt x="107848" y="11280"/>
                  </a:cubicBezTo>
                  <a:cubicBezTo>
                    <a:pt x="107881" y="11443"/>
                    <a:pt x="107914" y="11594"/>
                    <a:pt x="107936" y="11756"/>
                  </a:cubicBezTo>
                  <a:cubicBezTo>
                    <a:pt x="109551" y="19421"/>
                    <a:pt x="104736" y="26978"/>
                    <a:pt x="97089" y="28753"/>
                  </a:cubicBezTo>
                  <a:cubicBezTo>
                    <a:pt x="74432" y="32650"/>
                    <a:pt x="52490" y="39947"/>
                    <a:pt x="32013" y="50405"/>
                  </a:cubicBezTo>
                  <a:cubicBezTo>
                    <a:pt x="33119" y="51173"/>
                    <a:pt x="34279" y="51856"/>
                    <a:pt x="35483" y="52462"/>
                  </a:cubicBezTo>
                  <a:cubicBezTo>
                    <a:pt x="89714" y="79743"/>
                    <a:pt x="243078" y="165593"/>
                    <a:pt x="244705" y="166459"/>
                  </a:cubicBezTo>
                  <a:cubicBezTo>
                    <a:pt x="249358" y="169111"/>
                    <a:pt x="252189" y="174102"/>
                    <a:pt x="252080" y="179450"/>
                  </a:cubicBezTo>
                  <a:lnTo>
                    <a:pt x="243187" y="528694"/>
                  </a:lnTo>
                  <a:cubicBezTo>
                    <a:pt x="243013" y="536499"/>
                    <a:pt x="236690" y="542757"/>
                    <a:pt x="228870" y="542876"/>
                  </a:cubicBezTo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" name="Freeform 100">
              <a:extLst>
                <a:ext uri="{FF2B5EF4-FFF2-40B4-BE49-F238E27FC236}">
                  <a16:creationId xmlns:a16="http://schemas.microsoft.com/office/drawing/2014/main" id="{AEA2F2CA-CAAE-0C4E-BBCD-0619CE280549}"/>
                </a:ext>
              </a:extLst>
            </p:cNvPr>
            <p:cNvSpPr/>
            <p:nvPr/>
          </p:nvSpPr>
          <p:spPr>
            <a:xfrm>
              <a:off x="7576797" y="4635608"/>
              <a:ext cx="453200" cy="397745"/>
            </a:xfrm>
            <a:custGeom>
              <a:avLst/>
              <a:gdLst>
                <a:gd name="connsiteX0" fmla="*/ 14254 w 453200"/>
                <a:gd name="connsiteY0" fmla="*/ 397311 h 397745"/>
                <a:gd name="connsiteX1" fmla="*/ 1239 w 453200"/>
                <a:gd name="connsiteY1" fmla="*/ 388650 h 397745"/>
                <a:gd name="connsiteX2" fmla="*/ 8506 w 453200"/>
                <a:gd name="connsiteY2" fmla="*/ 369596 h 397745"/>
                <a:gd name="connsiteX3" fmla="*/ 424779 w 453200"/>
                <a:gd name="connsiteY3" fmla="*/ 185556 h 397745"/>
                <a:gd name="connsiteX4" fmla="*/ 421200 w 453200"/>
                <a:gd name="connsiteY4" fmla="*/ 14831 h 397745"/>
                <a:gd name="connsiteX5" fmla="*/ 434953 w 453200"/>
                <a:gd name="connsiteY5" fmla="*/ 0 h 397745"/>
                <a:gd name="connsiteX6" fmla="*/ 435083 w 453200"/>
                <a:gd name="connsiteY6" fmla="*/ 0 h 397745"/>
                <a:gd name="connsiteX7" fmla="*/ 435083 w 453200"/>
                <a:gd name="connsiteY7" fmla="*/ 0 h 397745"/>
                <a:gd name="connsiteX8" fmla="*/ 449400 w 453200"/>
                <a:gd name="connsiteY8" fmla="*/ 14182 h 397745"/>
                <a:gd name="connsiteX9" fmla="*/ 453196 w 453200"/>
                <a:gd name="connsiteY9" fmla="*/ 194650 h 397745"/>
                <a:gd name="connsiteX10" fmla="*/ 444628 w 453200"/>
                <a:gd name="connsiteY10" fmla="*/ 208290 h 397745"/>
                <a:gd name="connsiteX11" fmla="*/ 19677 w 453200"/>
                <a:gd name="connsiteY11" fmla="*/ 396553 h 397745"/>
                <a:gd name="connsiteX12" fmla="*/ 13929 w 453200"/>
                <a:gd name="connsiteY12" fmla="*/ 397744 h 397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3200" h="397745">
                  <a:moveTo>
                    <a:pt x="14254" y="397311"/>
                  </a:moveTo>
                  <a:cubicBezTo>
                    <a:pt x="8549" y="397344"/>
                    <a:pt x="3408" y="393912"/>
                    <a:pt x="1239" y="388650"/>
                  </a:cubicBezTo>
                  <a:cubicBezTo>
                    <a:pt x="-1972" y="381386"/>
                    <a:pt x="1271" y="372888"/>
                    <a:pt x="8506" y="369596"/>
                  </a:cubicBezTo>
                  <a:lnTo>
                    <a:pt x="424779" y="185556"/>
                  </a:lnTo>
                  <a:lnTo>
                    <a:pt x="421200" y="14831"/>
                  </a:lnTo>
                  <a:cubicBezTo>
                    <a:pt x="420896" y="6950"/>
                    <a:pt x="427057" y="303"/>
                    <a:pt x="434953" y="0"/>
                  </a:cubicBezTo>
                  <a:cubicBezTo>
                    <a:pt x="434996" y="0"/>
                    <a:pt x="435040" y="0"/>
                    <a:pt x="435083" y="0"/>
                  </a:cubicBezTo>
                  <a:lnTo>
                    <a:pt x="435083" y="0"/>
                  </a:lnTo>
                  <a:cubicBezTo>
                    <a:pt x="442903" y="119"/>
                    <a:pt x="449227" y="6376"/>
                    <a:pt x="449400" y="14182"/>
                  </a:cubicBezTo>
                  <a:lnTo>
                    <a:pt x="453196" y="194650"/>
                  </a:lnTo>
                  <a:cubicBezTo>
                    <a:pt x="453337" y="200496"/>
                    <a:pt x="449964" y="205865"/>
                    <a:pt x="444628" y="208290"/>
                  </a:cubicBezTo>
                  <a:lnTo>
                    <a:pt x="19677" y="396553"/>
                  </a:lnTo>
                  <a:cubicBezTo>
                    <a:pt x="17877" y="397376"/>
                    <a:pt x="15913" y="397777"/>
                    <a:pt x="13929" y="397744"/>
                  </a:cubicBezTo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" name="Freeform 101">
              <a:extLst>
                <a:ext uri="{FF2B5EF4-FFF2-40B4-BE49-F238E27FC236}">
                  <a16:creationId xmlns:a16="http://schemas.microsoft.com/office/drawing/2014/main" id="{219E3C7A-D030-AC4E-9668-247C11090633}"/>
                </a:ext>
              </a:extLst>
            </p:cNvPr>
            <p:cNvSpPr/>
            <p:nvPr/>
          </p:nvSpPr>
          <p:spPr>
            <a:xfrm>
              <a:off x="8261008" y="4592166"/>
              <a:ext cx="243917" cy="542840"/>
            </a:xfrm>
            <a:custGeom>
              <a:avLst/>
              <a:gdLst>
                <a:gd name="connsiteX0" fmla="*/ 215193 w 243917"/>
                <a:gd name="connsiteY0" fmla="*/ 53293 h 542840"/>
                <a:gd name="connsiteX1" fmla="*/ 215193 w 243917"/>
                <a:gd name="connsiteY1" fmla="*/ 53293 h 542840"/>
                <a:gd name="connsiteX2" fmla="*/ 13890 w 243917"/>
                <a:gd name="connsiteY2" fmla="*/ 542841 h 542840"/>
                <a:gd name="connsiteX3" fmla="*/ 13890 w 243917"/>
                <a:gd name="connsiteY3" fmla="*/ 542841 h 542840"/>
                <a:gd name="connsiteX4" fmla="*/ 7 w 243917"/>
                <a:gd name="connsiteY4" fmla="*/ 528009 h 542840"/>
                <a:gd name="connsiteX5" fmla="*/ 7707 w 243917"/>
                <a:gd name="connsiteY5" fmla="*/ 178765 h 542840"/>
                <a:gd name="connsiteX6" fmla="*/ 14540 w 243917"/>
                <a:gd name="connsiteY6" fmla="*/ 166748 h 542840"/>
                <a:gd name="connsiteX7" fmla="*/ 208794 w 243917"/>
                <a:gd name="connsiteY7" fmla="*/ 52427 h 542840"/>
                <a:gd name="connsiteX8" fmla="*/ 212374 w 243917"/>
                <a:gd name="connsiteY8" fmla="*/ 50370 h 542840"/>
                <a:gd name="connsiteX9" fmla="*/ 146755 w 243917"/>
                <a:gd name="connsiteY9" fmla="*/ 28718 h 542840"/>
                <a:gd name="connsiteX10" fmla="*/ 135908 w 243917"/>
                <a:gd name="connsiteY10" fmla="*/ 11722 h 542840"/>
                <a:gd name="connsiteX11" fmla="*/ 152568 w 243917"/>
                <a:gd name="connsiteY11" fmla="*/ 235 h 542840"/>
                <a:gd name="connsiteX12" fmla="*/ 152612 w 243917"/>
                <a:gd name="connsiteY12" fmla="*/ 246 h 542840"/>
                <a:gd name="connsiteX13" fmla="*/ 243719 w 243917"/>
                <a:gd name="connsiteY13" fmla="*/ 47772 h 542840"/>
                <a:gd name="connsiteX14" fmla="*/ 222027 w 243917"/>
                <a:gd name="connsiteY14" fmla="*/ 78409 h 542840"/>
                <a:gd name="connsiteX15" fmla="*/ 36558 w 243917"/>
                <a:gd name="connsiteY15" fmla="*/ 187534 h 542840"/>
                <a:gd name="connsiteX16" fmla="*/ 28532 w 243917"/>
                <a:gd name="connsiteY16" fmla="*/ 528551 h 542840"/>
                <a:gd name="connsiteX17" fmla="*/ 14215 w 243917"/>
                <a:gd name="connsiteY17" fmla="*/ 542732 h 542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3917" h="542840">
                  <a:moveTo>
                    <a:pt x="215193" y="53293"/>
                  </a:moveTo>
                  <a:lnTo>
                    <a:pt x="215193" y="53293"/>
                  </a:lnTo>
                  <a:close/>
                  <a:moveTo>
                    <a:pt x="13890" y="542841"/>
                  </a:moveTo>
                  <a:lnTo>
                    <a:pt x="13890" y="542841"/>
                  </a:lnTo>
                  <a:cubicBezTo>
                    <a:pt x="5961" y="542548"/>
                    <a:pt x="-232" y="535923"/>
                    <a:pt x="7" y="528009"/>
                  </a:cubicBezTo>
                  <a:lnTo>
                    <a:pt x="7707" y="178765"/>
                  </a:lnTo>
                  <a:cubicBezTo>
                    <a:pt x="7848" y="173872"/>
                    <a:pt x="10408" y="169368"/>
                    <a:pt x="14540" y="166748"/>
                  </a:cubicBezTo>
                  <a:cubicBezTo>
                    <a:pt x="20289" y="163284"/>
                    <a:pt x="154781" y="80141"/>
                    <a:pt x="208794" y="52427"/>
                  </a:cubicBezTo>
                  <a:lnTo>
                    <a:pt x="212374" y="50370"/>
                  </a:lnTo>
                  <a:cubicBezTo>
                    <a:pt x="191733" y="39869"/>
                    <a:pt x="169597" y="32572"/>
                    <a:pt x="146755" y="28718"/>
                  </a:cubicBezTo>
                  <a:cubicBezTo>
                    <a:pt x="139141" y="26889"/>
                    <a:pt x="134347" y="19375"/>
                    <a:pt x="135908" y="11722"/>
                  </a:cubicBezTo>
                  <a:cubicBezTo>
                    <a:pt x="137329" y="3959"/>
                    <a:pt x="144791" y="-1183"/>
                    <a:pt x="152568" y="235"/>
                  </a:cubicBezTo>
                  <a:cubicBezTo>
                    <a:pt x="152579" y="235"/>
                    <a:pt x="152601" y="246"/>
                    <a:pt x="152612" y="246"/>
                  </a:cubicBezTo>
                  <a:cubicBezTo>
                    <a:pt x="192308" y="8041"/>
                    <a:pt x="240357" y="22655"/>
                    <a:pt x="243719" y="47772"/>
                  </a:cubicBezTo>
                  <a:cubicBezTo>
                    <a:pt x="244803" y="56108"/>
                    <a:pt x="241983" y="68233"/>
                    <a:pt x="222027" y="78409"/>
                  </a:cubicBezTo>
                  <a:cubicBezTo>
                    <a:pt x="175714" y="101901"/>
                    <a:pt x="64867" y="169996"/>
                    <a:pt x="36558" y="187534"/>
                  </a:cubicBezTo>
                  <a:lnTo>
                    <a:pt x="28532" y="528551"/>
                  </a:lnTo>
                  <a:cubicBezTo>
                    <a:pt x="28413" y="536378"/>
                    <a:pt x="22057" y="542678"/>
                    <a:pt x="14215" y="542732"/>
                  </a:cubicBezTo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AEB42363-C29F-4942-8702-C8CFF7B9F84D}"/>
                </a:ext>
              </a:extLst>
            </p:cNvPr>
            <p:cNvSpPr/>
            <p:nvPr/>
          </p:nvSpPr>
          <p:spPr>
            <a:xfrm>
              <a:off x="8473161" y="4635175"/>
              <a:ext cx="453583" cy="397753"/>
            </a:xfrm>
            <a:custGeom>
              <a:avLst/>
              <a:gdLst>
                <a:gd name="connsiteX0" fmla="*/ 439272 w 453583"/>
                <a:gd name="connsiteY0" fmla="*/ 397744 h 397753"/>
                <a:gd name="connsiteX1" fmla="*/ 433632 w 453583"/>
                <a:gd name="connsiteY1" fmla="*/ 396553 h 397753"/>
                <a:gd name="connsiteX2" fmla="*/ 8573 w 453583"/>
                <a:gd name="connsiteY2" fmla="*/ 208291 h 397753"/>
                <a:gd name="connsiteX3" fmla="*/ 4 w 453583"/>
                <a:gd name="connsiteY3" fmla="*/ 194650 h 397753"/>
                <a:gd name="connsiteX4" fmla="*/ 3909 w 453583"/>
                <a:gd name="connsiteY4" fmla="*/ 14182 h 397753"/>
                <a:gd name="connsiteX5" fmla="*/ 18443 w 453583"/>
                <a:gd name="connsiteY5" fmla="*/ 0 h 397753"/>
                <a:gd name="connsiteX6" fmla="*/ 32434 w 453583"/>
                <a:gd name="connsiteY6" fmla="*/ 14821 h 397753"/>
                <a:gd name="connsiteX7" fmla="*/ 32434 w 453583"/>
                <a:gd name="connsiteY7" fmla="*/ 14831 h 397753"/>
                <a:gd name="connsiteX8" fmla="*/ 28746 w 453583"/>
                <a:gd name="connsiteY8" fmla="*/ 185556 h 397753"/>
                <a:gd name="connsiteX9" fmla="*/ 445020 w 453583"/>
                <a:gd name="connsiteY9" fmla="*/ 369597 h 397753"/>
                <a:gd name="connsiteX10" fmla="*/ 452396 w 453583"/>
                <a:gd name="connsiteY10" fmla="*/ 388650 h 397753"/>
                <a:gd name="connsiteX11" fmla="*/ 439272 w 453583"/>
                <a:gd name="connsiteY11" fmla="*/ 397311 h 397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53583" h="397753">
                  <a:moveTo>
                    <a:pt x="439272" y="397744"/>
                  </a:moveTo>
                  <a:cubicBezTo>
                    <a:pt x="437319" y="397820"/>
                    <a:pt x="435389" y="397409"/>
                    <a:pt x="433632" y="396553"/>
                  </a:cubicBezTo>
                  <a:lnTo>
                    <a:pt x="8573" y="208291"/>
                  </a:lnTo>
                  <a:cubicBezTo>
                    <a:pt x="3236" y="205865"/>
                    <a:pt x="-137" y="200496"/>
                    <a:pt x="4" y="194650"/>
                  </a:cubicBezTo>
                  <a:lnTo>
                    <a:pt x="3909" y="14182"/>
                  </a:lnTo>
                  <a:cubicBezTo>
                    <a:pt x="4202" y="6344"/>
                    <a:pt x="10590" y="108"/>
                    <a:pt x="18443" y="0"/>
                  </a:cubicBezTo>
                  <a:cubicBezTo>
                    <a:pt x="26404" y="238"/>
                    <a:pt x="32673" y="6875"/>
                    <a:pt x="32434" y="14821"/>
                  </a:cubicBezTo>
                  <a:cubicBezTo>
                    <a:pt x="32434" y="14821"/>
                    <a:pt x="32434" y="14831"/>
                    <a:pt x="32434" y="14831"/>
                  </a:cubicBezTo>
                  <a:lnTo>
                    <a:pt x="28746" y="185556"/>
                  </a:lnTo>
                  <a:lnTo>
                    <a:pt x="445020" y="369597"/>
                  </a:lnTo>
                  <a:cubicBezTo>
                    <a:pt x="452255" y="372899"/>
                    <a:pt x="455530" y="381354"/>
                    <a:pt x="452396" y="388650"/>
                  </a:cubicBezTo>
                  <a:cubicBezTo>
                    <a:pt x="450140" y="393890"/>
                    <a:pt x="444987" y="397300"/>
                    <a:pt x="439272" y="397311"/>
                  </a:cubicBezTo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" name="Freeform 103">
              <a:extLst>
                <a:ext uri="{FF2B5EF4-FFF2-40B4-BE49-F238E27FC236}">
                  <a16:creationId xmlns:a16="http://schemas.microsoft.com/office/drawing/2014/main" id="{2D877420-3654-5649-844F-B52EFFBC0B0D}"/>
                </a:ext>
              </a:extLst>
            </p:cNvPr>
            <p:cNvSpPr/>
            <p:nvPr/>
          </p:nvSpPr>
          <p:spPr>
            <a:xfrm>
              <a:off x="5140806" y="4908356"/>
              <a:ext cx="580492" cy="579403"/>
            </a:xfrm>
            <a:custGeom>
              <a:avLst/>
              <a:gdLst>
                <a:gd name="connsiteX0" fmla="*/ 295232 w 580492"/>
                <a:gd name="connsiteY0" fmla="*/ 19227 h 579403"/>
                <a:gd name="connsiteX1" fmla="*/ 19350 w 580492"/>
                <a:gd name="connsiteY1" fmla="*/ 285068 h 579403"/>
                <a:gd name="connsiteX2" fmla="*/ 285687 w 580492"/>
                <a:gd name="connsiteY2" fmla="*/ 560436 h 579403"/>
                <a:gd name="connsiteX3" fmla="*/ 561569 w 580492"/>
                <a:gd name="connsiteY3" fmla="*/ 294595 h 579403"/>
                <a:gd name="connsiteX4" fmla="*/ 561612 w 580492"/>
                <a:gd name="connsiteY4" fmla="*/ 289875 h 579403"/>
                <a:gd name="connsiteX5" fmla="*/ 295232 w 580492"/>
                <a:gd name="connsiteY5" fmla="*/ 19227 h 579403"/>
                <a:gd name="connsiteX6" fmla="*/ 295232 w 580492"/>
                <a:gd name="connsiteY6" fmla="*/ 579360 h 579403"/>
                <a:gd name="connsiteX7" fmla="*/ 44 w 580492"/>
                <a:gd name="connsiteY7" fmla="*/ 294682 h 579403"/>
                <a:gd name="connsiteX8" fmla="*/ 285253 w 580492"/>
                <a:gd name="connsiteY8" fmla="*/ 44 h 579403"/>
                <a:gd name="connsiteX9" fmla="*/ 580441 w 580492"/>
                <a:gd name="connsiteY9" fmla="*/ 284722 h 579403"/>
                <a:gd name="connsiteX10" fmla="*/ 580484 w 580492"/>
                <a:gd name="connsiteY10" fmla="*/ 289659 h 579403"/>
                <a:gd name="connsiteX11" fmla="*/ 295232 w 580492"/>
                <a:gd name="connsiteY11" fmla="*/ 579360 h 579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0492" h="579403">
                  <a:moveTo>
                    <a:pt x="295232" y="19227"/>
                  </a:moveTo>
                  <a:cubicBezTo>
                    <a:pt x="145501" y="16596"/>
                    <a:pt x="21985" y="135617"/>
                    <a:pt x="19350" y="285068"/>
                  </a:cubicBezTo>
                  <a:cubicBezTo>
                    <a:pt x="16714" y="434520"/>
                    <a:pt x="135956" y="557805"/>
                    <a:pt x="285687" y="560436"/>
                  </a:cubicBezTo>
                  <a:cubicBezTo>
                    <a:pt x="435418" y="563067"/>
                    <a:pt x="558933" y="444047"/>
                    <a:pt x="561569" y="294595"/>
                  </a:cubicBezTo>
                  <a:cubicBezTo>
                    <a:pt x="561601" y="293025"/>
                    <a:pt x="561612" y="291445"/>
                    <a:pt x="561612" y="289875"/>
                  </a:cubicBezTo>
                  <a:cubicBezTo>
                    <a:pt x="562816" y="141766"/>
                    <a:pt x="443617" y="20656"/>
                    <a:pt x="295232" y="19227"/>
                  </a:cubicBezTo>
                  <a:moveTo>
                    <a:pt x="295232" y="579360"/>
                  </a:moveTo>
                  <a:cubicBezTo>
                    <a:pt x="134958" y="582110"/>
                    <a:pt x="2799" y="454656"/>
                    <a:pt x="44" y="294682"/>
                  </a:cubicBezTo>
                  <a:cubicBezTo>
                    <a:pt x="-2711" y="134707"/>
                    <a:pt x="124980" y="2793"/>
                    <a:pt x="285253" y="44"/>
                  </a:cubicBezTo>
                  <a:cubicBezTo>
                    <a:pt x="445526" y="-2706"/>
                    <a:pt x="577686" y="124747"/>
                    <a:pt x="580441" y="284722"/>
                  </a:cubicBezTo>
                  <a:cubicBezTo>
                    <a:pt x="580473" y="286367"/>
                    <a:pt x="580484" y="288013"/>
                    <a:pt x="580484" y="289659"/>
                  </a:cubicBezTo>
                  <a:cubicBezTo>
                    <a:pt x="581688" y="448215"/>
                    <a:pt x="454073" y="577812"/>
                    <a:pt x="295232" y="579360"/>
                  </a:cubicBezTo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" name="Freeform 104">
              <a:extLst>
                <a:ext uri="{FF2B5EF4-FFF2-40B4-BE49-F238E27FC236}">
                  <a16:creationId xmlns:a16="http://schemas.microsoft.com/office/drawing/2014/main" id="{6ACD7557-A468-D748-B41D-BDC71A4793F0}"/>
                </a:ext>
              </a:extLst>
            </p:cNvPr>
            <p:cNvSpPr/>
            <p:nvPr/>
          </p:nvSpPr>
          <p:spPr>
            <a:xfrm>
              <a:off x="5290573" y="4578754"/>
              <a:ext cx="51428" cy="162190"/>
            </a:xfrm>
            <a:custGeom>
              <a:avLst/>
              <a:gdLst>
                <a:gd name="connsiteX0" fmla="*/ 32990 w 51428"/>
                <a:gd name="connsiteY0" fmla="*/ 162191 h 162190"/>
                <a:gd name="connsiteX1" fmla="*/ 51429 w 51428"/>
                <a:gd name="connsiteY1" fmla="*/ 157860 h 162190"/>
                <a:gd name="connsiteX2" fmla="*/ 18239 w 51428"/>
                <a:gd name="connsiteY2" fmla="*/ 7380 h 162190"/>
                <a:gd name="connsiteX3" fmla="*/ 7393 w 51428"/>
                <a:gd name="connsiteY3" fmla="*/ 127 h 162190"/>
                <a:gd name="connsiteX4" fmla="*/ 235 w 51428"/>
                <a:gd name="connsiteY4" fmla="*/ 11602 h 162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428" h="162190">
                  <a:moveTo>
                    <a:pt x="32990" y="162191"/>
                  </a:moveTo>
                  <a:cubicBezTo>
                    <a:pt x="39064" y="160675"/>
                    <a:pt x="45138" y="159159"/>
                    <a:pt x="51429" y="157860"/>
                  </a:cubicBezTo>
                  <a:lnTo>
                    <a:pt x="18239" y="7380"/>
                  </a:lnTo>
                  <a:cubicBezTo>
                    <a:pt x="17101" y="2487"/>
                    <a:pt x="12361" y="-685"/>
                    <a:pt x="7393" y="127"/>
                  </a:cubicBezTo>
                  <a:cubicBezTo>
                    <a:pt x="2263" y="1361"/>
                    <a:pt x="-915" y="6471"/>
                    <a:pt x="235" y="11602"/>
                  </a:cubicBezTo>
                  <a:close/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" name="Freeform 105">
              <a:extLst>
                <a:ext uri="{FF2B5EF4-FFF2-40B4-BE49-F238E27FC236}">
                  <a16:creationId xmlns:a16="http://schemas.microsoft.com/office/drawing/2014/main" id="{5D6B8EDB-8FE8-E44C-8B08-A90523E92C16}"/>
                </a:ext>
              </a:extLst>
            </p:cNvPr>
            <p:cNvSpPr/>
            <p:nvPr/>
          </p:nvSpPr>
          <p:spPr>
            <a:xfrm>
              <a:off x="5679207" y="4662186"/>
              <a:ext cx="98985" cy="145770"/>
            </a:xfrm>
            <a:custGeom>
              <a:avLst/>
              <a:gdLst>
                <a:gd name="connsiteX0" fmla="*/ 15835 w 98985"/>
                <a:gd name="connsiteY0" fmla="*/ 144579 h 145770"/>
                <a:gd name="connsiteX1" fmla="*/ 97507 w 98985"/>
                <a:gd name="connsiteY1" fmla="*/ 14669 h 145770"/>
                <a:gd name="connsiteX2" fmla="*/ 94578 w 98985"/>
                <a:gd name="connsiteY2" fmla="*/ 1461 h 145770"/>
                <a:gd name="connsiteX3" fmla="*/ 81563 w 98985"/>
                <a:gd name="connsiteY3" fmla="*/ 4384 h 145770"/>
                <a:gd name="connsiteX4" fmla="*/ 0 w 98985"/>
                <a:gd name="connsiteY4" fmla="*/ 134944 h 145770"/>
                <a:gd name="connsiteX5" fmla="*/ 15835 w 98985"/>
                <a:gd name="connsiteY5" fmla="*/ 145770 h 145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8985" h="145770">
                  <a:moveTo>
                    <a:pt x="15835" y="144579"/>
                  </a:moveTo>
                  <a:lnTo>
                    <a:pt x="97507" y="14669"/>
                  </a:lnTo>
                  <a:cubicBezTo>
                    <a:pt x="100316" y="10208"/>
                    <a:pt x="99003" y="4330"/>
                    <a:pt x="94578" y="1461"/>
                  </a:cubicBezTo>
                  <a:cubicBezTo>
                    <a:pt x="90175" y="-1321"/>
                    <a:pt x="84350" y="-11"/>
                    <a:pt x="81563" y="4384"/>
                  </a:cubicBezTo>
                  <a:lnTo>
                    <a:pt x="0" y="134944"/>
                  </a:lnTo>
                  <a:cubicBezTo>
                    <a:pt x="5315" y="138301"/>
                    <a:pt x="10846" y="141765"/>
                    <a:pt x="15835" y="145770"/>
                  </a:cubicBezTo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" name="Freeform 106">
              <a:extLst>
                <a:ext uri="{FF2B5EF4-FFF2-40B4-BE49-F238E27FC236}">
                  <a16:creationId xmlns:a16="http://schemas.microsoft.com/office/drawing/2014/main" id="{8D9D4674-59E6-6448-AEF7-E8312AB901F0}"/>
                </a:ext>
              </a:extLst>
            </p:cNvPr>
            <p:cNvSpPr/>
            <p:nvPr/>
          </p:nvSpPr>
          <p:spPr>
            <a:xfrm>
              <a:off x="5819231" y="5447551"/>
              <a:ext cx="150862" cy="105427"/>
            </a:xfrm>
            <a:custGeom>
              <a:avLst/>
              <a:gdLst>
                <a:gd name="connsiteX0" fmla="*/ 146531 w 150862"/>
                <a:gd name="connsiteY0" fmla="*/ 87798 h 105427"/>
                <a:gd name="connsiteX1" fmla="*/ 10304 w 150862"/>
                <a:gd name="connsiteY1" fmla="*/ 0 h 105427"/>
                <a:gd name="connsiteX2" fmla="*/ 0 w 150862"/>
                <a:gd name="connsiteY2" fmla="*/ 16131 h 105427"/>
                <a:gd name="connsiteX3" fmla="*/ 136336 w 150862"/>
                <a:gd name="connsiteY3" fmla="*/ 103929 h 105427"/>
                <a:gd name="connsiteX4" fmla="*/ 149242 w 150862"/>
                <a:gd name="connsiteY4" fmla="*/ 101190 h 105427"/>
                <a:gd name="connsiteX5" fmla="*/ 149351 w 150862"/>
                <a:gd name="connsiteY5" fmla="*/ 101006 h 105427"/>
                <a:gd name="connsiteX6" fmla="*/ 146531 w 150862"/>
                <a:gd name="connsiteY6" fmla="*/ 87798 h 105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0862" h="105427">
                  <a:moveTo>
                    <a:pt x="146531" y="87798"/>
                  </a:moveTo>
                  <a:lnTo>
                    <a:pt x="10304" y="0"/>
                  </a:lnTo>
                  <a:cubicBezTo>
                    <a:pt x="6942" y="5413"/>
                    <a:pt x="3579" y="10826"/>
                    <a:pt x="0" y="16131"/>
                  </a:cubicBezTo>
                  <a:lnTo>
                    <a:pt x="136336" y="103929"/>
                  </a:lnTo>
                  <a:cubicBezTo>
                    <a:pt x="140652" y="106722"/>
                    <a:pt x="146433" y="105498"/>
                    <a:pt x="149242" y="101190"/>
                  </a:cubicBezTo>
                  <a:cubicBezTo>
                    <a:pt x="149275" y="101125"/>
                    <a:pt x="149318" y="101071"/>
                    <a:pt x="149351" y="101006"/>
                  </a:cubicBezTo>
                  <a:cubicBezTo>
                    <a:pt x="152182" y="96567"/>
                    <a:pt x="150924" y="90699"/>
                    <a:pt x="146531" y="87798"/>
                  </a:cubicBezTo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" name="Freeform 107">
              <a:extLst>
                <a:ext uri="{FF2B5EF4-FFF2-40B4-BE49-F238E27FC236}">
                  <a16:creationId xmlns:a16="http://schemas.microsoft.com/office/drawing/2014/main" id="{C391B4C3-61F1-7142-9270-DE2E017597D9}"/>
                </a:ext>
              </a:extLst>
            </p:cNvPr>
            <p:cNvSpPr/>
            <p:nvPr/>
          </p:nvSpPr>
          <p:spPr>
            <a:xfrm>
              <a:off x="5889079" y="5057550"/>
              <a:ext cx="163923" cy="53531"/>
            </a:xfrm>
            <a:custGeom>
              <a:avLst/>
              <a:gdLst>
                <a:gd name="connsiteX0" fmla="*/ 162692 w 163923"/>
                <a:gd name="connsiteY0" fmla="*/ 7413 h 53531"/>
                <a:gd name="connsiteX1" fmla="*/ 151846 w 163923"/>
                <a:gd name="connsiteY1" fmla="*/ 160 h 53531"/>
                <a:gd name="connsiteX2" fmla="*/ 0 w 163923"/>
                <a:gd name="connsiteY2" fmla="*/ 34695 h 53531"/>
                <a:gd name="connsiteX3" fmla="*/ 3905 w 163923"/>
                <a:gd name="connsiteY3" fmla="*/ 53532 h 53531"/>
                <a:gd name="connsiteX4" fmla="*/ 156509 w 163923"/>
                <a:gd name="connsiteY4" fmla="*/ 18889 h 53531"/>
                <a:gd name="connsiteX5" fmla="*/ 163679 w 163923"/>
                <a:gd name="connsiteY5" fmla="*/ 7478 h 53531"/>
                <a:gd name="connsiteX6" fmla="*/ 163668 w 163923"/>
                <a:gd name="connsiteY6" fmla="*/ 7413 h 53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3923" h="53531">
                  <a:moveTo>
                    <a:pt x="162692" y="7413"/>
                  </a:moveTo>
                  <a:cubicBezTo>
                    <a:pt x="161661" y="2455"/>
                    <a:pt x="156835" y="-771"/>
                    <a:pt x="151846" y="160"/>
                  </a:cubicBezTo>
                  <a:lnTo>
                    <a:pt x="0" y="34695"/>
                  </a:lnTo>
                  <a:cubicBezTo>
                    <a:pt x="1378" y="40974"/>
                    <a:pt x="2679" y="47253"/>
                    <a:pt x="3905" y="53532"/>
                  </a:cubicBezTo>
                  <a:lnTo>
                    <a:pt x="156509" y="18889"/>
                  </a:lnTo>
                  <a:cubicBezTo>
                    <a:pt x="161651" y="17720"/>
                    <a:pt x="164861" y="12599"/>
                    <a:pt x="163679" y="7478"/>
                  </a:cubicBezTo>
                  <a:cubicBezTo>
                    <a:pt x="163679" y="7457"/>
                    <a:pt x="163668" y="7435"/>
                    <a:pt x="163668" y="7413"/>
                  </a:cubicBezTo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" name="Freeform 108">
              <a:extLst>
                <a:ext uri="{FF2B5EF4-FFF2-40B4-BE49-F238E27FC236}">
                  <a16:creationId xmlns:a16="http://schemas.microsoft.com/office/drawing/2014/main" id="{B637143B-88CC-7745-AF28-821F7E625D11}"/>
                </a:ext>
              </a:extLst>
            </p:cNvPr>
            <p:cNvSpPr/>
            <p:nvPr/>
          </p:nvSpPr>
          <p:spPr>
            <a:xfrm>
              <a:off x="5285230" y="5088358"/>
              <a:ext cx="338490" cy="257767"/>
            </a:xfrm>
            <a:custGeom>
              <a:avLst/>
              <a:gdLst>
                <a:gd name="connsiteX0" fmla="*/ 290830 w 338490"/>
                <a:gd name="connsiteY0" fmla="*/ 8434 h 257767"/>
                <a:gd name="connsiteX1" fmla="*/ 113279 w 338490"/>
                <a:gd name="connsiteY1" fmla="*/ 188685 h 257767"/>
                <a:gd name="connsiteX2" fmla="*/ 48203 w 338490"/>
                <a:gd name="connsiteY2" fmla="*/ 122972 h 257767"/>
                <a:gd name="connsiteX3" fmla="*/ 8625 w 338490"/>
                <a:gd name="connsiteY3" fmla="*/ 122636 h 257767"/>
                <a:gd name="connsiteX4" fmla="*/ 8289 w 338490"/>
                <a:gd name="connsiteY4" fmla="*/ 122972 h 257767"/>
                <a:gd name="connsiteX5" fmla="*/ 8289 w 338490"/>
                <a:gd name="connsiteY5" fmla="*/ 163461 h 257767"/>
                <a:gd name="connsiteX6" fmla="*/ 92889 w 338490"/>
                <a:gd name="connsiteY6" fmla="*/ 249418 h 257767"/>
                <a:gd name="connsiteX7" fmla="*/ 132466 w 338490"/>
                <a:gd name="connsiteY7" fmla="*/ 249754 h 257767"/>
                <a:gd name="connsiteX8" fmla="*/ 132802 w 338490"/>
                <a:gd name="connsiteY8" fmla="*/ 249418 h 257767"/>
                <a:gd name="connsiteX9" fmla="*/ 330202 w 338490"/>
                <a:gd name="connsiteY9" fmla="*/ 48923 h 257767"/>
                <a:gd name="connsiteX10" fmla="*/ 330202 w 338490"/>
                <a:gd name="connsiteY10" fmla="*/ 8434 h 257767"/>
                <a:gd name="connsiteX11" fmla="*/ 291090 w 338490"/>
                <a:gd name="connsiteY11" fmla="*/ 7741 h 257767"/>
                <a:gd name="connsiteX12" fmla="*/ 290396 w 338490"/>
                <a:gd name="connsiteY12" fmla="*/ 8434 h 257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8490" h="257767">
                  <a:moveTo>
                    <a:pt x="290830" y="8434"/>
                  </a:moveTo>
                  <a:lnTo>
                    <a:pt x="113279" y="188685"/>
                  </a:lnTo>
                  <a:lnTo>
                    <a:pt x="48203" y="122972"/>
                  </a:lnTo>
                  <a:cubicBezTo>
                    <a:pt x="37368" y="111973"/>
                    <a:pt x="19656" y="111821"/>
                    <a:pt x="8625" y="122636"/>
                  </a:cubicBezTo>
                  <a:cubicBezTo>
                    <a:pt x="8517" y="122745"/>
                    <a:pt x="8398" y="122853"/>
                    <a:pt x="8289" y="122972"/>
                  </a:cubicBezTo>
                  <a:cubicBezTo>
                    <a:pt x="-2763" y="134209"/>
                    <a:pt x="-2763" y="152223"/>
                    <a:pt x="8289" y="163461"/>
                  </a:cubicBezTo>
                  <a:lnTo>
                    <a:pt x="92889" y="249418"/>
                  </a:lnTo>
                  <a:cubicBezTo>
                    <a:pt x="103724" y="260418"/>
                    <a:pt x="121436" y="260569"/>
                    <a:pt x="132466" y="249754"/>
                  </a:cubicBezTo>
                  <a:cubicBezTo>
                    <a:pt x="132575" y="249646"/>
                    <a:pt x="132694" y="249538"/>
                    <a:pt x="132802" y="249418"/>
                  </a:cubicBezTo>
                  <a:lnTo>
                    <a:pt x="330202" y="48923"/>
                  </a:lnTo>
                  <a:cubicBezTo>
                    <a:pt x="341254" y="37685"/>
                    <a:pt x="341254" y="19671"/>
                    <a:pt x="330202" y="8434"/>
                  </a:cubicBezTo>
                  <a:cubicBezTo>
                    <a:pt x="319594" y="-2533"/>
                    <a:pt x="302089" y="-2847"/>
                    <a:pt x="291090" y="7741"/>
                  </a:cubicBezTo>
                  <a:cubicBezTo>
                    <a:pt x="290863" y="7968"/>
                    <a:pt x="290624" y="8196"/>
                    <a:pt x="290396" y="8434"/>
                  </a:cubicBezTo>
                </a:path>
              </a:pathLst>
            </a:custGeom>
            <a:solidFill>
              <a:srgbClr val="00000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0" name="Freeform 109">
              <a:extLst>
                <a:ext uri="{FF2B5EF4-FFF2-40B4-BE49-F238E27FC236}">
                  <a16:creationId xmlns:a16="http://schemas.microsoft.com/office/drawing/2014/main" id="{89B6EEF9-FADC-9B42-8A95-B6406E9599D4}"/>
                </a:ext>
              </a:extLst>
            </p:cNvPr>
            <p:cNvSpPr/>
            <p:nvPr/>
          </p:nvSpPr>
          <p:spPr>
            <a:xfrm>
              <a:off x="5009244" y="4767929"/>
              <a:ext cx="853206" cy="862255"/>
            </a:xfrm>
            <a:custGeom>
              <a:avLst/>
              <a:gdLst>
                <a:gd name="connsiteX0" fmla="*/ 386121 w 853206"/>
                <a:gd name="connsiteY0" fmla="*/ 38837 h 862255"/>
                <a:gd name="connsiteX1" fmla="*/ 386121 w 853206"/>
                <a:gd name="connsiteY1" fmla="*/ 38837 h 862255"/>
                <a:gd name="connsiteX2" fmla="*/ 426794 w 853206"/>
                <a:gd name="connsiteY2" fmla="*/ 799141 h 862255"/>
                <a:gd name="connsiteX3" fmla="*/ 489593 w 853206"/>
                <a:gd name="connsiteY3" fmla="*/ 823499 h 862255"/>
                <a:gd name="connsiteX4" fmla="*/ 535038 w 853206"/>
                <a:gd name="connsiteY4" fmla="*/ 830720 h 862255"/>
                <a:gd name="connsiteX5" fmla="*/ 548162 w 853206"/>
                <a:gd name="connsiteY5" fmla="*/ 808884 h 862255"/>
                <a:gd name="connsiteX6" fmla="*/ 659443 w 853206"/>
                <a:gd name="connsiteY6" fmla="*/ 749558 h 862255"/>
                <a:gd name="connsiteX7" fmla="*/ 695127 w 853206"/>
                <a:gd name="connsiteY7" fmla="*/ 744253 h 862255"/>
                <a:gd name="connsiteX8" fmla="*/ 704563 w 853206"/>
                <a:gd name="connsiteY8" fmla="*/ 708961 h 862255"/>
                <a:gd name="connsiteX9" fmla="*/ 775930 w 853206"/>
                <a:gd name="connsiteY9" fmla="*/ 603950 h 862255"/>
                <a:gd name="connsiteX10" fmla="*/ 805106 w 853206"/>
                <a:gd name="connsiteY10" fmla="*/ 582298 h 862255"/>
                <a:gd name="connsiteX11" fmla="*/ 797405 w 853206"/>
                <a:gd name="connsiteY11" fmla="*/ 546572 h 862255"/>
                <a:gd name="connsiteX12" fmla="*/ 812482 w 853206"/>
                <a:gd name="connsiteY12" fmla="*/ 419909 h 862255"/>
                <a:gd name="connsiteX13" fmla="*/ 824065 w 853206"/>
                <a:gd name="connsiteY13" fmla="*/ 373877 h 862255"/>
                <a:gd name="connsiteX14" fmla="*/ 805215 w 853206"/>
                <a:gd name="connsiteY14" fmla="*/ 359067 h 862255"/>
                <a:gd name="connsiteX15" fmla="*/ 760637 w 853206"/>
                <a:gd name="connsiteY15" fmla="*/ 239982 h 862255"/>
                <a:gd name="connsiteX16" fmla="*/ 759769 w 853206"/>
                <a:gd name="connsiteY16" fmla="*/ 203391 h 862255"/>
                <a:gd name="connsiteX17" fmla="*/ 726363 w 853206"/>
                <a:gd name="connsiteY17" fmla="*/ 189642 h 862255"/>
                <a:gd name="connsiteX18" fmla="*/ 632436 w 853206"/>
                <a:gd name="connsiteY18" fmla="*/ 104983 h 862255"/>
                <a:gd name="connsiteX19" fmla="*/ 614865 w 853206"/>
                <a:gd name="connsiteY19" fmla="*/ 73047 h 862255"/>
                <a:gd name="connsiteX20" fmla="*/ 578965 w 853206"/>
                <a:gd name="connsiteY20" fmla="*/ 76511 h 862255"/>
                <a:gd name="connsiteX21" fmla="*/ 456946 w 853206"/>
                <a:gd name="connsiteY21" fmla="*/ 45982 h 862255"/>
                <a:gd name="connsiteX22" fmla="*/ 414559 w 853206"/>
                <a:gd name="connsiteY22" fmla="*/ 28097 h 862255"/>
                <a:gd name="connsiteX23" fmla="*/ 396642 w 853206"/>
                <a:gd name="connsiteY23" fmla="*/ 45982 h 862255"/>
                <a:gd name="connsiteX24" fmla="*/ 274623 w 853206"/>
                <a:gd name="connsiteY24" fmla="*/ 76511 h 862255"/>
                <a:gd name="connsiteX25" fmla="*/ 238722 w 853206"/>
                <a:gd name="connsiteY25" fmla="*/ 73047 h 862255"/>
                <a:gd name="connsiteX26" fmla="*/ 221152 w 853206"/>
                <a:gd name="connsiteY26" fmla="*/ 104983 h 862255"/>
                <a:gd name="connsiteX27" fmla="*/ 127116 w 853206"/>
                <a:gd name="connsiteY27" fmla="*/ 189642 h 862255"/>
                <a:gd name="connsiteX28" fmla="*/ 93710 w 853206"/>
                <a:gd name="connsiteY28" fmla="*/ 203391 h 862255"/>
                <a:gd name="connsiteX29" fmla="*/ 92842 w 853206"/>
                <a:gd name="connsiteY29" fmla="*/ 239982 h 862255"/>
                <a:gd name="connsiteX30" fmla="*/ 48373 w 853206"/>
                <a:gd name="connsiteY30" fmla="*/ 359067 h 862255"/>
                <a:gd name="connsiteX31" fmla="*/ 26269 w 853206"/>
                <a:gd name="connsiteY31" fmla="*/ 401083 h 862255"/>
                <a:gd name="connsiteX32" fmla="*/ 41106 w 853206"/>
                <a:gd name="connsiteY32" fmla="*/ 419909 h 862255"/>
                <a:gd name="connsiteX33" fmla="*/ 56182 w 853206"/>
                <a:gd name="connsiteY33" fmla="*/ 546572 h 862255"/>
                <a:gd name="connsiteX34" fmla="*/ 48373 w 853206"/>
                <a:gd name="connsiteY34" fmla="*/ 582298 h 862255"/>
                <a:gd name="connsiteX35" fmla="*/ 77658 w 853206"/>
                <a:gd name="connsiteY35" fmla="*/ 603950 h 862255"/>
                <a:gd name="connsiteX36" fmla="*/ 148916 w 853206"/>
                <a:gd name="connsiteY36" fmla="*/ 708961 h 862255"/>
                <a:gd name="connsiteX37" fmla="*/ 158461 w 853206"/>
                <a:gd name="connsiteY37" fmla="*/ 744253 h 862255"/>
                <a:gd name="connsiteX38" fmla="*/ 194145 w 853206"/>
                <a:gd name="connsiteY38" fmla="*/ 749558 h 862255"/>
                <a:gd name="connsiteX39" fmla="*/ 305426 w 853206"/>
                <a:gd name="connsiteY39" fmla="*/ 808884 h 862255"/>
                <a:gd name="connsiteX40" fmla="*/ 342118 w 853206"/>
                <a:gd name="connsiteY40" fmla="*/ 836598 h 862255"/>
                <a:gd name="connsiteX41" fmla="*/ 363995 w 853206"/>
                <a:gd name="connsiteY41" fmla="*/ 823499 h 862255"/>
                <a:gd name="connsiteX42" fmla="*/ 426794 w 853206"/>
                <a:gd name="connsiteY42" fmla="*/ 799141 h 862255"/>
                <a:gd name="connsiteX43" fmla="*/ 517142 w 853206"/>
                <a:gd name="connsiteY43" fmla="*/ 862039 h 862255"/>
                <a:gd name="connsiteX44" fmla="*/ 472456 w 853206"/>
                <a:gd name="connsiteY44" fmla="*/ 842336 h 862255"/>
                <a:gd name="connsiteX45" fmla="*/ 381023 w 853206"/>
                <a:gd name="connsiteY45" fmla="*/ 842336 h 862255"/>
                <a:gd name="connsiteX46" fmla="*/ 323864 w 853206"/>
                <a:gd name="connsiteY46" fmla="*/ 860523 h 862255"/>
                <a:gd name="connsiteX47" fmla="*/ 281673 w 853206"/>
                <a:gd name="connsiteY47" fmla="*/ 817220 h 862255"/>
                <a:gd name="connsiteX48" fmla="*/ 200652 w 853206"/>
                <a:gd name="connsiteY48" fmla="*/ 773916 h 862255"/>
                <a:gd name="connsiteX49" fmla="*/ 141758 w 853206"/>
                <a:gd name="connsiteY49" fmla="*/ 763090 h 862255"/>
                <a:gd name="connsiteX50" fmla="*/ 124079 w 853206"/>
                <a:gd name="connsiteY50" fmla="*/ 704955 h 862255"/>
                <a:gd name="connsiteX51" fmla="*/ 72126 w 853206"/>
                <a:gd name="connsiteY51" fmla="*/ 628633 h 862255"/>
                <a:gd name="connsiteX52" fmla="*/ 24837 w 853206"/>
                <a:gd name="connsiteY52" fmla="*/ 591175 h 862255"/>
                <a:gd name="connsiteX53" fmla="*/ 35683 w 853206"/>
                <a:gd name="connsiteY53" fmla="*/ 531416 h 862255"/>
                <a:gd name="connsiteX54" fmla="*/ 24837 w 853206"/>
                <a:gd name="connsiteY54" fmla="*/ 439179 h 862255"/>
                <a:gd name="connsiteX55" fmla="*/ 216 w 853206"/>
                <a:gd name="connsiteY55" fmla="*/ 383750 h 862255"/>
                <a:gd name="connsiteX56" fmla="*/ 37202 w 853206"/>
                <a:gd name="connsiteY56" fmla="*/ 336008 h 862255"/>
                <a:gd name="connsiteX57" fmla="*/ 69740 w 853206"/>
                <a:gd name="connsiteY57" fmla="*/ 249401 h 862255"/>
                <a:gd name="connsiteX58" fmla="*/ 73211 w 853206"/>
                <a:gd name="connsiteY58" fmla="*/ 188667 h 862255"/>
                <a:gd name="connsiteX59" fmla="*/ 127441 w 853206"/>
                <a:gd name="connsiteY59" fmla="*/ 163768 h 862255"/>
                <a:gd name="connsiteX60" fmla="*/ 128743 w 853206"/>
                <a:gd name="connsiteY60" fmla="*/ 163768 h 862255"/>
                <a:gd name="connsiteX61" fmla="*/ 195880 w 853206"/>
                <a:gd name="connsiteY61" fmla="*/ 102276 h 862255"/>
                <a:gd name="connsiteX62" fmla="*/ 226792 w 853206"/>
                <a:gd name="connsiteY62" fmla="*/ 50096 h 862255"/>
                <a:gd name="connsiteX63" fmla="*/ 286554 w 853206"/>
                <a:gd name="connsiteY63" fmla="*/ 53885 h 862255"/>
                <a:gd name="connsiteX64" fmla="*/ 375383 w 853206"/>
                <a:gd name="connsiteY64" fmla="*/ 31692 h 862255"/>
                <a:gd name="connsiteX65" fmla="*/ 452000 w 853206"/>
                <a:gd name="connsiteY65" fmla="*/ 5969 h 862255"/>
                <a:gd name="connsiteX66" fmla="*/ 477771 w 853206"/>
                <a:gd name="connsiteY66" fmla="*/ 31692 h 862255"/>
                <a:gd name="connsiteX67" fmla="*/ 566600 w 853206"/>
                <a:gd name="connsiteY67" fmla="*/ 53885 h 862255"/>
                <a:gd name="connsiteX68" fmla="*/ 626362 w 853206"/>
                <a:gd name="connsiteY68" fmla="*/ 50096 h 862255"/>
                <a:gd name="connsiteX69" fmla="*/ 657274 w 853206"/>
                <a:gd name="connsiteY69" fmla="*/ 102276 h 862255"/>
                <a:gd name="connsiteX70" fmla="*/ 725713 w 853206"/>
                <a:gd name="connsiteY70" fmla="*/ 163768 h 862255"/>
                <a:gd name="connsiteX71" fmla="*/ 779943 w 853206"/>
                <a:gd name="connsiteY71" fmla="*/ 188667 h 862255"/>
                <a:gd name="connsiteX72" fmla="*/ 783414 w 853206"/>
                <a:gd name="connsiteY72" fmla="*/ 249401 h 862255"/>
                <a:gd name="connsiteX73" fmla="*/ 815952 w 853206"/>
                <a:gd name="connsiteY73" fmla="*/ 336008 h 862255"/>
                <a:gd name="connsiteX74" fmla="*/ 852938 w 853206"/>
                <a:gd name="connsiteY74" fmla="*/ 383750 h 862255"/>
                <a:gd name="connsiteX75" fmla="*/ 829076 w 853206"/>
                <a:gd name="connsiteY75" fmla="*/ 439395 h 862255"/>
                <a:gd name="connsiteX76" fmla="*/ 818230 w 853206"/>
                <a:gd name="connsiteY76" fmla="*/ 531632 h 862255"/>
                <a:gd name="connsiteX77" fmla="*/ 829076 w 853206"/>
                <a:gd name="connsiteY77" fmla="*/ 591391 h 862255"/>
                <a:gd name="connsiteX78" fmla="*/ 781787 w 853206"/>
                <a:gd name="connsiteY78" fmla="*/ 628849 h 862255"/>
                <a:gd name="connsiteX79" fmla="*/ 729834 w 853206"/>
                <a:gd name="connsiteY79" fmla="*/ 705172 h 862255"/>
                <a:gd name="connsiteX80" fmla="*/ 712155 w 853206"/>
                <a:gd name="connsiteY80" fmla="*/ 763307 h 862255"/>
                <a:gd name="connsiteX81" fmla="*/ 653261 w 853206"/>
                <a:gd name="connsiteY81" fmla="*/ 774133 h 862255"/>
                <a:gd name="connsiteX82" fmla="*/ 572240 w 853206"/>
                <a:gd name="connsiteY82" fmla="*/ 817437 h 862255"/>
                <a:gd name="connsiteX83" fmla="*/ 529940 w 853206"/>
                <a:gd name="connsiteY83" fmla="*/ 860740 h 862255"/>
                <a:gd name="connsiteX84" fmla="*/ 517467 w 853206"/>
                <a:gd name="connsiteY84" fmla="*/ 862256 h 862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</a:cxnLst>
              <a:rect l="l" t="t" r="r" b="b"/>
              <a:pathLst>
                <a:path w="853206" h="862255">
                  <a:moveTo>
                    <a:pt x="386121" y="38837"/>
                  </a:moveTo>
                  <a:lnTo>
                    <a:pt x="386121" y="38837"/>
                  </a:lnTo>
                  <a:close/>
                  <a:moveTo>
                    <a:pt x="426794" y="799141"/>
                  </a:moveTo>
                  <a:cubicBezTo>
                    <a:pt x="450070" y="799000"/>
                    <a:pt x="472521" y="807704"/>
                    <a:pt x="489593" y="823499"/>
                  </a:cubicBezTo>
                  <a:cubicBezTo>
                    <a:pt x="500146" y="838017"/>
                    <a:pt x="520493" y="841253"/>
                    <a:pt x="535038" y="830720"/>
                  </a:cubicBezTo>
                  <a:cubicBezTo>
                    <a:pt x="542207" y="825523"/>
                    <a:pt x="546947" y="817642"/>
                    <a:pt x="548162" y="808884"/>
                  </a:cubicBezTo>
                  <a:cubicBezTo>
                    <a:pt x="564453" y="763491"/>
                    <a:pt x="612588" y="737823"/>
                    <a:pt x="659443" y="749558"/>
                  </a:cubicBezTo>
                  <a:cubicBezTo>
                    <a:pt x="671460" y="754051"/>
                    <a:pt x="684942" y="752048"/>
                    <a:pt x="695127" y="744253"/>
                  </a:cubicBezTo>
                  <a:cubicBezTo>
                    <a:pt x="703955" y="734791"/>
                    <a:pt x="707502" y="721562"/>
                    <a:pt x="704563" y="708961"/>
                  </a:cubicBezTo>
                  <a:cubicBezTo>
                    <a:pt x="698337" y="660980"/>
                    <a:pt x="728967" y="615912"/>
                    <a:pt x="775930" y="603950"/>
                  </a:cubicBezTo>
                  <a:cubicBezTo>
                    <a:pt x="788739" y="602206"/>
                    <a:pt x="799748" y="594033"/>
                    <a:pt x="805106" y="582298"/>
                  </a:cubicBezTo>
                  <a:cubicBezTo>
                    <a:pt x="808718" y="569859"/>
                    <a:pt x="805822" y="556434"/>
                    <a:pt x="797405" y="546572"/>
                  </a:cubicBezTo>
                  <a:cubicBezTo>
                    <a:pt x="770193" y="506473"/>
                    <a:pt x="776613" y="452527"/>
                    <a:pt x="812482" y="419909"/>
                  </a:cubicBezTo>
                  <a:cubicBezTo>
                    <a:pt x="828414" y="410393"/>
                    <a:pt x="833610" y="389780"/>
                    <a:pt x="824065" y="373877"/>
                  </a:cubicBezTo>
                  <a:cubicBezTo>
                    <a:pt x="819824" y="366797"/>
                    <a:pt x="813111" y="361525"/>
                    <a:pt x="805215" y="359067"/>
                  </a:cubicBezTo>
                  <a:cubicBezTo>
                    <a:pt x="762546" y="336138"/>
                    <a:pt x="743479" y="285224"/>
                    <a:pt x="760637" y="239982"/>
                  </a:cubicBezTo>
                  <a:cubicBezTo>
                    <a:pt x="766494" y="228409"/>
                    <a:pt x="766169" y="214671"/>
                    <a:pt x="759769" y="203391"/>
                  </a:cubicBezTo>
                  <a:cubicBezTo>
                    <a:pt x="751722" y="193409"/>
                    <a:pt x="739118" y="188224"/>
                    <a:pt x="726363" y="189642"/>
                  </a:cubicBezTo>
                  <a:cubicBezTo>
                    <a:pt x="678077" y="189274"/>
                    <a:pt x="637718" y="152888"/>
                    <a:pt x="632436" y="104983"/>
                  </a:cubicBezTo>
                  <a:cubicBezTo>
                    <a:pt x="632273" y="92079"/>
                    <a:pt x="625679" y="80105"/>
                    <a:pt x="614865" y="73047"/>
                  </a:cubicBezTo>
                  <a:cubicBezTo>
                    <a:pt x="603108" y="67904"/>
                    <a:pt x="589518" y="69214"/>
                    <a:pt x="578965" y="76511"/>
                  </a:cubicBezTo>
                  <a:cubicBezTo>
                    <a:pt x="536502" y="99354"/>
                    <a:pt x="483595" y="86124"/>
                    <a:pt x="456946" y="45982"/>
                  </a:cubicBezTo>
                  <a:cubicBezTo>
                    <a:pt x="450189" y="29364"/>
                    <a:pt x="431219" y="21353"/>
                    <a:pt x="414559" y="28097"/>
                  </a:cubicBezTo>
                  <a:cubicBezTo>
                    <a:pt x="406414" y="31389"/>
                    <a:pt x="399950" y="37852"/>
                    <a:pt x="396642" y="45982"/>
                  </a:cubicBezTo>
                  <a:cubicBezTo>
                    <a:pt x="369960" y="86070"/>
                    <a:pt x="317096" y="99299"/>
                    <a:pt x="274623" y="76511"/>
                  </a:cubicBezTo>
                  <a:cubicBezTo>
                    <a:pt x="264070" y="69214"/>
                    <a:pt x="250480" y="67904"/>
                    <a:pt x="238722" y="73047"/>
                  </a:cubicBezTo>
                  <a:cubicBezTo>
                    <a:pt x="227865" y="80073"/>
                    <a:pt x="221260" y="92068"/>
                    <a:pt x="221152" y="104983"/>
                  </a:cubicBezTo>
                  <a:cubicBezTo>
                    <a:pt x="215913" y="152952"/>
                    <a:pt x="175457" y="189371"/>
                    <a:pt x="127116" y="189642"/>
                  </a:cubicBezTo>
                  <a:cubicBezTo>
                    <a:pt x="114361" y="188224"/>
                    <a:pt x="101758" y="193409"/>
                    <a:pt x="93710" y="203391"/>
                  </a:cubicBezTo>
                  <a:cubicBezTo>
                    <a:pt x="87419" y="214704"/>
                    <a:pt x="87094" y="228388"/>
                    <a:pt x="92842" y="239982"/>
                  </a:cubicBezTo>
                  <a:cubicBezTo>
                    <a:pt x="110012" y="285191"/>
                    <a:pt x="90998" y="336106"/>
                    <a:pt x="48373" y="359067"/>
                  </a:cubicBezTo>
                  <a:cubicBezTo>
                    <a:pt x="30640" y="364577"/>
                    <a:pt x="20748" y="383393"/>
                    <a:pt x="26269" y="401083"/>
                  </a:cubicBezTo>
                  <a:cubicBezTo>
                    <a:pt x="28731" y="408975"/>
                    <a:pt x="34013" y="415665"/>
                    <a:pt x="41106" y="419909"/>
                  </a:cubicBezTo>
                  <a:cubicBezTo>
                    <a:pt x="76964" y="452527"/>
                    <a:pt x="83395" y="506473"/>
                    <a:pt x="56182" y="546572"/>
                  </a:cubicBezTo>
                  <a:cubicBezTo>
                    <a:pt x="47798" y="556445"/>
                    <a:pt x="44870" y="569837"/>
                    <a:pt x="48373" y="582298"/>
                  </a:cubicBezTo>
                  <a:cubicBezTo>
                    <a:pt x="53796" y="594022"/>
                    <a:pt x="64837" y="602185"/>
                    <a:pt x="77658" y="603950"/>
                  </a:cubicBezTo>
                  <a:cubicBezTo>
                    <a:pt x="124632" y="615880"/>
                    <a:pt x="155251" y="660991"/>
                    <a:pt x="148916" y="708961"/>
                  </a:cubicBezTo>
                  <a:cubicBezTo>
                    <a:pt x="146010" y="721573"/>
                    <a:pt x="149589" y="734813"/>
                    <a:pt x="158461" y="744253"/>
                  </a:cubicBezTo>
                  <a:cubicBezTo>
                    <a:pt x="168646" y="752048"/>
                    <a:pt x="182127" y="754051"/>
                    <a:pt x="194145" y="749558"/>
                  </a:cubicBezTo>
                  <a:cubicBezTo>
                    <a:pt x="241000" y="737823"/>
                    <a:pt x="289135" y="763491"/>
                    <a:pt x="305426" y="808884"/>
                  </a:cubicBezTo>
                  <a:cubicBezTo>
                    <a:pt x="307888" y="826649"/>
                    <a:pt x="324320" y="839056"/>
                    <a:pt x="342118" y="836598"/>
                  </a:cubicBezTo>
                  <a:cubicBezTo>
                    <a:pt x="350893" y="835386"/>
                    <a:pt x="358789" y="830655"/>
                    <a:pt x="363995" y="823499"/>
                  </a:cubicBezTo>
                  <a:cubicBezTo>
                    <a:pt x="381056" y="807682"/>
                    <a:pt x="403518" y="798978"/>
                    <a:pt x="426794" y="799141"/>
                  </a:cubicBezTo>
                  <a:moveTo>
                    <a:pt x="517142" y="862039"/>
                  </a:moveTo>
                  <a:cubicBezTo>
                    <a:pt x="500265" y="861433"/>
                    <a:pt x="484267" y="854385"/>
                    <a:pt x="472456" y="842336"/>
                  </a:cubicBezTo>
                  <a:cubicBezTo>
                    <a:pt x="446610" y="818627"/>
                    <a:pt x="406870" y="818627"/>
                    <a:pt x="381023" y="842336"/>
                  </a:cubicBezTo>
                  <a:cubicBezTo>
                    <a:pt x="366424" y="857893"/>
                    <a:pt x="344786" y="864778"/>
                    <a:pt x="323864" y="860523"/>
                  </a:cubicBezTo>
                  <a:cubicBezTo>
                    <a:pt x="303268" y="854309"/>
                    <a:pt x="287324" y="837941"/>
                    <a:pt x="281673" y="817220"/>
                  </a:cubicBezTo>
                  <a:cubicBezTo>
                    <a:pt x="269840" y="784136"/>
                    <a:pt x="234796" y="765418"/>
                    <a:pt x="200652" y="773916"/>
                  </a:cubicBezTo>
                  <a:cubicBezTo>
                    <a:pt x="180479" y="780866"/>
                    <a:pt x="158125" y="776763"/>
                    <a:pt x="141758" y="763090"/>
                  </a:cubicBezTo>
                  <a:cubicBezTo>
                    <a:pt x="126313" y="747988"/>
                    <a:pt x="119643" y="726076"/>
                    <a:pt x="124079" y="704955"/>
                  </a:cubicBezTo>
                  <a:cubicBezTo>
                    <a:pt x="128569" y="670063"/>
                    <a:pt x="106280" y="637315"/>
                    <a:pt x="72126" y="628633"/>
                  </a:cubicBezTo>
                  <a:cubicBezTo>
                    <a:pt x="50976" y="625060"/>
                    <a:pt x="33123" y="610921"/>
                    <a:pt x="24837" y="591175"/>
                  </a:cubicBezTo>
                  <a:cubicBezTo>
                    <a:pt x="18091" y="570703"/>
                    <a:pt x="22169" y="548218"/>
                    <a:pt x="35683" y="531416"/>
                  </a:cubicBezTo>
                  <a:cubicBezTo>
                    <a:pt x="55694" y="502294"/>
                    <a:pt x="51063" y="462888"/>
                    <a:pt x="24837" y="439179"/>
                  </a:cubicBezTo>
                  <a:cubicBezTo>
                    <a:pt x="7711" y="426090"/>
                    <a:pt x="-1562" y="405207"/>
                    <a:pt x="216" y="383750"/>
                  </a:cubicBezTo>
                  <a:cubicBezTo>
                    <a:pt x="3535" y="362564"/>
                    <a:pt x="17494" y="344550"/>
                    <a:pt x="37202" y="336008"/>
                  </a:cubicBezTo>
                  <a:cubicBezTo>
                    <a:pt x="68243" y="319347"/>
                    <a:pt x="82148" y="282333"/>
                    <a:pt x="69740" y="249401"/>
                  </a:cubicBezTo>
                  <a:cubicBezTo>
                    <a:pt x="60564" y="229871"/>
                    <a:pt x="61866" y="207028"/>
                    <a:pt x="73211" y="188667"/>
                  </a:cubicBezTo>
                  <a:cubicBezTo>
                    <a:pt x="85901" y="171747"/>
                    <a:pt x="106313" y="162371"/>
                    <a:pt x="127441" y="163768"/>
                  </a:cubicBezTo>
                  <a:lnTo>
                    <a:pt x="128743" y="163768"/>
                  </a:lnTo>
                  <a:cubicBezTo>
                    <a:pt x="163429" y="163042"/>
                    <a:pt x="192182" y="136714"/>
                    <a:pt x="195880" y="102276"/>
                  </a:cubicBezTo>
                  <a:cubicBezTo>
                    <a:pt x="196618" y="80765"/>
                    <a:pt x="208256" y="61106"/>
                    <a:pt x="226792" y="50096"/>
                  </a:cubicBezTo>
                  <a:cubicBezTo>
                    <a:pt x="246000" y="40829"/>
                    <a:pt x="268668" y="42268"/>
                    <a:pt x="286554" y="53885"/>
                  </a:cubicBezTo>
                  <a:cubicBezTo>
                    <a:pt x="317476" y="70416"/>
                    <a:pt x="355915" y="60813"/>
                    <a:pt x="375383" y="31692"/>
                  </a:cubicBezTo>
                  <a:cubicBezTo>
                    <a:pt x="389429" y="3468"/>
                    <a:pt x="423724" y="-8050"/>
                    <a:pt x="452000" y="5969"/>
                  </a:cubicBezTo>
                  <a:cubicBezTo>
                    <a:pt x="463172" y="11512"/>
                    <a:pt x="472217" y="20541"/>
                    <a:pt x="477771" y="31692"/>
                  </a:cubicBezTo>
                  <a:cubicBezTo>
                    <a:pt x="497142" y="60954"/>
                    <a:pt x="535700" y="70578"/>
                    <a:pt x="566600" y="53885"/>
                  </a:cubicBezTo>
                  <a:cubicBezTo>
                    <a:pt x="584507" y="42333"/>
                    <a:pt x="607143" y="40894"/>
                    <a:pt x="626362" y="50096"/>
                  </a:cubicBezTo>
                  <a:cubicBezTo>
                    <a:pt x="644866" y="61127"/>
                    <a:pt x="656504" y="80776"/>
                    <a:pt x="657274" y="102276"/>
                  </a:cubicBezTo>
                  <a:cubicBezTo>
                    <a:pt x="660842" y="137298"/>
                    <a:pt x="690452" y="163898"/>
                    <a:pt x="725713" y="163768"/>
                  </a:cubicBezTo>
                  <a:cubicBezTo>
                    <a:pt x="746873" y="162252"/>
                    <a:pt x="767329" y="171649"/>
                    <a:pt x="779943" y="188667"/>
                  </a:cubicBezTo>
                  <a:cubicBezTo>
                    <a:pt x="791288" y="207028"/>
                    <a:pt x="792590" y="229871"/>
                    <a:pt x="783414" y="249401"/>
                  </a:cubicBezTo>
                  <a:cubicBezTo>
                    <a:pt x="771006" y="282333"/>
                    <a:pt x="784911" y="319336"/>
                    <a:pt x="815952" y="336008"/>
                  </a:cubicBezTo>
                  <a:cubicBezTo>
                    <a:pt x="835660" y="344539"/>
                    <a:pt x="849619" y="362564"/>
                    <a:pt x="852938" y="383750"/>
                  </a:cubicBezTo>
                  <a:cubicBezTo>
                    <a:pt x="854912" y="405131"/>
                    <a:pt x="845942" y="426058"/>
                    <a:pt x="829076" y="439395"/>
                  </a:cubicBezTo>
                  <a:cubicBezTo>
                    <a:pt x="802850" y="463104"/>
                    <a:pt x="798219" y="502510"/>
                    <a:pt x="818230" y="531632"/>
                  </a:cubicBezTo>
                  <a:cubicBezTo>
                    <a:pt x="831744" y="548434"/>
                    <a:pt x="835822" y="570919"/>
                    <a:pt x="829076" y="591391"/>
                  </a:cubicBezTo>
                  <a:cubicBezTo>
                    <a:pt x="820790" y="611138"/>
                    <a:pt x="802937" y="625277"/>
                    <a:pt x="781787" y="628849"/>
                  </a:cubicBezTo>
                  <a:cubicBezTo>
                    <a:pt x="747633" y="637531"/>
                    <a:pt x="725344" y="670280"/>
                    <a:pt x="729834" y="705172"/>
                  </a:cubicBezTo>
                  <a:cubicBezTo>
                    <a:pt x="734270" y="726293"/>
                    <a:pt x="727600" y="748205"/>
                    <a:pt x="712155" y="763307"/>
                  </a:cubicBezTo>
                  <a:cubicBezTo>
                    <a:pt x="695788" y="776980"/>
                    <a:pt x="673434" y="781083"/>
                    <a:pt x="653261" y="774133"/>
                  </a:cubicBezTo>
                  <a:cubicBezTo>
                    <a:pt x="619117" y="765624"/>
                    <a:pt x="584073" y="784353"/>
                    <a:pt x="572240" y="817437"/>
                  </a:cubicBezTo>
                  <a:cubicBezTo>
                    <a:pt x="566546" y="838179"/>
                    <a:pt x="550570" y="854537"/>
                    <a:pt x="529940" y="860740"/>
                  </a:cubicBezTo>
                  <a:cubicBezTo>
                    <a:pt x="525851" y="861725"/>
                    <a:pt x="521665" y="862234"/>
                    <a:pt x="517467" y="862256"/>
                  </a:cubicBezTo>
                </a:path>
              </a:pathLst>
            </a:custGeom>
            <a:solidFill>
              <a:srgbClr val="00000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1" name="Freeform 110">
              <a:extLst>
                <a:ext uri="{FF2B5EF4-FFF2-40B4-BE49-F238E27FC236}">
                  <a16:creationId xmlns:a16="http://schemas.microsoft.com/office/drawing/2014/main" id="{926340F0-6138-3347-93BA-70CFD79D8458}"/>
                </a:ext>
              </a:extLst>
            </p:cNvPr>
            <p:cNvSpPr/>
            <p:nvPr/>
          </p:nvSpPr>
          <p:spPr>
            <a:xfrm>
              <a:off x="7224993" y="4835346"/>
              <a:ext cx="2093435" cy="1414297"/>
            </a:xfrm>
            <a:custGeom>
              <a:avLst/>
              <a:gdLst>
                <a:gd name="connsiteX0" fmla="*/ 2020089 w 2093435"/>
                <a:gd name="connsiteY0" fmla="*/ 682682 h 1414297"/>
                <a:gd name="connsiteX1" fmla="*/ 2052628 w 2093435"/>
                <a:gd name="connsiteY1" fmla="*/ 219116 h 1414297"/>
                <a:gd name="connsiteX2" fmla="*/ 978212 w 2093435"/>
                <a:gd name="connsiteY2" fmla="*/ 27822 h 1414297"/>
                <a:gd name="connsiteX3" fmla="*/ 50111 w 2093435"/>
                <a:gd name="connsiteY3" fmla="*/ 255167 h 1414297"/>
                <a:gd name="connsiteX4" fmla="*/ 146858 w 2093435"/>
                <a:gd name="connsiteY4" fmla="*/ 869321 h 1414297"/>
                <a:gd name="connsiteX5" fmla="*/ 337424 w 2093435"/>
                <a:gd name="connsiteY5" fmla="*/ 1386042 h 1414297"/>
                <a:gd name="connsiteX6" fmla="*/ 1858916 w 2093435"/>
                <a:gd name="connsiteY6" fmla="*/ 1386042 h 1414297"/>
                <a:gd name="connsiteX7" fmla="*/ 2020089 w 2093435"/>
                <a:gd name="connsiteY7" fmla="*/ 683115 h 1414297"/>
                <a:gd name="connsiteX8" fmla="*/ 1880175 w 2093435"/>
                <a:gd name="connsiteY8" fmla="*/ 1414297 h 1414297"/>
                <a:gd name="connsiteX9" fmla="*/ 318335 w 2093435"/>
                <a:gd name="connsiteY9" fmla="*/ 1414297 h 1414297"/>
                <a:gd name="connsiteX10" fmla="*/ 314756 w 2093435"/>
                <a:gd name="connsiteY10" fmla="*/ 1405636 h 1414297"/>
                <a:gd name="connsiteX11" fmla="*/ 29828 w 2093435"/>
                <a:gd name="connsiteY11" fmla="*/ 235139 h 1414297"/>
                <a:gd name="connsiteX12" fmla="*/ 977670 w 2093435"/>
                <a:gd name="connsiteY12" fmla="*/ 0 h 1414297"/>
                <a:gd name="connsiteX13" fmla="*/ 2075947 w 2093435"/>
                <a:gd name="connsiteY13" fmla="*/ 204826 h 1414297"/>
                <a:gd name="connsiteX14" fmla="*/ 1882452 w 2093435"/>
                <a:gd name="connsiteY14" fmla="*/ 1403904 h 1414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93435" h="1414297">
                  <a:moveTo>
                    <a:pt x="2020089" y="682682"/>
                  </a:moveTo>
                  <a:cubicBezTo>
                    <a:pt x="2061088" y="462591"/>
                    <a:pt x="2083756" y="271297"/>
                    <a:pt x="2052628" y="219116"/>
                  </a:cubicBezTo>
                  <a:cubicBezTo>
                    <a:pt x="1985274" y="106527"/>
                    <a:pt x="1543511" y="27822"/>
                    <a:pt x="978212" y="27822"/>
                  </a:cubicBezTo>
                  <a:cubicBezTo>
                    <a:pt x="517144" y="27822"/>
                    <a:pt x="196316" y="106310"/>
                    <a:pt x="50111" y="255167"/>
                  </a:cubicBezTo>
                  <a:cubicBezTo>
                    <a:pt x="20935" y="284721"/>
                    <a:pt x="-5205" y="403915"/>
                    <a:pt x="146858" y="869321"/>
                  </a:cubicBezTo>
                  <a:cubicBezTo>
                    <a:pt x="225384" y="1109548"/>
                    <a:pt x="318226" y="1339165"/>
                    <a:pt x="337424" y="1386042"/>
                  </a:cubicBezTo>
                  <a:lnTo>
                    <a:pt x="1858916" y="1386042"/>
                  </a:lnTo>
                  <a:cubicBezTo>
                    <a:pt x="1901216" y="1227225"/>
                    <a:pt x="1972909" y="936333"/>
                    <a:pt x="2020089" y="683115"/>
                  </a:cubicBezTo>
                  <a:moveTo>
                    <a:pt x="1880175" y="1414297"/>
                  </a:moveTo>
                  <a:lnTo>
                    <a:pt x="318335" y="1414297"/>
                  </a:lnTo>
                  <a:lnTo>
                    <a:pt x="314756" y="1405636"/>
                  </a:lnTo>
                  <a:cubicBezTo>
                    <a:pt x="271371" y="1300517"/>
                    <a:pt x="-107483" y="374576"/>
                    <a:pt x="29828" y="235139"/>
                  </a:cubicBezTo>
                  <a:cubicBezTo>
                    <a:pt x="181674" y="81302"/>
                    <a:pt x="509118" y="0"/>
                    <a:pt x="977670" y="0"/>
                  </a:cubicBezTo>
                  <a:cubicBezTo>
                    <a:pt x="1427783" y="0"/>
                    <a:pt x="1985490" y="54130"/>
                    <a:pt x="2075947" y="204826"/>
                  </a:cubicBezTo>
                  <a:cubicBezTo>
                    <a:pt x="2163584" y="351409"/>
                    <a:pt x="1893949" y="1360925"/>
                    <a:pt x="1882452" y="1403904"/>
                  </a:cubicBezTo>
                  <a:close/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" name="Freeform 111">
              <a:extLst>
                <a:ext uri="{FF2B5EF4-FFF2-40B4-BE49-F238E27FC236}">
                  <a16:creationId xmlns:a16="http://schemas.microsoft.com/office/drawing/2014/main" id="{9FDA57A7-0A0E-B042-94FE-29CA738DAFD0}"/>
                </a:ext>
              </a:extLst>
            </p:cNvPr>
            <p:cNvSpPr/>
            <p:nvPr/>
          </p:nvSpPr>
          <p:spPr>
            <a:xfrm>
              <a:off x="7970449" y="5327645"/>
              <a:ext cx="580924" cy="579833"/>
            </a:xfrm>
            <a:custGeom>
              <a:avLst/>
              <a:gdLst>
                <a:gd name="connsiteX0" fmla="*/ 295338 w 580924"/>
                <a:gd name="connsiteY0" fmla="*/ 28211 h 579833"/>
                <a:gd name="connsiteX1" fmla="*/ 28773 w 580924"/>
                <a:gd name="connsiteY1" fmla="*/ 285402 h 579833"/>
                <a:gd name="connsiteX2" fmla="*/ 286444 w 580924"/>
                <a:gd name="connsiteY2" fmla="*/ 551460 h 579833"/>
                <a:gd name="connsiteX3" fmla="*/ 553009 w 580924"/>
                <a:gd name="connsiteY3" fmla="*/ 294279 h 579833"/>
                <a:gd name="connsiteX4" fmla="*/ 553042 w 580924"/>
                <a:gd name="connsiteY4" fmla="*/ 289873 h 579833"/>
                <a:gd name="connsiteX5" fmla="*/ 295338 w 580924"/>
                <a:gd name="connsiteY5" fmla="*/ 28211 h 579833"/>
                <a:gd name="connsiteX6" fmla="*/ 295338 w 580924"/>
                <a:gd name="connsiteY6" fmla="*/ 579791 h 579833"/>
                <a:gd name="connsiteX7" fmla="*/ 42 w 580924"/>
                <a:gd name="connsiteY7" fmla="*/ 294788 h 579833"/>
                <a:gd name="connsiteX8" fmla="*/ 285577 w 580924"/>
                <a:gd name="connsiteY8" fmla="*/ 42 h 579833"/>
                <a:gd name="connsiteX9" fmla="*/ 580873 w 580924"/>
                <a:gd name="connsiteY9" fmla="*/ 285045 h 579833"/>
                <a:gd name="connsiteX10" fmla="*/ 580916 w 580924"/>
                <a:gd name="connsiteY10" fmla="*/ 289873 h 579833"/>
                <a:gd name="connsiteX11" fmla="*/ 295338 w 580924"/>
                <a:gd name="connsiteY11" fmla="*/ 579791 h 579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0924" h="579833">
                  <a:moveTo>
                    <a:pt x="295338" y="28211"/>
                  </a:moveTo>
                  <a:cubicBezTo>
                    <a:pt x="150575" y="25764"/>
                    <a:pt x="31235" y="140909"/>
                    <a:pt x="28773" y="285402"/>
                  </a:cubicBezTo>
                  <a:cubicBezTo>
                    <a:pt x="26322" y="429885"/>
                    <a:pt x="141681" y="549013"/>
                    <a:pt x="286444" y="551460"/>
                  </a:cubicBezTo>
                  <a:cubicBezTo>
                    <a:pt x="431207" y="553906"/>
                    <a:pt x="550547" y="438762"/>
                    <a:pt x="553009" y="294279"/>
                  </a:cubicBezTo>
                  <a:cubicBezTo>
                    <a:pt x="553031" y="292807"/>
                    <a:pt x="553042" y="291345"/>
                    <a:pt x="553042" y="289873"/>
                  </a:cubicBezTo>
                  <a:cubicBezTo>
                    <a:pt x="554061" y="146668"/>
                    <a:pt x="438810" y="29640"/>
                    <a:pt x="295338" y="28211"/>
                  </a:cubicBezTo>
                  <a:moveTo>
                    <a:pt x="295338" y="579791"/>
                  </a:moveTo>
                  <a:cubicBezTo>
                    <a:pt x="134946" y="582487"/>
                    <a:pt x="2732" y="454882"/>
                    <a:pt x="42" y="294788"/>
                  </a:cubicBezTo>
                  <a:cubicBezTo>
                    <a:pt x="-2659" y="134695"/>
                    <a:pt x="125184" y="2727"/>
                    <a:pt x="285577" y="42"/>
                  </a:cubicBezTo>
                  <a:cubicBezTo>
                    <a:pt x="445969" y="-2654"/>
                    <a:pt x="578183" y="124951"/>
                    <a:pt x="580873" y="285045"/>
                  </a:cubicBezTo>
                  <a:cubicBezTo>
                    <a:pt x="580905" y="286647"/>
                    <a:pt x="580916" y="288260"/>
                    <a:pt x="580916" y="289873"/>
                  </a:cubicBezTo>
                  <a:cubicBezTo>
                    <a:pt x="582120" y="448592"/>
                    <a:pt x="454342" y="578308"/>
                    <a:pt x="295338" y="579791"/>
                  </a:cubicBezTo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" name="Freeform 112">
              <a:extLst>
                <a:ext uri="{FF2B5EF4-FFF2-40B4-BE49-F238E27FC236}">
                  <a16:creationId xmlns:a16="http://schemas.microsoft.com/office/drawing/2014/main" id="{3AE1D5DC-4868-8141-A964-CDEEF3C38BCC}"/>
                </a:ext>
              </a:extLst>
            </p:cNvPr>
            <p:cNvSpPr/>
            <p:nvPr/>
          </p:nvSpPr>
          <p:spPr>
            <a:xfrm>
              <a:off x="8247130" y="5275234"/>
              <a:ext cx="406302" cy="405542"/>
            </a:xfrm>
            <a:custGeom>
              <a:avLst/>
              <a:gdLst>
                <a:gd name="connsiteX0" fmla="*/ 206729 w 406302"/>
                <a:gd name="connsiteY0" fmla="*/ 28766 h 405542"/>
                <a:gd name="connsiteX1" fmla="*/ 29200 w 406302"/>
                <a:gd name="connsiteY1" fmla="*/ 200335 h 405542"/>
                <a:gd name="connsiteX2" fmla="*/ 201089 w 406302"/>
                <a:gd name="connsiteY2" fmla="*/ 377534 h 405542"/>
                <a:gd name="connsiteX3" fmla="*/ 378618 w 406302"/>
                <a:gd name="connsiteY3" fmla="*/ 205965 h 405542"/>
                <a:gd name="connsiteX4" fmla="*/ 378640 w 406302"/>
                <a:gd name="connsiteY4" fmla="*/ 202739 h 405542"/>
                <a:gd name="connsiteX5" fmla="*/ 206837 w 406302"/>
                <a:gd name="connsiteY5" fmla="*/ 28333 h 405542"/>
                <a:gd name="connsiteX6" fmla="*/ 206837 w 406302"/>
                <a:gd name="connsiteY6" fmla="*/ 405508 h 405542"/>
                <a:gd name="connsiteX7" fmla="*/ 34 w 406302"/>
                <a:gd name="connsiteY7" fmla="*/ 206452 h 405542"/>
                <a:gd name="connsiteX8" fmla="*/ 199462 w 406302"/>
                <a:gd name="connsiteY8" fmla="*/ 34 h 405542"/>
                <a:gd name="connsiteX9" fmla="*/ 406265 w 406302"/>
                <a:gd name="connsiteY9" fmla="*/ 199090 h 405542"/>
                <a:gd name="connsiteX10" fmla="*/ 406297 w 406302"/>
                <a:gd name="connsiteY10" fmla="*/ 202739 h 405542"/>
                <a:gd name="connsiteX11" fmla="*/ 206729 w 406302"/>
                <a:gd name="connsiteY11" fmla="*/ 405508 h 405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6302" h="405542">
                  <a:moveTo>
                    <a:pt x="206729" y="28766"/>
                  </a:moveTo>
                  <a:cubicBezTo>
                    <a:pt x="110242" y="27207"/>
                    <a:pt x="30761" y="104028"/>
                    <a:pt x="29200" y="200335"/>
                  </a:cubicBezTo>
                  <a:cubicBezTo>
                    <a:pt x="27649" y="296643"/>
                    <a:pt x="104602" y="375975"/>
                    <a:pt x="201089" y="377534"/>
                  </a:cubicBezTo>
                  <a:cubicBezTo>
                    <a:pt x="297576" y="379082"/>
                    <a:pt x="377056" y="302272"/>
                    <a:pt x="378618" y="205965"/>
                  </a:cubicBezTo>
                  <a:cubicBezTo>
                    <a:pt x="378640" y="204893"/>
                    <a:pt x="378640" y="203810"/>
                    <a:pt x="378640" y="202739"/>
                  </a:cubicBezTo>
                  <a:cubicBezTo>
                    <a:pt x="379301" y="107287"/>
                    <a:pt x="302467" y="29286"/>
                    <a:pt x="206837" y="28333"/>
                  </a:cubicBezTo>
                  <a:moveTo>
                    <a:pt x="206837" y="405508"/>
                  </a:moveTo>
                  <a:cubicBezTo>
                    <a:pt x="94656" y="407543"/>
                    <a:pt x="2074" y="318424"/>
                    <a:pt x="34" y="206452"/>
                  </a:cubicBezTo>
                  <a:cubicBezTo>
                    <a:pt x="-2005" y="94490"/>
                    <a:pt x="87280" y="2069"/>
                    <a:pt x="199462" y="34"/>
                  </a:cubicBezTo>
                  <a:cubicBezTo>
                    <a:pt x="311643" y="-2001"/>
                    <a:pt x="404226" y="87118"/>
                    <a:pt x="406265" y="199090"/>
                  </a:cubicBezTo>
                  <a:cubicBezTo>
                    <a:pt x="406286" y="200303"/>
                    <a:pt x="406297" y="201526"/>
                    <a:pt x="406297" y="202739"/>
                  </a:cubicBezTo>
                  <a:cubicBezTo>
                    <a:pt x="407143" y="313682"/>
                    <a:pt x="317869" y="404382"/>
                    <a:pt x="206729" y="405508"/>
                  </a:cubicBezTo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" name="Freeform 113">
              <a:extLst>
                <a:ext uri="{FF2B5EF4-FFF2-40B4-BE49-F238E27FC236}">
                  <a16:creationId xmlns:a16="http://schemas.microsoft.com/office/drawing/2014/main" id="{BA31382E-B9A7-1D4E-9863-19C920B06B85}"/>
                </a:ext>
              </a:extLst>
            </p:cNvPr>
            <p:cNvSpPr/>
            <p:nvPr/>
          </p:nvSpPr>
          <p:spPr>
            <a:xfrm>
              <a:off x="10595602" y="5832505"/>
              <a:ext cx="231094" cy="57392"/>
            </a:xfrm>
            <a:custGeom>
              <a:avLst/>
              <a:gdLst>
                <a:gd name="connsiteX0" fmla="*/ 13922 w 231094"/>
                <a:gd name="connsiteY0" fmla="*/ 57393 h 57392"/>
                <a:gd name="connsiteX1" fmla="*/ 147 w 231094"/>
                <a:gd name="connsiteY1" fmla="*/ 45268 h 57392"/>
                <a:gd name="connsiteX2" fmla="*/ 11969 w 231094"/>
                <a:gd name="connsiteY2" fmla="*/ 29246 h 57392"/>
                <a:gd name="connsiteX3" fmla="*/ 215225 w 231094"/>
                <a:gd name="connsiteY3" fmla="*/ 124 h 57392"/>
                <a:gd name="connsiteX4" fmla="*/ 230952 w 231094"/>
                <a:gd name="connsiteY4" fmla="*/ 12119 h 57392"/>
                <a:gd name="connsiteX5" fmla="*/ 230952 w 231094"/>
                <a:gd name="connsiteY5" fmla="*/ 12141 h 57392"/>
                <a:gd name="connsiteX6" fmla="*/ 219021 w 231094"/>
                <a:gd name="connsiteY6" fmla="*/ 28163 h 57392"/>
                <a:gd name="connsiteX7" fmla="*/ 15874 w 231094"/>
                <a:gd name="connsiteY7" fmla="*/ 56852 h 57392"/>
                <a:gd name="connsiteX8" fmla="*/ 13922 w 231094"/>
                <a:gd name="connsiteY8" fmla="*/ 56852 h 57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1094" h="57392">
                  <a:moveTo>
                    <a:pt x="13922" y="57393"/>
                  </a:moveTo>
                  <a:cubicBezTo>
                    <a:pt x="6948" y="57350"/>
                    <a:pt x="1069" y="52175"/>
                    <a:pt x="147" y="45268"/>
                  </a:cubicBezTo>
                  <a:cubicBezTo>
                    <a:pt x="-959" y="37603"/>
                    <a:pt x="4301" y="30469"/>
                    <a:pt x="11969" y="29246"/>
                  </a:cubicBezTo>
                  <a:lnTo>
                    <a:pt x="215225" y="124"/>
                  </a:lnTo>
                  <a:cubicBezTo>
                    <a:pt x="222883" y="-894"/>
                    <a:pt x="229922" y="4465"/>
                    <a:pt x="230952" y="12119"/>
                  </a:cubicBezTo>
                  <a:cubicBezTo>
                    <a:pt x="230952" y="12119"/>
                    <a:pt x="230952" y="12130"/>
                    <a:pt x="230952" y="12141"/>
                  </a:cubicBezTo>
                  <a:cubicBezTo>
                    <a:pt x="232047" y="19849"/>
                    <a:pt x="226733" y="26994"/>
                    <a:pt x="219021" y="28163"/>
                  </a:cubicBezTo>
                  <a:lnTo>
                    <a:pt x="15874" y="56852"/>
                  </a:lnTo>
                  <a:lnTo>
                    <a:pt x="13922" y="56852"/>
                  </a:lnTo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5" name="Freeform 114">
              <a:extLst>
                <a:ext uri="{FF2B5EF4-FFF2-40B4-BE49-F238E27FC236}">
                  <a16:creationId xmlns:a16="http://schemas.microsoft.com/office/drawing/2014/main" id="{B713FEBB-3BD2-7B4D-8422-C10671D88C57}"/>
                </a:ext>
              </a:extLst>
            </p:cNvPr>
            <p:cNvSpPr/>
            <p:nvPr/>
          </p:nvSpPr>
          <p:spPr>
            <a:xfrm>
              <a:off x="9131632" y="5505795"/>
              <a:ext cx="1485374" cy="831429"/>
            </a:xfrm>
            <a:custGeom>
              <a:avLst/>
              <a:gdLst>
                <a:gd name="connsiteX0" fmla="*/ 315730 w 1485374"/>
                <a:gd name="connsiteY0" fmla="*/ 831213 h 831429"/>
                <a:gd name="connsiteX1" fmla="*/ 268333 w 1485374"/>
                <a:gd name="connsiteY1" fmla="*/ 822228 h 831429"/>
                <a:gd name="connsiteX2" fmla="*/ 0 w 1485374"/>
                <a:gd name="connsiteY2" fmla="*/ 499724 h 831429"/>
                <a:gd name="connsiteX3" fmla="*/ 22777 w 1485374"/>
                <a:gd name="connsiteY3" fmla="*/ 483377 h 831429"/>
                <a:gd name="connsiteX4" fmla="*/ 281890 w 1485374"/>
                <a:gd name="connsiteY4" fmla="*/ 797328 h 831429"/>
                <a:gd name="connsiteX5" fmla="*/ 916713 w 1485374"/>
                <a:gd name="connsiteY5" fmla="*/ 615453 h 831429"/>
                <a:gd name="connsiteX6" fmla="*/ 1450341 w 1485374"/>
                <a:gd name="connsiteY6" fmla="*/ 383021 h 831429"/>
                <a:gd name="connsiteX7" fmla="*/ 1340254 w 1485374"/>
                <a:gd name="connsiteY7" fmla="*/ 75023 h 831429"/>
                <a:gd name="connsiteX8" fmla="*/ 430807 w 1485374"/>
                <a:gd name="connsiteY8" fmla="*/ 393089 h 831429"/>
                <a:gd name="connsiteX9" fmla="*/ 121477 w 1485374"/>
                <a:gd name="connsiteY9" fmla="*/ 14182 h 831429"/>
                <a:gd name="connsiteX10" fmla="*/ 145555 w 1485374"/>
                <a:gd name="connsiteY10" fmla="*/ 0 h 831429"/>
                <a:gd name="connsiteX11" fmla="*/ 433844 w 1485374"/>
                <a:gd name="connsiteY11" fmla="*/ 365158 h 831429"/>
                <a:gd name="connsiteX12" fmla="*/ 1342640 w 1485374"/>
                <a:gd name="connsiteY12" fmla="*/ 43304 h 831429"/>
                <a:gd name="connsiteX13" fmla="*/ 1356306 w 1485374"/>
                <a:gd name="connsiteY13" fmla="*/ 37241 h 831429"/>
                <a:gd name="connsiteX14" fmla="*/ 1485375 w 1485374"/>
                <a:gd name="connsiteY14" fmla="*/ 398285 h 831429"/>
                <a:gd name="connsiteX15" fmla="*/ 1473661 w 1485374"/>
                <a:gd name="connsiteY15" fmla="*/ 403806 h 831429"/>
                <a:gd name="connsiteX16" fmla="*/ 315730 w 1485374"/>
                <a:gd name="connsiteY16" fmla="*/ 831430 h 831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85374" h="831429">
                  <a:moveTo>
                    <a:pt x="315730" y="831213"/>
                  </a:moveTo>
                  <a:cubicBezTo>
                    <a:pt x="299428" y="832188"/>
                    <a:pt x="283137" y="829103"/>
                    <a:pt x="268333" y="822228"/>
                  </a:cubicBezTo>
                  <a:cubicBezTo>
                    <a:pt x="219959" y="794947"/>
                    <a:pt x="132214" y="689394"/>
                    <a:pt x="0" y="499724"/>
                  </a:cubicBezTo>
                  <a:lnTo>
                    <a:pt x="22777" y="483377"/>
                  </a:lnTo>
                  <a:cubicBezTo>
                    <a:pt x="182106" y="712020"/>
                    <a:pt x="251630" y="780440"/>
                    <a:pt x="281890" y="797328"/>
                  </a:cubicBezTo>
                  <a:cubicBezTo>
                    <a:pt x="312151" y="814217"/>
                    <a:pt x="432434" y="812268"/>
                    <a:pt x="916713" y="615453"/>
                  </a:cubicBezTo>
                  <a:cubicBezTo>
                    <a:pt x="1161510" y="516071"/>
                    <a:pt x="1396220" y="408137"/>
                    <a:pt x="1450341" y="383021"/>
                  </a:cubicBezTo>
                  <a:lnTo>
                    <a:pt x="1340254" y="75023"/>
                  </a:lnTo>
                  <a:cubicBezTo>
                    <a:pt x="1233528" y="122224"/>
                    <a:pt x="576579" y="409977"/>
                    <a:pt x="430807" y="393089"/>
                  </a:cubicBezTo>
                  <a:cubicBezTo>
                    <a:pt x="364538" y="385511"/>
                    <a:pt x="263343" y="261554"/>
                    <a:pt x="121477" y="14182"/>
                  </a:cubicBezTo>
                  <a:lnTo>
                    <a:pt x="145555" y="0"/>
                  </a:lnTo>
                  <a:cubicBezTo>
                    <a:pt x="322888" y="309404"/>
                    <a:pt x="402390" y="361585"/>
                    <a:pt x="433844" y="365158"/>
                  </a:cubicBezTo>
                  <a:cubicBezTo>
                    <a:pt x="581568" y="382155"/>
                    <a:pt x="1335047" y="46660"/>
                    <a:pt x="1342640" y="43304"/>
                  </a:cubicBezTo>
                  <a:lnTo>
                    <a:pt x="1356306" y="37241"/>
                  </a:lnTo>
                  <a:lnTo>
                    <a:pt x="1485375" y="398285"/>
                  </a:lnTo>
                  <a:lnTo>
                    <a:pt x="1473661" y="403806"/>
                  </a:lnTo>
                  <a:cubicBezTo>
                    <a:pt x="1373334" y="450683"/>
                    <a:pt x="552392" y="831430"/>
                    <a:pt x="315730" y="831430"/>
                  </a:cubicBezTo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6" name="Freeform 115">
              <a:extLst>
                <a:ext uri="{FF2B5EF4-FFF2-40B4-BE49-F238E27FC236}">
                  <a16:creationId xmlns:a16="http://schemas.microsoft.com/office/drawing/2014/main" id="{C577FBE2-6C10-F241-A32B-712E13F2C1BC}"/>
                </a:ext>
              </a:extLst>
            </p:cNvPr>
            <p:cNvSpPr/>
            <p:nvPr/>
          </p:nvSpPr>
          <p:spPr>
            <a:xfrm>
              <a:off x="10506268" y="5459394"/>
              <a:ext cx="390321" cy="187354"/>
            </a:xfrm>
            <a:custGeom>
              <a:avLst/>
              <a:gdLst>
                <a:gd name="connsiteX0" fmla="*/ 14426 w 390321"/>
                <a:gd name="connsiteY0" fmla="*/ 187354 h 187354"/>
                <a:gd name="connsiteX1" fmla="*/ 0 w 390321"/>
                <a:gd name="connsiteY1" fmla="*/ 163212 h 187354"/>
                <a:gd name="connsiteX2" fmla="*/ 370720 w 390321"/>
                <a:gd name="connsiteY2" fmla="*/ 2989 h 187354"/>
                <a:gd name="connsiteX3" fmla="*/ 388291 w 390321"/>
                <a:gd name="connsiteY3" fmla="*/ 23775 h 187354"/>
                <a:gd name="connsiteX4" fmla="*/ 230805 w 390321"/>
                <a:gd name="connsiteY4" fmla="*/ 185514 h 187354"/>
                <a:gd name="connsiteX5" fmla="*/ 221586 w 390321"/>
                <a:gd name="connsiteY5" fmla="*/ 158882 h 187354"/>
                <a:gd name="connsiteX6" fmla="*/ 361284 w 390321"/>
                <a:gd name="connsiteY6" fmla="*/ 30270 h 187354"/>
                <a:gd name="connsiteX7" fmla="*/ 359982 w 390321"/>
                <a:gd name="connsiteY7" fmla="*/ 29080 h 187354"/>
                <a:gd name="connsiteX8" fmla="*/ 14426 w 390321"/>
                <a:gd name="connsiteY8" fmla="*/ 187354 h 187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0321" h="187354">
                  <a:moveTo>
                    <a:pt x="14426" y="187354"/>
                  </a:moveTo>
                  <a:lnTo>
                    <a:pt x="0" y="163212"/>
                  </a:lnTo>
                  <a:cubicBezTo>
                    <a:pt x="50977" y="131817"/>
                    <a:pt x="308463" y="-23318"/>
                    <a:pt x="370720" y="2989"/>
                  </a:cubicBezTo>
                  <a:cubicBezTo>
                    <a:pt x="379636" y="6627"/>
                    <a:pt x="386197" y="14389"/>
                    <a:pt x="388291" y="23775"/>
                  </a:cubicBezTo>
                  <a:cubicBezTo>
                    <a:pt x="410851" y="120017"/>
                    <a:pt x="238181" y="182916"/>
                    <a:pt x="230805" y="185514"/>
                  </a:cubicBezTo>
                  <a:lnTo>
                    <a:pt x="221586" y="158882"/>
                  </a:lnTo>
                  <a:cubicBezTo>
                    <a:pt x="264970" y="143293"/>
                    <a:pt x="375167" y="89705"/>
                    <a:pt x="361284" y="30270"/>
                  </a:cubicBezTo>
                  <a:cubicBezTo>
                    <a:pt x="361284" y="29729"/>
                    <a:pt x="361284" y="29621"/>
                    <a:pt x="359982" y="29080"/>
                  </a:cubicBezTo>
                  <a:cubicBezTo>
                    <a:pt x="323865" y="13923"/>
                    <a:pt x="136119" y="112439"/>
                    <a:pt x="14426" y="187354"/>
                  </a:cubicBezTo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7" name="Freeform 116">
              <a:extLst>
                <a:ext uri="{FF2B5EF4-FFF2-40B4-BE49-F238E27FC236}">
                  <a16:creationId xmlns:a16="http://schemas.microsoft.com/office/drawing/2014/main" id="{D8AFC1F1-1879-0840-8A5F-207F8A4E024C}"/>
                </a:ext>
              </a:extLst>
            </p:cNvPr>
            <p:cNvSpPr/>
            <p:nvPr/>
          </p:nvSpPr>
          <p:spPr>
            <a:xfrm>
              <a:off x="10397379" y="5638195"/>
              <a:ext cx="58129" cy="58021"/>
            </a:xfrm>
            <a:custGeom>
              <a:avLst/>
              <a:gdLst>
                <a:gd name="connsiteX0" fmla="*/ 58130 w 58129"/>
                <a:gd name="connsiteY0" fmla="*/ 29555 h 58021"/>
                <a:gd name="connsiteX1" fmla="*/ 28519 w 58129"/>
                <a:gd name="connsiteY1" fmla="*/ 58016 h 58021"/>
                <a:gd name="connsiteX2" fmla="*/ 5 w 58129"/>
                <a:gd name="connsiteY2" fmla="*/ 28472 h 58021"/>
                <a:gd name="connsiteX3" fmla="*/ 28845 w 58129"/>
                <a:gd name="connsiteY3" fmla="*/ 0 h 58021"/>
                <a:gd name="connsiteX4" fmla="*/ 57913 w 58129"/>
                <a:gd name="connsiteY4" fmla="*/ 29446 h 58021"/>
                <a:gd name="connsiteX5" fmla="*/ 57913 w 58129"/>
                <a:gd name="connsiteY5" fmla="*/ 29555 h 58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129" h="58021">
                  <a:moveTo>
                    <a:pt x="58130" y="29555"/>
                  </a:moveTo>
                  <a:cubicBezTo>
                    <a:pt x="57826" y="45577"/>
                    <a:pt x="44572" y="58319"/>
                    <a:pt x="28519" y="58016"/>
                  </a:cubicBezTo>
                  <a:cubicBezTo>
                    <a:pt x="12479" y="57724"/>
                    <a:pt x="-299" y="44495"/>
                    <a:pt x="5" y="28472"/>
                  </a:cubicBezTo>
                  <a:cubicBezTo>
                    <a:pt x="298" y="12742"/>
                    <a:pt x="13086" y="119"/>
                    <a:pt x="28845" y="0"/>
                  </a:cubicBezTo>
                  <a:cubicBezTo>
                    <a:pt x="45017" y="119"/>
                    <a:pt x="58032" y="13305"/>
                    <a:pt x="57913" y="29446"/>
                  </a:cubicBezTo>
                  <a:cubicBezTo>
                    <a:pt x="57913" y="29479"/>
                    <a:pt x="57913" y="29522"/>
                    <a:pt x="57913" y="29555"/>
                  </a:cubicBezTo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8" name="Freeform 117">
              <a:extLst>
                <a:ext uri="{FF2B5EF4-FFF2-40B4-BE49-F238E27FC236}">
                  <a16:creationId xmlns:a16="http://schemas.microsoft.com/office/drawing/2014/main" id="{6ECC1288-ACC1-8A4A-B8A2-304FF3054075}"/>
                </a:ext>
              </a:extLst>
            </p:cNvPr>
            <p:cNvSpPr/>
            <p:nvPr/>
          </p:nvSpPr>
          <p:spPr>
            <a:xfrm>
              <a:off x="10314668" y="3697867"/>
              <a:ext cx="411445" cy="652911"/>
            </a:xfrm>
            <a:custGeom>
              <a:avLst/>
              <a:gdLst>
                <a:gd name="connsiteX0" fmla="*/ 13941 w 411445"/>
                <a:gd name="connsiteY0" fmla="*/ 652911 h 652911"/>
                <a:gd name="connsiteX1" fmla="*/ 3745 w 411445"/>
                <a:gd name="connsiteY1" fmla="*/ 648472 h 652911"/>
                <a:gd name="connsiteX2" fmla="*/ 4396 w 411445"/>
                <a:gd name="connsiteY2" fmla="*/ 628444 h 652911"/>
                <a:gd name="connsiteX3" fmla="*/ 206785 w 411445"/>
                <a:gd name="connsiteY3" fmla="*/ 435418 h 652911"/>
                <a:gd name="connsiteX4" fmla="*/ 381949 w 411445"/>
                <a:gd name="connsiteY4" fmla="*/ 61166 h 652911"/>
                <a:gd name="connsiteX5" fmla="*/ 344639 w 411445"/>
                <a:gd name="connsiteY5" fmla="*/ 28689 h 652911"/>
                <a:gd name="connsiteX6" fmla="*/ 344639 w 411445"/>
                <a:gd name="connsiteY6" fmla="*/ 28689 h 652911"/>
                <a:gd name="connsiteX7" fmla="*/ 317958 w 411445"/>
                <a:gd name="connsiteY7" fmla="*/ 55970 h 652911"/>
                <a:gd name="connsiteX8" fmla="*/ 167196 w 411445"/>
                <a:gd name="connsiteY8" fmla="*/ 353574 h 652911"/>
                <a:gd name="connsiteX9" fmla="*/ 148736 w 411445"/>
                <a:gd name="connsiteY9" fmla="*/ 359788 h 652911"/>
                <a:gd name="connsiteX10" fmla="*/ 148433 w 411445"/>
                <a:gd name="connsiteY10" fmla="*/ 359637 h 652911"/>
                <a:gd name="connsiteX11" fmla="*/ 142575 w 411445"/>
                <a:gd name="connsiteY11" fmla="*/ 340583 h 652911"/>
                <a:gd name="connsiteX12" fmla="*/ 293120 w 411445"/>
                <a:gd name="connsiteY12" fmla="*/ 43304 h 652911"/>
                <a:gd name="connsiteX13" fmla="*/ 344314 w 411445"/>
                <a:gd name="connsiteY13" fmla="*/ 0 h 652911"/>
                <a:gd name="connsiteX14" fmla="*/ 344856 w 411445"/>
                <a:gd name="connsiteY14" fmla="*/ 0 h 652911"/>
                <a:gd name="connsiteX15" fmla="*/ 409932 w 411445"/>
                <a:gd name="connsiteY15" fmla="*/ 53372 h 652911"/>
                <a:gd name="connsiteX16" fmla="*/ 409932 w 411445"/>
                <a:gd name="connsiteY16" fmla="*/ 66146 h 652911"/>
                <a:gd name="connsiteX17" fmla="*/ 230863 w 411445"/>
                <a:gd name="connsiteY17" fmla="*/ 450033 h 652911"/>
                <a:gd name="connsiteX18" fmla="*/ 227826 w 411445"/>
                <a:gd name="connsiteY18" fmla="*/ 454255 h 652911"/>
                <a:gd name="connsiteX19" fmla="*/ 23594 w 411445"/>
                <a:gd name="connsiteY19" fmla="*/ 649122 h 652911"/>
                <a:gd name="connsiteX20" fmla="*/ 14049 w 411445"/>
                <a:gd name="connsiteY20" fmla="*/ 652911 h 652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11445" h="652911">
                  <a:moveTo>
                    <a:pt x="13941" y="652911"/>
                  </a:moveTo>
                  <a:cubicBezTo>
                    <a:pt x="10069" y="652932"/>
                    <a:pt x="6370" y="651319"/>
                    <a:pt x="3745" y="648472"/>
                  </a:cubicBezTo>
                  <a:cubicBezTo>
                    <a:pt x="-1493" y="642713"/>
                    <a:pt x="-1200" y="633846"/>
                    <a:pt x="4396" y="628444"/>
                  </a:cubicBezTo>
                  <a:lnTo>
                    <a:pt x="206785" y="435418"/>
                  </a:lnTo>
                  <a:lnTo>
                    <a:pt x="381949" y="61166"/>
                  </a:lnTo>
                  <a:cubicBezTo>
                    <a:pt x="373597" y="47850"/>
                    <a:pt x="357871" y="28689"/>
                    <a:pt x="344639" y="28689"/>
                  </a:cubicBezTo>
                  <a:lnTo>
                    <a:pt x="344639" y="28689"/>
                  </a:lnTo>
                  <a:cubicBezTo>
                    <a:pt x="333033" y="28689"/>
                    <a:pt x="322946" y="45902"/>
                    <a:pt x="317958" y="55970"/>
                  </a:cubicBezTo>
                  <a:cubicBezTo>
                    <a:pt x="276525" y="140087"/>
                    <a:pt x="168389" y="351517"/>
                    <a:pt x="167196" y="353574"/>
                  </a:cubicBezTo>
                  <a:cubicBezTo>
                    <a:pt x="163823" y="360384"/>
                    <a:pt x="155558" y="363166"/>
                    <a:pt x="148736" y="359788"/>
                  </a:cubicBezTo>
                  <a:cubicBezTo>
                    <a:pt x="148639" y="359745"/>
                    <a:pt x="148530" y="359691"/>
                    <a:pt x="148433" y="359637"/>
                  </a:cubicBezTo>
                  <a:cubicBezTo>
                    <a:pt x="141588" y="355956"/>
                    <a:pt x="138975" y="347468"/>
                    <a:pt x="142575" y="340583"/>
                  </a:cubicBezTo>
                  <a:cubicBezTo>
                    <a:pt x="143660" y="338418"/>
                    <a:pt x="251796" y="127204"/>
                    <a:pt x="293120" y="43304"/>
                  </a:cubicBezTo>
                  <a:cubicBezTo>
                    <a:pt x="307003" y="15156"/>
                    <a:pt x="324139" y="650"/>
                    <a:pt x="344314" y="0"/>
                  </a:cubicBezTo>
                  <a:lnTo>
                    <a:pt x="344856" y="0"/>
                  </a:lnTo>
                  <a:cubicBezTo>
                    <a:pt x="380973" y="0"/>
                    <a:pt x="407329" y="47959"/>
                    <a:pt x="409932" y="53372"/>
                  </a:cubicBezTo>
                  <a:cubicBezTo>
                    <a:pt x="411949" y="57388"/>
                    <a:pt x="411949" y="62130"/>
                    <a:pt x="409932" y="66146"/>
                  </a:cubicBezTo>
                  <a:lnTo>
                    <a:pt x="230863" y="450033"/>
                  </a:lnTo>
                  <a:cubicBezTo>
                    <a:pt x="230115" y="451614"/>
                    <a:pt x="229084" y="453043"/>
                    <a:pt x="227826" y="454255"/>
                  </a:cubicBezTo>
                  <a:lnTo>
                    <a:pt x="23594" y="649122"/>
                  </a:lnTo>
                  <a:cubicBezTo>
                    <a:pt x="21023" y="651579"/>
                    <a:pt x="17607" y="652932"/>
                    <a:pt x="14049" y="652911"/>
                  </a:cubicBezTo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9" name="Freeform 118">
              <a:extLst>
                <a:ext uri="{FF2B5EF4-FFF2-40B4-BE49-F238E27FC236}">
                  <a16:creationId xmlns:a16="http://schemas.microsoft.com/office/drawing/2014/main" id="{9D7741BB-D64F-4349-89D0-AD1155BA9EDA}"/>
                </a:ext>
              </a:extLst>
            </p:cNvPr>
            <p:cNvSpPr/>
            <p:nvPr/>
          </p:nvSpPr>
          <p:spPr>
            <a:xfrm>
              <a:off x="9255712" y="4213181"/>
              <a:ext cx="1126368" cy="1370518"/>
            </a:xfrm>
            <a:custGeom>
              <a:avLst/>
              <a:gdLst>
                <a:gd name="connsiteX0" fmla="*/ 454669 w 1126368"/>
                <a:gd name="connsiteY0" fmla="*/ 1369911 h 1370518"/>
                <a:gd name="connsiteX1" fmla="*/ 0 w 1126368"/>
                <a:gd name="connsiteY1" fmla="*/ 1322385 h 1370518"/>
                <a:gd name="connsiteX2" fmla="*/ 4122 w 1126368"/>
                <a:gd name="connsiteY2" fmla="*/ 1294346 h 1370518"/>
                <a:gd name="connsiteX3" fmla="*/ 537207 w 1126368"/>
                <a:gd name="connsiteY3" fmla="*/ 1333644 h 1370518"/>
                <a:gd name="connsiteX4" fmla="*/ 747297 w 1126368"/>
                <a:gd name="connsiteY4" fmla="*/ 1000531 h 1370518"/>
                <a:gd name="connsiteX5" fmla="*/ 969425 w 1126368"/>
                <a:gd name="connsiteY5" fmla="*/ 478830 h 1370518"/>
                <a:gd name="connsiteX6" fmla="*/ 1090793 w 1126368"/>
                <a:gd name="connsiteY6" fmla="*/ 164878 h 1370518"/>
                <a:gd name="connsiteX7" fmla="*/ 793067 w 1126368"/>
                <a:gd name="connsiteY7" fmla="*/ 37349 h 1370518"/>
                <a:gd name="connsiteX8" fmla="*/ 416599 w 1126368"/>
                <a:gd name="connsiteY8" fmla="*/ 927889 h 1370518"/>
                <a:gd name="connsiteX9" fmla="*/ 229938 w 1126368"/>
                <a:gd name="connsiteY9" fmla="*/ 956361 h 1370518"/>
                <a:gd name="connsiteX10" fmla="*/ 45554 w 1126368"/>
                <a:gd name="connsiteY10" fmla="*/ 929946 h 1370518"/>
                <a:gd name="connsiteX11" fmla="*/ 50651 w 1126368"/>
                <a:gd name="connsiteY11" fmla="*/ 902123 h 1370518"/>
                <a:gd name="connsiteX12" fmla="*/ 232974 w 1126368"/>
                <a:gd name="connsiteY12" fmla="*/ 928214 h 1370518"/>
                <a:gd name="connsiteX13" fmla="*/ 234601 w 1126368"/>
                <a:gd name="connsiteY13" fmla="*/ 928214 h 1370518"/>
                <a:gd name="connsiteX14" fmla="*/ 394907 w 1126368"/>
                <a:gd name="connsiteY14" fmla="*/ 910026 h 1370518"/>
                <a:gd name="connsiteX15" fmla="*/ 772677 w 1126368"/>
                <a:gd name="connsiteY15" fmla="*/ 13208 h 1370518"/>
                <a:gd name="connsiteX16" fmla="*/ 777991 w 1126368"/>
                <a:gd name="connsiteY16" fmla="*/ 0 h 1370518"/>
                <a:gd name="connsiteX17" fmla="*/ 1126368 w 1126368"/>
                <a:gd name="connsiteY17" fmla="*/ 149181 h 1370518"/>
                <a:gd name="connsiteX18" fmla="*/ 1121705 w 1126368"/>
                <a:gd name="connsiteY18" fmla="*/ 161956 h 1370518"/>
                <a:gd name="connsiteX19" fmla="*/ 995131 w 1126368"/>
                <a:gd name="connsiteY19" fmla="*/ 490089 h 1370518"/>
                <a:gd name="connsiteX20" fmla="*/ 772785 w 1126368"/>
                <a:gd name="connsiteY20" fmla="*/ 1012548 h 1370518"/>
                <a:gd name="connsiteX21" fmla="*/ 545993 w 1126368"/>
                <a:gd name="connsiteY21" fmla="*/ 1360817 h 1370518"/>
                <a:gd name="connsiteX22" fmla="*/ 454777 w 1126368"/>
                <a:gd name="connsiteY22" fmla="*/ 1370236 h 137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126368" h="1370518">
                  <a:moveTo>
                    <a:pt x="454669" y="1369911"/>
                  </a:moveTo>
                  <a:cubicBezTo>
                    <a:pt x="360416" y="1369911"/>
                    <a:pt x="208245" y="1353997"/>
                    <a:pt x="0" y="1322385"/>
                  </a:cubicBezTo>
                  <a:lnTo>
                    <a:pt x="4122" y="1294346"/>
                  </a:lnTo>
                  <a:cubicBezTo>
                    <a:pt x="372889" y="1350424"/>
                    <a:pt x="497727" y="1346635"/>
                    <a:pt x="537207" y="1333644"/>
                  </a:cubicBezTo>
                  <a:cubicBezTo>
                    <a:pt x="560852" y="1325741"/>
                    <a:pt x="619638" y="1272045"/>
                    <a:pt x="747297" y="1000531"/>
                  </a:cubicBezTo>
                  <a:lnTo>
                    <a:pt x="969425" y="478830"/>
                  </a:lnTo>
                  <a:cubicBezTo>
                    <a:pt x="1029946" y="327267"/>
                    <a:pt x="1076368" y="203202"/>
                    <a:pt x="1090793" y="164878"/>
                  </a:cubicBezTo>
                  <a:lnTo>
                    <a:pt x="793067" y="37349"/>
                  </a:lnTo>
                  <a:cubicBezTo>
                    <a:pt x="739813" y="170291"/>
                    <a:pt x="454452" y="879930"/>
                    <a:pt x="416599" y="927889"/>
                  </a:cubicBezTo>
                  <a:cubicBezTo>
                    <a:pt x="373974" y="982018"/>
                    <a:pt x="248050" y="959825"/>
                    <a:pt x="229938" y="956361"/>
                  </a:cubicBezTo>
                  <a:cubicBezTo>
                    <a:pt x="168049" y="950818"/>
                    <a:pt x="106509" y="942006"/>
                    <a:pt x="45554" y="929946"/>
                  </a:cubicBezTo>
                  <a:lnTo>
                    <a:pt x="50651" y="902123"/>
                  </a:lnTo>
                  <a:cubicBezTo>
                    <a:pt x="110912" y="914064"/>
                    <a:pt x="171781" y="922768"/>
                    <a:pt x="232974" y="928214"/>
                  </a:cubicBezTo>
                  <a:lnTo>
                    <a:pt x="234601" y="928214"/>
                  </a:lnTo>
                  <a:cubicBezTo>
                    <a:pt x="269743" y="935142"/>
                    <a:pt x="367141" y="945427"/>
                    <a:pt x="394907" y="910026"/>
                  </a:cubicBezTo>
                  <a:cubicBezTo>
                    <a:pt x="422673" y="874625"/>
                    <a:pt x="636124" y="354332"/>
                    <a:pt x="772677" y="13208"/>
                  </a:cubicBezTo>
                  <a:lnTo>
                    <a:pt x="777991" y="0"/>
                  </a:lnTo>
                  <a:lnTo>
                    <a:pt x="1126368" y="149181"/>
                  </a:lnTo>
                  <a:lnTo>
                    <a:pt x="1121705" y="161956"/>
                  </a:lnTo>
                  <a:cubicBezTo>
                    <a:pt x="1121162" y="163363"/>
                    <a:pt x="1068558" y="306157"/>
                    <a:pt x="995131" y="490089"/>
                  </a:cubicBezTo>
                  <a:lnTo>
                    <a:pt x="772785" y="1012548"/>
                  </a:lnTo>
                  <a:cubicBezTo>
                    <a:pt x="620940" y="1336026"/>
                    <a:pt x="564431" y="1354646"/>
                    <a:pt x="545993" y="1360817"/>
                  </a:cubicBezTo>
                  <a:cubicBezTo>
                    <a:pt x="516210" y="1368363"/>
                    <a:pt x="485483" y="1371535"/>
                    <a:pt x="454777" y="1370236"/>
                  </a:cubicBezTo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0" name="Freeform 119">
              <a:extLst>
                <a:ext uri="{FF2B5EF4-FFF2-40B4-BE49-F238E27FC236}">
                  <a16:creationId xmlns:a16="http://schemas.microsoft.com/office/drawing/2014/main" id="{B550BBA5-1031-B64E-ACDC-ECE6E49FFFF5}"/>
                </a:ext>
              </a:extLst>
            </p:cNvPr>
            <p:cNvSpPr/>
            <p:nvPr/>
          </p:nvSpPr>
          <p:spPr>
            <a:xfrm>
              <a:off x="10071181" y="3852055"/>
              <a:ext cx="200604" cy="406811"/>
            </a:xfrm>
            <a:custGeom>
              <a:avLst/>
              <a:gdLst>
                <a:gd name="connsiteX0" fmla="*/ 13716 w 200604"/>
                <a:gd name="connsiteY0" fmla="*/ 406594 h 406811"/>
                <a:gd name="connsiteX1" fmla="*/ 11112 w 200604"/>
                <a:gd name="connsiteY1" fmla="*/ 406594 h 406811"/>
                <a:gd name="connsiteX2" fmla="*/ 266 w 200604"/>
                <a:gd name="connsiteY2" fmla="*/ 390031 h 406811"/>
                <a:gd name="connsiteX3" fmla="*/ 131070 w 200604"/>
                <a:gd name="connsiteY3" fmla="*/ 3113 h 406811"/>
                <a:gd name="connsiteX4" fmla="*/ 158077 w 200604"/>
                <a:gd name="connsiteY4" fmla="*/ 3654 h 406811"/>
                <a:gd name="connsiteX5" fmla="*/ 171092 w 200604"/>
                <a:gd name="connsiteY5" fmla="*/ 230998 h 406811"/>
                <a:gd name="connsiteX6" fmla="*/ 153012 w 200604"/>
                <a:gd name="connsiteY6" fmla="*/ 238631 h 406811"/>
                <a:gd name="connsiteX7" fmla="*/ 152871 w 200604"/>
                <a:gd name="connsiteY7" fmla="*/ 238576 h 406811"/>
                <a:gd name="connsiteX8" fmla="*/ 145387 w 200604"/>
                <a:gd name="connsiteY8" fmla="*/ 220064 h 406811"/>
                <a:gd name="connsiteX9" fmla="*/ 144736 w 200604"/>
                <a:gd name="connsiteY9" fmla="*/ 28662 h 406811"/>
                <a:gd name="connsiteX10" fmla="*/ 143001 w 200604"/>
                <a:gd name="connsiteY10" fmla="*/ 28662 h 406811"/>
                <a:gd name="connsiteX11" fmla="*/ 27707 w 200604"/>
                <a:gd name="connsiteY11" fmla="*/ 395335 h 406811"/>
                <a:gd name="connsiteX12" fmla="*/ 14041 w 200604"/>
                <a:gd name="connsiteY12" fmla="*/ 406811 h 406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0604" h="406811">
                  <a:moveTo>
                    <a:pt x="13716" y="406594"/>
                  </a:moveTo>
                  <a:cubicBezTo>
                    <a:pt x="12848" y="406703"/>
                    <a:pt x="11980" y="406703"/>
                    <a:pt x="11112" y="406594"/>
                  </a:cubicBezTo>
                  <a:cubicBezTo>
                    <a:pt x="3596" y="404916"/>
                    <a:pt x="-1209" y="397576"/>
                    <a:pt x="266" y="390031"/>
                  </a:cubicBezTo>
                  <a:cubicBezTo>
                    <a:pt x="11112" y="330597"/>
                    <a:pt x="70006" y="32776"/>
                    <a:pt x="131070" y="3113"/>
                  </a:cubicBezTo>
                  <a:cubicBezTo>
                    <a:pt x="139595" y="-1218"/>
                    <a:pt x="149726" y="-1023"/>
                    <a:pt x="158077" y="3654"/>
                  </a:cubicBezTo>
                  <a:cubicBezTo>
                    <a:pt x="243653" y="51071"/>
                    <a:pt x="174129" y="223420"/>
                    <a:pt x="171092" y="230998"/>
                  </a:cubicBezTo>
                  <a:cubicBezTo>
                    <a:pt x="168207" y="238089"/>
                    <a:pt x="160116" y="241510"/>
                    <a:pt x="153012" y="238631"/>
                  </a:cubicBezTo>
                  <a:cubicBezTo>
                    <a:pt x="152969" y="238620"/>
                    <a:pt x="152914" y="238598"/>
                    <a:pt x="152871" y="238576"/>
                  </a:cubicBezTo>
                  <a:cubicBezTo>
                    <a:pt x="145756" y="235459"/>
                    <a:pt x="142437" y="227242"/>
                    <a:pt x="145387" y="220064"/>
                  </a:cubicBezTo>
                  <a:cubicBezTo>
                    <a:pt x="163066" y="176760"/>
                    <a:pt x="197557" y="57675"/>
                    <a:pt x="144736" y="28662"/>
                  </a:cubicBezTo>
                  <a:cubicBezTo>
                    <a:pt x="144194" y="28662"/>
                    <a:pt x="144085" y="28662"/>
                    <a:pt x="143001" y="28662"/>
                  </a:cubicBezTo>
                  <a:cubicBezTo>
                    <a:pt x="107643" y="45658"/>
                    <a:pt x="54280" y="253299"/>
                    <a:pt x="27707" y="395335"/>
                  </a:cubicBezTo>
                  <a:cubicBezTo>
                    <a:pt x="26503" y="401939"/>
                    <a:pt x="20765" y="406757"/>
                    <a:pt x="14041" y="406811"/>
                  </a:cubicBezTo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1" name="Freeform 120">
              <a:extLst>
                <a:ext uri="{FF2B5EF4-FFF2-40B4-BE49-F238E27FC236}">
                  <a16:creationId xmlns:a16="http://schemas.microsoft.com/office/drawing/2014/main" id="{0003FBF1-2744-E342-B702-FEC0A55F27D7}"/>
                </a:ext>
              </a:extLst>
            </p:cNvPr>
            <p:cNvSpPr/>
            <p:nvPr/>
          </p:nvSpPr>
          <p:spPr>
            <a:xfrm>
              <a:off x="10067332" y="4326095"/>
              <a:ext cx="58130" cy="58031"/>
            </a:xfrm>
            <a:custGeom>
              <a:avLst/>
              <a:gdLst>
                <a:gd name="connsiteX0" fmla="*/ 58130 w 58130"/>
                <a:gd name="connsiteY0" fmla="*/ 29555 h 58031"/>
                <a:gd name="connsiteX1" fmla="*/ 28519 w 58130"/>
                <a:gd name="connsiteY1" fmla="*/ 58027 h 58031"/>
                <a:gd name="connsiteX2" fmla="*/ 5 w 58130"/>
                <a:gd name="connsiteY2" fmla="*/ 28472 h 58031"/>
                <a:gd name="connsiteX3" fmla="*/ 29062 w 58130"/>
                <a:gd name="connsiteY3" fmla="*/ 0 h 58031"/>
                <a:gd name="connsiteX4" fmla="*/ 58130 w 58130"/>
                <a:gd name="connsiteY4" fmla="*/ 29446 h 58031"/>
                <a:gd name="connsiteX5" fmla="*/ 58130 w 58130"/>
                <a:gd name="connsiteY5" fmla="*/ 29555 h 58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130" h="58031">
                  <a:moveTo>
                    <a:pt x="58130" y="29555"/>
                  </a:moveTo>
                  <a:cubicBezTo>
                    <a:pt x="57826" y="45577"/>
                    <a:pt x="44572" y="58319"/>
                    <a:pt x="28519" y="58027"/>
                  </a:cubicBezTo>
                  <a:cubicBezTo>
                    <a:pt x="12478" y="57724"/>
                    <a:pt x="-299" y="44494"/>
                    <a:pt x="5" y="28472"/>
                  </a:cubicBezTo>
                  <a:cubicBezTo>
                    <a:pt x="298" y="12666"/>
                    <a:pt x="13227" y="0"/>
                    <a:pt x="29062" y="0"/>
                  </a:cubicBezTo>
                  <a:cubicBezTo>
                    <a:pt x="45233" y="119"/>
                    <a:pt x="58249" y="13305"/>
                    <a:pt x="58130" y="29446"/>
                  </a:cubicBezTo>
                  <a:cubicBezTo>
                    <a:pt x="58130" y="29479"/>
                    <a:pt x="58130" y="29522"/>
                    <a:pt x="58130" y="29555"/>
                  </a:cubicBezTo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2" name="Freeform 121">
              <a:extLst>
                <a:ext uri="{FF2B5EF4-FFF2-40B4-BE49-F238E27FC236}">
                  <a16:creationId xmlns:a16="http://schemas.microsoft.com/office/drawing/2014/main" id="{67585774-92B8-3D43-B224-12C42206A6E1}"/>
                </a:ext>
              </a:extLst>
            </p:cNvPr>
            <p:cNvSpPr/>
            <p:nvPr/>
          </p:nvSpPr>
          <p:spPr>
            <a:xfrm>
              <a:off x="5320989" y="5670525"/>
              <a:ext cx="681677" cy="321461"/>
            </a:xfrm>
            <a:custGeom>
              <a:avLst/>
              <a:gdLst>
                <a:gd name="connsiteX0" fmla="*/ 668092 w 681677"/>
                <a:gd name="connsiteY0" fmla="*/ 321462 h 321461"/>
                <a:gd name="connsiteX1" fmla="*/ 666790 w 681677"/>
                <a:gd name="connsiteY1" fmla="*/ 321462 h 321461"/>
                <a:gd name="connsiteX2" fmla="*/ 387720 w 681677"/>
                <a:gd name="connsiteY2" fmla="*/ 294613 h 321461"/>
                <a:gd name="connsiteX3" fmla="*/ 382839 w 681677"/>
                <a:gd name="connsiteY3" fmla="*/ 293097 h 321461"/>
                <a:gd name="connsiteX4" fmla="*/ 9299 w 681677"/>
                <a:gd name="connsiteY4" fmla="*/ 102237 h 321461"/>
                <a:gd name="connsiteX5" fmla="*/ 1815 w 681677"/>
                <a:gd name="connsiteY5" fmla="*/ 92061 h 321461"/>
                <a:gd name="connsiteX6" fmla="*/ 21663 w 681677"/>
                <a:gd name="connsiteY6" fmla="*/ 8701 h 321461"/>
                <a:gd name="connsiteX7" fmla="*/ 88042 w 681677"/>
                <a:gd name="connsiteY7" fmla="*/ 10758 h 321461"/>
                <a:gd name="connsiteX8" fmla="*/ 386527 w 681677"/>
                <a:gd name="connsiteY8" fmla="*/ 151495 h 321461"/>
                <a:gd name="connsiteX9" fmla="*/ 393360 w 681677"/>
                <a:gd name="connsiteY9" fmla="*/ 170224 h 321461"/>
                <a:gd name="connsiteX10" fmla="*/ 374889 w 681677"/>
                <a:gd name="connsiteY10" fmla="*/ 177293 h 321461"/>
                <a:gd name="connsiteX11" fmla="*/ 374813 w 681677"/>
                <a:gd name="connsiteY11" fmla="*/ 177260 h 321461"/>
                <a:gd name="connsiteX12" fmla="*/ 76002 w 681677"/>
                <a:gd name="connsiteY12" fmla="*/ 36524 h 321461"/>
                <a:gd name="connsiteX13" fmla="*/ 38366 w 681677"/>
                <a:gd name="connsiteY13" fmla="*/ 31544 h 321461"/>
                <a:gd name="connsiteX14" fmla="*/ 28496 w 681677"/>
                <a:gd name="connsiteY14" fmla="*/ 80585 h 321461"/>
                <a:gd name="connsiteX15" fmla="*/ 392926 w 681677"/>
                <a:gd name="connsiteY15" fmla="*/ 266899 h 321461"/>
                <a:gd name="connsiteX16" fmla="*/ 669176 w 681677"/>
                <a:gd name="connsiteY16" fmla="*/ 293206 h 321461"/>
                <a:gd name="connsiteX17" fmla="*/ 681573 w 681677"/>
                <a:gd name="connsiteY17" fmla="*/ 308990 h 321461"/>
                <a:gd name="connsiteX18" fmla="*/ 667875 w 681677"/>
                <a:gd name="connsiteY18" fmla="*/ 321462 h 321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81677" h="321461">
                  <a:moveTo>
                    <a:pt x="668092" y="321462"/>
                  </a:moveTo>
                  <a:lnTo>
                    <a:pt x="666790" y="321462"/>
                  </a:lnTo>
                  <a:lnTo>
                    <a:pt x="387720" y="294613"/>
                  </a:lnTo>
                  <a:cubicBezTo>
                    <a:pt x="386006" y="294440"/>
                    <a:pt x="384346" y="293920"/>
                    <a:pt x="382839" y="293097"/>
                  </a:cubicBezTo>
                  <a:lnTo>
                    <a:pt x="9299" y="102237"/>
                  </a:lnTo>
                  <a:cubicBezTo>
                    <a:pt x="5351" y="100201"/>
                    <a:pt x="2574" y="96434"/>
                    <a:pt x="1815" y="92061"/>
                  </a:cubicBezTo>
                  <a:cubicBezTo>
                    <a:pt x="839" y="85890"/>
                    <a:pt x="-7404" y="31002"/>
                    <a:pt x="21663" y="8701"/>
                  </a:cubicBezTo>
                  <a:cubicBezTo>
                    <a:pt x="37607" y="-3532"/>
                    <a:pt x="59950" y="-2883"/>
                    <a:pt x="88042" y="10758"/>
                  </a:cubicBezTo>
                  <a:cubicBezTo>
                    <a:pt x="171340" y="51247"/>
                    <a:pt x="384357" y="150629"/>
                    <a:pt x="386527" y="151495"/>
                  </a:cubicBezTo>
                  <a:cubicBezTo>
                    <a:pt x="393511" y="154862"/>
                    <a:pt x="396538" y="163165"/>
                    <a:pt x="393360" y="170224"/>
                  </a:cubicBezTo>
                  <a:cubicBezTo>
                    <a:pt x="390214" y="177271"/>
                    <a:pt x="381939" y="180432"/>
                    <a:pt x="374889" y="177293"/>
                  </a:cubicBezTo>
                  <a:cubicBezTo>
                    <a:pt x="374856" y="177282"/>
                    <a:pt x="374834" y="177271"/>
                    <a:pt x="374813" y="177260"/>
                  </a:cubicBezTo>
                  <a:cubicBezTo>
                    <a:pt x="372752" y="176178"/>
                    <a:pt x="159517" y="76796"/>
                    <a:pt x="76002" y="36524"/>
                  </a:cubicBezTo>
                  <a:cubicBezTo>
                    <a:pt x="65916" y="31652"/>
                    <a:pt x="47694" y="24399"/>
                    <a:pt x="38366" y="31544"/>
                  </a:cubicBezTo>
                  <a:cubicBezTo>
                    <a:pt x="29039" y="38689"/>
                    <a:pt x="26978" y="64671"/>
                    <a:pt x="28496" y="80585"/>
                  </a:cubicBezTo>
                  <a:lnTo>
                    <a:pt x="392926" y="266899"/>
                  </a:lnTo>
                  <a:lnTo>
                    <a:pt x="669176" y="293206"/>
                  </a:lnTo>
                  <a:cubicBezTo>
                    <a:pt x="676964" y="294148"/>
                    <a:pt x="682517" y="301206"/>
                    <a:pt x="681573" y="308990"/>
                  </a:cubicBezTo>
                  <a:cubicBezTo>
                    <a:pt x="680727" y="315962"/>
                    <a:pt x="674903" y="321267"/>
                    <a:pt x="667875" y="321462"/>
                  </a:cubicBezTo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3" name="Freeform 122">
              <a:extLst>
                <a:ext uri="{FF2B5EF4-FFF2-40B4-BE49-F238E27FC236}">
                  <a16:creationId xmlns:a16="http://schemas.microsoft.com/office/drawing/2014/main" id="{72AEA85C-85BA-CD43-85FF-B6EBC1A69DD3}"/>
                </a:ext>
              </a:extLst>
            </p:cNvPr>
            <p:cNvSpPr/>
            <p:nvPr/>
          </p:nvSpPr>
          <p:spPr>
            <a:xfrm>
              <a:off x="5983115" y="5537623"/>
              <a:ext cx="1488519" cy="840090"/>
            </a:xfrm>
            <a:custGeom>
              <a:avLst/>
              <a:gdLst>
                <a:gd name="connsiteX0" fmla="*/ 1176803 w 1488519"/>
                <a:gd name="connsiteY0" fmla="*/ 839766 h 840090"/>
                <a:gd name="connsiteX1" fmla="*/ 11931 w 1488519"/>
                <a:gd name="connsiteY1" fmla="*/ 473417 h 840090"/>
                <a:gd name="connsiteX2" fmla="*/ 0 w 1488519"/>
                <a:gd name="connsiteY2" fmla="*/ 468654 h 840090"/>
                <a:gd name="connsiteX3" fmla="*/ 110413 w 1488519"/>
                <a:gd name="connsiteY3" fmla="*/ 101222 h 840090"/>
                <a:gd name="connsiteX4" fmla="*/ 124296 w 1488519"/>
                <a:gd name="connsiteY4" fmla="*/ 106527 h 840090"/>
                <a:gd name="connsiteX5" fmla="*/ 1048385 w 1488519"/>
                <a:gd name="connsiteY5" fmla="*/ 379989 h 840090"/>
                <a:gd name="connsiteX6" fmla="*/ 1317585 w 1488519"/>
                <a:gd name="connsiteY6" fmla="*/ 0 h 840090"/>
                <a:gd name="connsiteX7" fmla="*/ 1342314 w 1488519"/>
                <a:gd name="connsiteY7" fmla="*/ 12991 h 840090"/>
                <a:gd name="connsiteX8" fmla="*/ 1052832 w 1488519"/>
                <a:gd name="connsiteY8" fmla="*/ 407812 h 840090"/>
                <a:gd name="connsiteX9" fmla="*/ 128418 w 1488519"/>
                <a:gd name="connsiteY9" fmla="*/ 138355 h 840090"/>
                <a:gd name="connsiteX10" fmla="*/ 34165 w 1488519"/>
                <a:gd name="connsiteY10" fmla="*/ 452307 h 840090"/>
                <a:gd name="connsiteX11" fmla="*/ 579074 w 1488519"/>
                <a:gd name="connsiteY11" fmla="*/ 656267 h 840090"/>
                <a:gd name="connsiteX12" fmla="*/ 1222356 w 1488519"/>
                <a:gd name="connsiteY12" fmla="*/ 804257 h 840090"/>
                <a:gd name="connsiteX13" fmla="*/ 1464984 w 1488519"/>
                <a:gd name="connsiteY13" fmla="*/ 476773 h 840090"/>
                <a:gd name="connsiteX14" fmla="*/ 1488520 w 1488519"/>
                <a:gd name="connsiteY14" fmla="*/ 491930 h 840090"/>
                <a:gd name="connsiteX15" fmla="*/ 1237107 w 1488519"/>
                <a:gd name="connsiteY15" fmla="*/ 828182 h 840090"/>
                <a:gd name="connsiteX16" fmla="*/ 1176803 w 1488519"/>
                <a:gd name="connsiteY16" fmla="*/ 840091 h 840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88519" h="840090">
                  <a:moveTo>
                    <a:pt x="1176803" y="839766"/>
                  </a:moveTo>
                  <a:cubicBezTo>
                    <a:pt x="923655" y="839766"/>
                    <a:pt x="112691" y="514231"/>
                    <a:pt x="11931" y="473417"/>
                  </a:cubicBezTo>
                  <a:lnTo>
                    <a:pt x="0" y="468654"/>
                  </a:lnTo>
                  <a:lnTo>
                    <a:pt x="110413" y="101222"/>
                  </a:lnTo>
                  <a:lnTo>
                    <a:pt x="124296" y="106527"/>
                  </a:lnTo>
                  <a:cubicBezTo>
                    <a:pt x="132106" y="109558"/>
                    <a:pt x="901529" y="404673"/>
                    <a:pt x="1048385" y="379989"/>
                  </a:cubicBezTo>
                  <a:cubicBezTo>
                    <a:pt x="1079622" y="374685"/>
                    <a:pt x="1156304" y="318390"/>
                    <a:pt x="1317585" y="0"/>
                  </a:cubicBezTo>
                  <a:lnTo>
                    <a:pt x="1342314" y="12991"/>
                  </a:lnTo>
                  <a:cubicBezTo>
                    <a:pt x="1213354" y="267725"/>
                    <a:pt x="1118668" y="396878"/>
                    <a:pt x="1052832" y="407812"/>
                  </a:cubicBezTo>
                  <a:cubicBezTo>
                    <a:pt x="908145" y="432062"/>
                    <a:pt x="237313" y="179818"/>
                    <a:pt x="128418" y="138355"/>
                  </a:cubicBezTo>
                  <a:lnTo>
                    <a:pt x="34165" y="452307"/>
                  </a:lnTo>
                  <a:cubicBezTo>
                    <a:pt x="89589" y="474500"/>
                    <a:pt x="329505" y="569876"/>
                    <a:pt x="579074" y="656267"/>
                  </a:cubicBezTo>
                  <a:cubicBezTo>
                    <a:pt x="1072789" y="827099"/>
                    <a:pt x="1193940" y="822336"/>
                    <a:pt x="1222356" y="804257"/>
                  </a:cubicBezTo>
                  <a:cubicBezTo>
                    <a:pt x="1250773" y="786178"/>
                    <a:pt x="1317585" y="713644"/>
                    <a:pt x="1464984" y="476773"/>
                  </a:cubicBezTo>
                  <a:lnTo>
                    <a:pt x="1488520" y="491930"/>
                  </a:lnTo>
                  <a:cubicBezTo>
                    <a:pt x="1366284" y="688420"/>
                    <a:pt x="1284071" y="798411"/>
                    <a:pt x="1237107" y="828182"/>
                  </a:cubicBezTo>
                  <a:cubicBezTo>
                    <a:pt x="1224417" y="836410"/>
                    <a:pt x="1203701" y="840091"/>
                    <a:pt x="1176803" y="840091"/>
                  </a:cubicBezTo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4" name="Freeform 123">
              <a:extLst>
                <a:ext uri="{FF2B5EF4-FFF2-40B4-BE49-F238E27FC236}">
                  <a16:creationId xmlns:a16="http://schemas.microsoft.com/office/drawing/2014/main" id="{F4A4191A-6354-074B-8AA0-806ACC46EDE0}"/>
                </a:ext>
              </a:extLst>
            </p:cNvPr>
            <p:cNvSpPr/>
            <p:nvPr/>
          </p:nvSpPr>
          <p:spPr>
            <a:xfrm>
              <a:off x="5683071" y="5574995"/>
              <a:ext cx="396249" cy="179038"/>
            </a:xfrm>
            <a:custGeom>
              <a:avLst/>
              <a:gdLst>
                <a:gd name="connsiteX0" fmla="*/ 166854 w 396249"/>
                <a:gd name="connsiteY0" fmla="*/ 179038 h 179038"/>
                <a:gd name="connsiteX1" fmla="*/ 1234 w 396249"/>
                <a:gd name="connsiteY1" fmla="*/ 25743 h 179038"/>
                <a:gd name="connsiteX2" fmla="*/ 17720 w 396249"/>
                <a:gd name="connsiteY2" fmla="*/ 4091 h 179038"/>
                <a:gd name="connsiteX3" fmla="*/ 396250 w 396249"/>
                <a:gd name="connsiteY3" fmla="*/ 144828 h 179038"/>
                <a:gd name="connsiteX4" fmla="*/ 383017 w 396249"/>
                <a:gd name="connsiteY4" fmla="*/ 169728 h 179038"/>
                <a:gd name="connsiteX5" fmla="*/ 29868 w 396249"/>
                <a:gd name="connsiteY5" fmla="*/ 29965 h 179038"/>
                <a:gd name="connsiteX6" fmla="*/ 28675 w 396249"/>
                <a:gd name="connsiteY6" fmla="*/ 31156 h 179038"/>
                <a:gd name="connsiteX7" fmla="*/ 174664 w 396249"/>
                <a:gd name="connsiteY7" fmla="*/ 152190 h 179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6249" h="179038">
                  <a:moveTo>
                    <a:pt x="166854" y="179038"/>
                  </a:moveTo>
                  <a:cubicBezTo>
                    <a:pt x="159371" y="176765"/>
                    <a:pt x="-16336" y="123176"/>
                    <a:pt x="1234" y="25743"/>
                  </a:cubicBezTo>
                  <a:cubicBezTo>
                    <a:pt x="2883" y="16281"/>
                    <a:pt x="9022" y="8205"/>
                    <a:pt x="17720" y="4091"/>
                  </a:cubicBezTo>
                  <a:cubicBezTo>
                    <a:pt x="78567" y="-25680"/>
                    <a:pt x="343755" y="115815"/>
                    <a:pt x="396250" y="144828"/>
                  </a:cubicBezTo>
                  <a:lnTo>
                    <a:pt x="383017" y="169728"/>
                  </a:lnTo>
                  <a:cubicBezTo>
                    <a:pt x="257636" y="101308"/>
                    <a:pt x="65118" y="12752"/>
                    <a:pt x="29868" y="29965"/>
                  </a:cubicBezTo>
                  <a:cubicBezTo>
                    <a:pt x="28783" y="30507"/>
                    <a:pt x="28783" y="30615"/>
                    <a:pt x="28675" y="31156"/>
                  </a:cubicBezTo>
                  <a:cubicBezTo>
                    <a:pt x="17829" y="91456"/>
                    <a:pt x="130412" y="139415"/>
                    <a:pt x="174664" y="152190"/>
                  </a:cubicBezTo>
                  <a:close/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5" name="Freeform 124">
              <a:extLst>
                <a:ext uri="{FF2B5EF4-FFF2-40B4-BE49-F238E27FC236}">
                  <a16:creationId xmlns:a16="http://schemas.microsoft.com/office/drawing/2014/main" id="{1BE17608-551E-834E-B517-DBD8234AE5D4}"/>
                </a:ext>
              </a:extLst>
            </p:cNvPr>
            <p:cNvSpPr/>
            <p:nvPr/>
          </p:nvSpPr>
          <p:spPr>
            <a:xfrm>
              <a:off x="6132184" y="5730829"/>
              <a:ext cx="58125" cy="58030"/>
            </a:xfrm>
            <a:custGeom>
              <a:avLst/>
              <a:gdLst>
                <a:gd name="connsiteX0" fmla="*/ 65 w 58125"/>
                <a:gd name="connsiteY0" fmla="*/ 31107 h 58030"/>
                <a:gd name="connsiteX1" fmla="*/ 31150 w 58125"/>
                <a:gd name="connsiteY1" fmla="*/ 57955 h 58030"/>
                <a:gd name="connsiteX2" fmla="*/ 58048 w 58125"/>
                <a:gd name="connsiteY2" fmla="*/ 26917 h 58030"/>
                <a:gd name="connsiteX3" fmla="*/ 27614 w 58125"/>
                <a:gd name="connsiteY3" fmla="*/ 36 h 58030"/>
                <a:gd name="connsiteX4" fmla="*/ 43 w 58125"/>
                <a:gd name="connsiteY4" fmla="*/ 30674 h 58030"/>
                <a:gd name="connsiteX5" fmla="*/ 65 w 58125"/>
                <a:gd name="connsiteY5" fmla="*/ 31107 h 58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125" h="58030">
                  <a:moveTo>
                    <a:pt x="65" y="31107"/>
                  </a:moveTo>
                  <a:cubicBezTo>
                    <a:pt x="1225" y="47086"/>
                    <a:pt x="15141" y="59103"/>
                    <a:pt x="31150" y="57955"/>
                  </a:cubicBezTo>
                  <a:cubicBezTo>
                    <a:pt x="47169" y="56796"/>
                    <a:pt x="59209" y="42907"/>
                    <a:pt x="58048" y="26917"/>
                  </a:cubicBezTo>
                  <a:cubicBezTo>
                    <a:pt x="56909" y="11198"/>
                    <a:pt x="43395" y="-743"/>
                    <a:pt x="27614" y="36"/>
                  </a:cubicBezTo>
                  <a:cubicBezTo>
                    <a:pt x="11518" y="891"/>
                    <a:pt x="-824" y="14608"/>
                    <a:pt x="43" y="30674"/>
                  </a:cubicBezTo>
                  <a:cubicBezTo>
                    <a:pt x="43" y="30814"/>
                    <a:pt x="54" y="30966"/>
                    <a:pt x="65" y="31107"/>
                  </a:cubicBezTo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6" name="Freeform 125">
              <a:extLst>
                <a:ext uri="{FF2B5EF4-FFF2-40B4-BE49-F238E27FC236}">
                  <a16:creationId xmlns:a16="http://schemas.microsoft.com/office/drawing/2014/main" id="{C61BBB6A-DABD-EE46-9CD6-6A88B1786810}"/>
                </a:ext>
              </a:extLst>
            </p:cNvPr>
            <p:cNvSpPr/>
            <p:nvPr/>
          </p:nvSpPr>
          <p:spPr>
            <a:xfrm>
              <a:off x="5764355" y="3806111"/>
              <a:ext cx="440615" cy="633981"/>
            </a:xfrm>
            <a:custGeom>
              <a:avLst/>
              <a:gdLst>
                <a:gd name="connsiteX0" fmla="*/ 426680 w 440615"/>
                <a:gd name="connsiteY0" fmla="*/ 633981 h 633981"/>
                <a:gd name="connsiteX1" fmla="*/ 417678 w 440615"/>
                <a:gd name="connsiteY1" fmla="*/ 630625 h 633981"/>
                <a:gd name="connsiteX2" fmla="*/ 203685 w 440615"/>
                <a:gd name="connsiteY2" fmla="*/ 446585 h 633981"/>
                <a:gd name="connsiteX3" fmla="*/ 200431 w 440615"/>
                <a:gd name="connsiteY3" fmla="*/ 442471 h 633981"/>
                <a:gd name="connsiteX4" fmla="*/ 1513 w 440615"/>
                <a:gd name="connsiteY4" fmla="*/ 69626 h 633981"/>
                <a:gd name="connsiteX5" fmla="*/ 1513 w 440615"/>
                <a:gd name="connsiteY5" fmla="*/ 56852 h 633981"/>
                <a:gd name="connsiteX6" fmla="*/ 64637 w 440615"/>
                <a:gd name="connsiteY6" fmla="*/ 16 h 633981"/>
                <a:gd name="connsiteX7" fmla="*/ 118000 w 440615"/>
                <a:gd name="connsiteY7" fmla="*/ 40180 h 633981"/>
                <a:gd name="connsiteX8" fmla="*/ 283620 w 440615"/>
                <a:gd name="connsiteY8" fmla="*/ 329124 h 633981"/>
                <a:gd name="connsiteX9" fmla="*/ 278631 w 440615"/>
                <a:gd name="connsiteY9" fmla="*/ 348394 h 633981"/>
                <a:gd name="connsiteX10" fmla="*/ 259726 w 440615"/>
                <a:gd name="connsiteY10" fmla="*/ 343717 h 633981"/>
                <a:gd name="connsiteX11" fmla="*/ 259542 w 440615"/>
                <a:gd name="connsiteY11" fmla="*/ 343414 h 633981"/>
                <a:gd name="connsiteX12" fmla="*/ 93813 w 440615"/>
                <a:gd name="connsiteY12" fmla="*/ 54145 h 633981"/>
                <a:gd name="connsiteX13" fmla="*/ 65722 w 440615"/>
                <a:gd name="connsiteY13" fmla="*/ 28271 h 633981"/>
                <a:gd name="connsiteX14" fmla="*/ 29930 w 440615"/>
                <a:gd name="connsiteY14" fmla="*/ 62806 h 633981"/>
                <a:gd name="connsiteX15" fmla="*/ 223641 w 440615"/>
                <a:gd name="connsiteY15" fmla="*/ 426882 h 633981"/>
                <a:gd name="connsiteX16" fmla="*/ 435683 w 440615"/>
                <a:gd name="connsiteY16" fmla="*/ 608973 h 633981"/>
                <a:gd name="connsiteX17" fmla="*/ 437310 w 440615"/>
                <a:gd name="connsiteY17" fmla="*/ 628893 h 633981"/>
                <a:gd name="connsiteX18" fmla="*/ 426464 w 440615"/>
                <a:gd name="connsiteY18" fmla="*/ 633981 h 633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40615" h="633981">
                  <a:moveTo>
                    <a:pt x="426680" y="633981"/>
                  </a:moveTo>
                  <a:cubicBezTo>
                    <a:pt x="423383" y="633927"/>
                    <a:pt x="420205" y="632747"/>
                    <a:pt x="417678" y="630625"/>
                  </a:cubicBezTo>
                  <a:lnTo>
                    <a:pt x="203685" y="446585"/>
                  </a:lnTo>
                  <a:cubicBezTo>
                    <a:pt x="202340" y="445437"/>
                    <a:pt x="201233" y="444041"/>
                    <a:pt x="200431" y="442471"/>
                  </a:cubicBezTo>
                  <a:lnTo>
                    <a:pt x="1513" y="69626"/>
                  </a:lnTo>
                  <a:cubicBezTo>
                    <a:pt x="-504" y="65610"/>
                    <a:pt x="-504" y="60868"/>
                    <a:pt x="1513" y="56852"/>
                  </a:cubicBezTo>
                  <a:cubicBezTo>
                    <a:pt x="4225" y="51222"/>
                    <a:pt x="28303" y="1423"/>
                    <a:pt x="64637" y="16"/>
                  </a:cubicBezTo>
                  <a:cubicBezTo>
                    <a:pt x="84811" y="-526"/>
                    <a:pt x="102707" y="12790"/>
                    <a:pt x="118000" y="40180"/>
                  </a:cubicBezTo>
                  <a:cubicBezTo>
                    <a:pt x="163554" y="121807"/>
                    <a:pt x="282427" y="327067"/>
                    <a:pt x="283620" y="329124"/>
                  </a:cubicBezTo>
                  <a:cubicBezTo>
                    <a:pt x="287514" y="335825"/>
                    <a:pt x="285291" y="344410"/>
                    <a:pt x="278631" y="348394"/>
                  </a:cubicBezTo>
                  <a:cubicBezTo>
                    <a:pt x="272113" y="352313"/>
                    <a:pt x="263653" y="350223"/>
                    <a:pt x="259726" y="343717"/>
                  </a:cubicBezTo>
                  <a:cubicBezTo>
                    <a:pt x="259661" y="343619"/>
                    <a:pt x="259596" y="343511"/>
                    <a:pt x="259542" y="343414"/>
                  </a:cubicBezTo>
                  <a:cubicBezTo>
                    <a:pt x="258349" y="341357"/>
                    <a:pt x="139475" y="135989"/>
                    <a:pt x="93813" y="54145"/>
                  </a:cubicBezTo>
                  <a:cubicBezTo>
                    <a:pt x="88282" y="44294"/>
                    <a:pt x="77436" y="27622"/>
                    <a:pt x="65722" y="28271"/>
                  </a:cubicBezTo>
                  <a:cubicBezTo>
                    <a:pt x="54008" y="28921"/>
                    <a:pt x="37739" y="48841"/>
                    <a:pt x="29930" y="62806"/>
                  </a:cubicBezTo>
                  <a:lnTo>
                    <a:pt x="223641" y="426882"/>
                  </a:lnTo>
                  <a:lnTo>
                    <a:pt x="435683" y="608973"/>
                  </a:lnTo>
                  <a:cubicBezTo>
                    <a:pt x="441561" y="614072"/>
                    <a:pt x="442288" y="622917"/>
                    <a:pt x="437310" y="628893"/>
                  </a:cubicBezTo>
                  <a:cubicBezTo>
                    <a:pt x="434652" y="632141"/>
                    <a:pt x="430661" y="634014"/>
                    <a:pt x="426464" y="633981"/>
                  </a:cubicBezTo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7" name="Freeform 126">
              <a:extLst>
                <a:ext uri="{FF2B5EF4-FFF2-40B4-BE49-F238E27FC236}">
                  <a16:creationId xmlns:a16="http://schemas.microsoft.com/office/drawing/2014/main" id="{677D7387-8FE4-0045-92D9-4B6A18350F0F}"/>
                </a:ext>
              </a:extLst>
            </p:cNvPr>
            <p:cNvSpPr/>
            <p:nvPr/>
          </p:nvSpPr>
          <p:spPr>
            <a:xfrm>
              <a:off x="6553078" y="5311686"/>
              <a:ext cx="770941" cy="327374"/>
            </a:xfrm>
            <a:custGeom>
              <a:avLst/>
              <a:gdLst>
                <a:gd name="connsiteX0" fmla="*/ 285036 w 770941"/>
                <a:gd name="connsiteY0" fmla="*/ 327267 h 327374"/>
                <a:gd name="connsiteX1" fmla="*/ 227768 w 770941"/>
                <a:gd name="connsiteY1" fmla="*/ 321638 h 327374"/>
                <a:gd name="connsiteX2" fmla="*/ 0 w 770941"/>
                <a:gd name="connsiteY2" fmla="*/ 13749 h 327374"/>
                <a:gd name="connsiteX3" fmla="*/ 24296 w 770941"/>
                <a:gd name="connsiteY3" fmla="*/ 0 h 327374"/>
                <a:gd name="connsiteX4" fmla="*/ 235035 w 770941"/>
                <a:gd name="connsiteY4" fmla="*/ 294356 h 327374"/>
                <a:gd name="connsiteX5" fmla="*/ 765410 w 770941"/>
                <a:gd name="connsiteY5" fmla="*/ 227019 h 327374"/>
                <a:gd name="connsiteX6" fmla="*/ 770942 w 770941"/>
                <a:gd name="connsiteY6" fmla="*/ 254734 h 327374"/>
                <a:gd name="connsiteX7" fmla="*/ 285036 w 770941"/>
                <a:gd name="connsiteY7" fmla="*/ 327267 h 32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70941" h="327374">
                  <a:moveTo>
                    <a:pt x="285036" y="327267"/>
                  </a:moveTo>
                  <a:cubicBezTo>
                    <a:pt x="265784" y="327862"/>
                    <a:pt x="246532" y="325979"/>
                    <a:pt x="227768" y="321638"/>
                  </a:cubicBezTo>
                  <a:cubicBezTo>
                    <a:pt x="197833" y="313518"/>
                    <a:pt x="141650" y="272704"/>
                    <a:pt x="0" y="13749"/>
                  </a:cubicBezTo>
                  <a:lnTo>
                    <a:pt x="24296" y="0"/>
                  </a:lnTo>
                  <a:cubicBezTo>
                    <a:pt x="156835" y="242284"/>
                    <a:pt x="213235" y="288402"/>
                    <a:pt x="235035" y="294356"/>
                  </a:cubicBezTo>
                  <a:cubicBezTo>
                    <a:pt x="275058" y="305182"/>
                    <a:pt x="399571" y="302584"/>
                    <a:pt x="765410" y="227019"/>
                  </a:cubicBezTo>
                  <a:lnTo>
                    <a:pt x="770942" y="254734"/>
                  </a:lnTo>
                  <a:cubicBezTo>
                    <a:pt x="537425" y="302909"/>
                    <a:pt x="374625" y="327267"/>
                    <a:pt x="285036" y="327267"/>
                  </a:cubicBezTo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8" name="Freeform 127">
              <a:extLst>
                <a:ext uri="{FF2B5EF4-FFF2-40B4-BE49-F238E27FC236}">
                  <a16:creationId xmlns:a16="http://schemas.microsoft.com/office/drawing/2014/main" id="{77347372-5A12-6B48-93DA-F60D9006C46A}"/>
                </a:ext>
              </a:extLst>
            </p:cNvPr>
            <p:cNvSpPr/>
            <p:nvPr/>
          </p:nvSpPr>
          <p:spPr>
            <a:xfrm>
              <a:off x="6139082" y="4287122"/>
              <a:ext cx="413019" cy="406080"/>
            </a:xfrm>
            <a:custGeom>
              <a:avLst/>
              <a:gdLst>
                <a:gd name="connsiteX0" fmla="*/ 105532 w 413019"/>
                <a:gd name="connsiteY0" fmla="*/ 406080 h 406080"/>
                <a:gd name="connsiteX1" fmla="*/ 5314 w 413019"/>
                <a:gd name="connsiteY1" fmla="*/ 179385 h 406080"/>
                <a:gd name="connsiteX2" fmla="*/ 0 w 413019"/>
                <a:gd name="connsiteY2" fmla="*/ 166936 h 406080"/>
                <a:gd name="connsiteX3" fmla="*/ 340242 w 413019"/>
                <a:gd name="connsiteY3" fmla="*/ 0 h 406080"/>
                <a:gd name="connsiteX4" fmla="*/ 346208 w 413019"/>
                <a:gd name="connsiteY4" fmla="*/ 12883 h 406080"/>
                <a:gd name="connsiteX5" fmla="*/ 413020 w 413019"/>
                <a:gd name="connsiteY5" fmla="*/ 164446 h 406080"/>
                <a:gd name="connsiteX6" fmla="*/ 387314 w 413019"/>
                <a:gd name="connsiteY6" fmla="*/ 175272 h 406080"/>
                <a:gd name="connsiteX7" fmla="*/ 327010 w 413019"/>
                <a:gd name="connsiteY7" fmla="*/ 38107 h 406080"/>
                <a:gd name="connsiteX8" fmla="*/ 36226 w 413019"/>
                <a:gd name="connsiteY8" fmla="*/ 181226 h 406080"/>
                <a:gd name="connsiteX9" fmla="*/ 130804 w 413019"/>
                <a:gd name="connsiteY9" fmla="*/ 394929 h 406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13019" h="406080">
                  <a:moveTo>
                    <a:pt x="105532" y="406080"/>
                  </a:moveTo>
                  <a:cubicBezTo>
                    <a:pt x="45879" y="274112"/>
                    <a:pt x="5748" y="180360"/>
                    <a:pt x="5314" y="179385"/>
                  </a:cubicBezTo>
                  <a:lnTo>
                    <a:pt x="0" y="166936"/>
                  </a:lnTo>
                  <a:lnTo>
                    <a:pt x="340242" y="0"/>
                  </a:lnTo>
                  <a:lnTo>
                    <a:pt x="346208" y="12883"/>
                  </a:lnTo>
                  <a:cubicBezTo>
                    <a:pt x="346208" y="13749"/>
                    <a:pt x="386121" y="99490"/>
                    <a:pt x="413020" y="164446"/>
                  </a:cubicBezTo>
                  <a:lnTo>
                    <a:pt x="387314" y="175272"/>
                  </a:lnTo>
                  <a:cubicBezTo>
                    <a:pt x="366924" y="126122"/>
                    <a:pt x="339049" y="64522"/>
                    <a:pt x="327010" y="38107"/>
                  </a:cubicBezTo>
                  <a:lnTo>
                    <a:pt x="36226" y="181226"/>
                  </a:lnTo>
                  <a:cubicBezTo>
                    <a:pt x="49024" y="210889"/>
                    <a:pt x="83840" y="291001"/>
                    <a:pt x="130804" y="394929"/>
                  </a:cubicBezTo>
                  <a:close/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" name="Freeform 128">
              <a:extLst>
                <a:ext uri="{FF2B5EF4-FFF2-40B4-BE49-F238E27FC236}">
                  <a16:creationId xmlns:a16="http://schemas.microsoft.com/office/drawing/2014/main" id="{14BCDB41-1EAD-C94C-9FF8-362D714A4C08}"/>
                </a:ext>
              </a:extLst>
            </p:cNvPr>
            <p:cNvSpPr/>
            <p:nvPr/>
          </p:nvSpPr>
          <p:spPr>
            <a:xfrm>
              <a:off x="6978246" y="5151029"/>
              <a:ext cx="256944" cy="68419"/>
            </a:xfrm>
            <a:custGeom>
              <a:avLst/>
              <a:gdLst>
                <a:gd name="connsiteX0" fmla="*/ 10846 w 256944"/>
                <a:gd name="connsiteY0" fmla="*/ 68203 h 68419"/>
                <a:gd name="connsiteX1" fmla="*/ 0 w 256944"/>
                <a:gd name="connsiteY1" fmla="*/ 68203 h 68419"/>
                <a:gd name="connsiteX2" fmla="*/ 976 w 256944"/>
                <a:gd name="connsiteY2" fmla="*/ 39948 h 68419"/>
                <a:gd name="connsiteX3" fmla="*/ 250437 w 256944"/>
                <a:gd name="connsiteY3" fmla="*/ 0 h 68419"/>
                <a:gd name="connsiteX4" fmla="*/ 256944 w 256944"/>
                <a:gd name="connsiteY4" fmla="*/ 27498 h 68419"/>
                <a:gd name="connsiteX5" fmla="*/ 10521 w 256944"/>
                <a:gd name="connsiteY5" fmla="*/ 68420 h 68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6944" h="68419">
                  <a:moveTo>
                    <a:pt x="10846" y="68203"/>
                  </a:moveTo>
                  <a:cubicBezTo>
                    <a:pt x="7158" y="68203"/>
                    <a:pt x="3579" y="68203"/>
                    <a:pt x="0" y="68203"/>
                  </a:cubicBezTo>
                  <a:lnTo>
                    <a:pt x="976" y="39948"/>
                  </a:lnTo>
                  <a:cubicBezTo>
                    <a:pt x="53580" y="41788"/>
                    <a:pt x="130587" y="29122"/>
                    <a:pt x="250437" y="0"/>
                  </a:cubicBezTo>
                  <a:lnTo>
                    <a:pt x="256944" y="27498"/>
                  </a:lnTo>
                  <a:cubicBezTo>
                    <a:pt x="142084" y="55645"/>
                    <a:pt x="65185" y="68420"/>
                    <a:pt x="10521" y="68420"/>
                  </a:cubicBezTo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" name="Freeform 129">
              <a:extLst>
                <a:ext uri="{FF2B5EF4-FFF2-40B4-BE49-F238E27FC236}">
                  <a16:creationId xmlns:a16="http://schemas.microsoft.com/office/drawing/2014/main" id="{612F06C0-0F96-D44B-A772-155C60FF5ABB}"/>
                </a:ext>
              </a:extLst>
            </p:cNvPr>
            <p:cNvSpPr/>
            <p:nvPr/>
          </p:nvSpPr>
          <p:spPr>
            <a:xfrm>
              <a:off x="6227639" y="3935922"/>
              <a:ext cx="215789" cy="399266"/>
            </a:xfrm>
            <a:custGeom>
              <a:avLst/>
              <a:gdLst>
                <a:gd name="connsiteX0" fmla="*/ 201794 w 215789"/>
                <a:gd name="connsiteY0" fmla="*/ 399267 h 399266"/>
                <a:gd name="connsiteX1" fmla="*/ 188345 w 215789"/>
                <a:gd name="connsiteY1" fmla="*/ 388441 h 399266"/>
                <a:gd name="connsiteX2" fmla="*/ 54395 w 215789"/>
                <a:gd name="connsiteY2" fmla="*/ 28371 h 399266"/>
                <a:gd name="connsiteX3" fmla="*/ 52660 w 215789"/>
                <a:gd name="connsiteY3" fmla="*/ 28371 h 399266"/>
                <a:gd name="connsiteX4" fmla="*/ 61771 w 215789"/>
                <a:gd name="connsiteY4" fmla="*/ 219556 h 399266"/>
                <a:gd name="connsiteX5" fmla="*/ 55263 w 215789"/>
                <a:gd name="connsiteY5" fmla="*/ 238393 h 399266"/>
                <a:gd name="connsiteX6" fmla="*/ 36705 w 215789"/>
                <a:gd name="connsiteY6" fmla="*/ 231996 h 399266"/>
                <a:gd name="connsiteX7" fmla="*/ 36607 w 215789"/>
                <a:gd name="connsiteY7" fmla="*/ 231790 h 399266"/>
                <a:gd name="connsiteX8" fmla="*/ 38018 w 215789"/>
                <a:gd name="connsiteY8" fmla="*/ 4446 h 399266"/>
                <a:gd name="connsiteX9" fmla="*/ 64916 w 215789"/>
                <a:gd name="connsiteY9" fmla="*/ 2389 h 399266"/>
                <a:gd name="connsiteX10" fmla="*/ 215351 w 215789"/>
                <a:gd name="connsiteY10" fmla="*/ 381945 h 399266"/>
                <a:gd name="connsiteX11" fmla="*/ 205156 w 215789"/>
                <a:gd name="connsiteY11" fmla="*/ 399050 h 399266"/>
                <a:gd name="connsiteX12" fmla="*/ 201794 w 215789"/>
                <a:gd name="connsiteY12" fmla="*/ 399050 h 399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5789" h="399266">
                  <a:moveTo>
                    <a:pt x="201794" y="399267"/>
                  </a:moveTo>
                  <a:cubicBezTo>
                    <a:pt x="195351" y="399180"/>
                    <a:pt x="189798" y="394709"/>
                    <a:pt x="188345" y="388441"/>
                  </a:cubicBezTo>
                  <a:cubicBezTo>
                    <a:pt x="154505" y="247704"/>
                    <a:pt x="90730" y="43419"/>
                    <a:pt x="54395" y="28371"/>
                  </a:cubicBezTo>
                  <a:cubicBezTo>
                    <a:pt x="53202" y="28371"/>
                    <a:pt x="53094" y="28371"/>
                    <a:pt x="52660" y="28371"/>
                  </a:cubicBezTo>
                  <a:cubicBezTo>
                    <a:pt x="1249" y="60849"/>
                    <a:pt x="41814" y="177336"/>
                    <a:pt x="61771" y="219556"/>
                  </a:cubicBezTo>
                  <a:cubicBezTo>
                    <a:pt x="65133" y="226550"/>
                    <a:pt x="62226" y="234951"/>
                    <a:pt x="55263" y="238393"/>
                  </a:cubicBezTo>
                  <a:cubicBezTo>
                    <a:pt x="48365" y="241739"/>
                    <a:pt x="40057" y="238881"/>
                    <a:pt x="36705" y="231996"/>
                  </a:cubicBezTo>
                  <a:cubicBezTo>
                    <a:pt x="36673" y="231931"/>
                    <a:pt x="36640" y="231855"/>
                    <a:pt x="36607" y="231790"/>
                  </a:cubicBezTo>
                  <a:cubicBezTo>
                    <a:pt x="33245" y="224645"/>
                    <a:pt x="-44955" y="56194"/>
                    <a:pt x="38018" y="4446"/>
                  </a:cubicBezTo>
                  <a:cubicBezTo>
                    <a:pt x="46087" y="-643"/>
                    <a:pt x="56163" y="-1411"/>
                    <a:pt x="64916" y="2389"/>
                  </a:cubicBezTo>
                  <a:cubicBezTo>
                    <a:pt x="127390" y="28479"/>
                    <a:pt x="201252" y="323161"/>
                    <a:pt x="215351" y="381945"/>
                  </a:cubicBezTo>
                  <a:cubicBezTo>
                    <a:pt x="217271" y="389480"/>
                    <a:pt x="212705" y="397134"/>
                    <a:pt x="205156" y="399050"/>
                  </a:cubicBezTo>
                  <a:cubicBezTo>
                    <a:pt x="204039" y="399213"/>
                    <a:pt x="202911" y="399213"/>
                    <a:pt x="201794" y="399050"/>
                  </a:cubicBezTo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1" name="Freeform 130">
              <a:extLst>
                <a:ext uri="{FF2B5EF4-FFF2-40B4-BE49-F238E27FC236}">
                  <a16:creationId xmlns:a16="http://schemas.microsoft.com/office/drawing/2014/main" id="{052F0CC6-FBF3-F440-84A1-92C01EBADDBC}"/>
                </a:ext>
              </a:extLst>
            </p:cNvPr>
            <p:cNvSpPr/>
            <p:nvPr/>
          </p:nvSpPr>
          <p:spPr>
            <a:xfrm>
              <a:off x="6394557" y="4403139"/>
              <a:ext cx="58123" cy="58025"/>
            </a:xfrm>
            <a:custGeom>
              <a:avLst/>
              <a:gdLst>
                <a:gd name="connsiteX0" fmla="*/ 59 w 58123"/>
                <a:gd name="connsiteY0" fmla="*/ 30999 h 58025"/>
                <a:gd name="connsiteX1" fmla="*/ 31047 w 58123"/>
                <a:gd name="connsiteY1" fmla="*/ 57956 h 58025"/>
                <a:gd name="connsiteX2" fmla="*/ 58053 w 58123"/>
                <a:gd name="connsiteY2" fmla="*/ 27026 h 58025"/>
                <a:gd name="connsiteX3" fmla="*/ 27608 w 58123"/>
                <a:gd name="connsiteY3" fmla="*/ 37 h 58025"/>
                <a:gd name="connsiteX4" fmla="*/ 48 w 58123"/>
                <a:gd name="connsiteY4" fmla="*/ 30902 h 58025"/>
                <a:gd name="connsiteX5" fmla="*/ 59 w 58123"/>
                <a:gd name="connsiteY5" fmla="*/ 30999 h 5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123" h="58025">
                  <a:moveTo>
                    <a:pt x="59" y="30999"/>
                  </a:moveTo>
                  <a:cubicBezTo>
                    <a:pt x="1155" y="46989"/>
                    <a:pt x="15027" y="59060"/>
                    <a:pt x="31047" y="57956"/>
                  </a:cubicBezTo>
                  <a:cubicBezTo>
                    <a:pt x="47066" y="56862"/>
                    <a:pt x="59160" y="43016"/>
                    <a:pt x="58053" y="27026"/>
                  </a:cubicBezTo>
                  <a:cubicBezTo>
                    <a:pt x="56980" y="11253"/>
                    <a:pt x="43433" y="-753"/>
                    <a:pt x="27608" y="37"/>
                  </a:cubicBezTo>
                  <a:cubicBezTo>
                    <a:pt x="11459" y="968"/>
                    <a:pt x="-873" y="14782"/>
                    <a:pt x="48" y="30902"/>
                  </a:cubicBezTo>
                  <a:cubicBezTo>
                    <a:pt x="59" y="30934"/>
                    <a:pt x="59" y="30966"/>
                    <a:pt x="59" y="30999"/>
                  </a:cubicBezTo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" name="Freeform 131">
              <a:extLst>
                <a:ext uri="{FF2B5EF4-FFF2-40B4-BE49-F238E27FC236}">
                  <a16:creationId xmlns:a16="http://schemas.microsoft.com/office/drawing/2014/main" id="{CEB08B0D-45A4-A64D-9E44-43C664B7745E}"/>
                </a:ext>
              </a:extLst>
            </p:cNvPr>
            <p:cNvSpPr/>
            <p:nvPr/>
          </p:nvSpPr>
          <p:spPr>
            <a:xfrm>
              <a:off x="6648632" y="4609626"/>
              <a:ext cx="26682" cy="69394"/>
            </a:xfrm>
            <a:custGeom>
              <a:avLst/>
              <a:gdLst>
                <a:gd name="connsiteX0" fmla="*/ 13341 w 26682"/>
                <a:gd name="connsiteY0" fmla="*/ 69286 h 69394"/>
                <a:gd name="connsiteX1" fmla="*/ 26682 w 26682"/>
                <a:gd name="connsiteY1" fmla="*/ 55970 h 69394"/>
                <a:gd name="connsiteX2" fmla="*/ 26682 w 26682"/>
                <a:gd name="connsiteY2" fmla="*/ 55862 h 69394"/>
                <a:gd name="connsiteX3" fmla="*/ 26682 w 26682"/>
                <a:gd name="connsiteY3" fmla="*/ 13316 h 69394"/>
                <a:gd name="connsiteX4" fmla="*/ 13341 w 26682"/>
                <a:gd name="connsiteY4" fmla="*/ 0 h 69394"/>
                <a:gd name="connsiteX5" fmla="*/ 1 w 26682"/>
                <a:gd name="connsiteY5" fmla="*/ 13316 h 69394"/>
                <a:gd name="connsiteX6" fmla="*/ 1 w 26682"/>
                <a:gd name="connsiteY6" fmla="*/ 55753 h 69394"/>
                <a:gd name="connsiteX7" fmla="*/ 13341 w 26682"/>
                <a:gd name="connsiteY7" fmla="*/ 69394 h 69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682" h="69394">
                  <a:moveTo>
                    <a:pt x="13341" y="69286"/>
                  </a:moveTo>
                  <a:cubicBezTo>
                    <a:pt x="20706" y="69286"/>
                    <a:pt x="26682" y="63321"/>
                    <a:pt x="26682" y="55970"/>
                  </a:cubicBezTo>
                  <a:cubicBezTo>
                    <a:pt x="26682" y="55937"/>
                    <a:pt x="26682" y="55894"/>
                    <a:pt x="26682" y="55862"/>
                  </a:cubicBezTo>
                  <a:lnTo>
                    <a:pt x="26682" y="13316"/>
                  </a:lnTo>
                  <a:cubicBezTo>
                    <a:pt x="26682" y="5965"/>
                    <a:pt x="20706" y="0"/>
                    <a:pt x="13341" y="0"/>
                  </a:cubicBezTo>
                  <a:cubicBezTo>
                    <a:pt x="5977" y="0"/>
                    <a:pt x="1" y="5965"/>
                    <a:pt x="1" y="13316"/>
                  </a:cubicBezTo>
                  <a:lnTo>
                    <a:pt x="1" y="55753"/>
                  </a:lnTo>
                  <a:cubicBezTo>
                    <a:pt x="-64" y="63191"/>
                    <a:pt x="5901" y="69275"/>
                    <a:pt x="13341" y="69394"/>
                  </a:cubicBezTo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" name="Freeform 132">
              <a:extLst>
                <a:ext uri="{FF2B5EF4-FFF2-40B4-BE49-F238E27FC236}">
                  <a16:creationId xmlns:a16="http://schemas.microsoft.com/office/drawing/2014/main" id="{B21CFD69-5683-F441-A94C-F47D4B469C11}"/>
                </a:ext>
              </a:extLst>
            </p:cNvPr>
            <p:cNvSpPr/>
            <p:nvPr/>
          </p:nvSpPr>
          <p:spPr>
            <a:xfrm>
              <a:off x="6474849" y="4690638"/>
              <a:ext cx="59159" cy="54420"/>
            </a:xfrm>
            <a:custGeom>
              <a:avLst/>
              <a:gdLst>
                <a:gd name="connsiteX0" fmla="*/ 45799 w 59159"/>
                <a:gd name="connsiteY0" fmla="*/ 54420 h 54420"/>
                <a:gd name="connsiteX1" fmla="*/ 56103 w 59159"/>
                <a:gd name="connsiteY1" fmla="*/ 49549 h 54420"/>
                <a:gd name="connsiteX2" fmla="*/ 54367 w 59159"/>
                <a:gd name="connsiteY2" fmla="*/ 30495 h 54420"/>
                <a:gd name="connsiteX3" fmla="*/ 21829 w 59159"/>
                <a:gd name="connsiteY3" fmla="*/ 3105 h 54420"/>
                <a:gd name="connsiteX4" fmla="*/ 3184 w 59159"/>
                <a:gd name="connsiteY4" fmla="*/ 4697 h 54420"/>
                <a:gd name="connsiteX5" fmla="*/ 3065 w 59159"/>
                <a:gd name="connsiteY5" fmla="*/ 4838 h 54420"/>
                <a:gd name="connsiteX6" fmla="*/ 4801 w 59159"/>
                <a:gd name="connsiteY6" fmla="*/ 23999 h 54420"/>
                <a:gd name="connsiteX7" fmla="*/ 37339 w 59159"/>
                <a:gd name="connsiteY7" fmla="*/ 51281 h 54420"/>
                <a:gd name="connsiteX8" fmla="*/ 45799 w 59159"/>
                <a:gd name="connsiteY8" fmla="*/ 54420 h 54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159" h="54420">
                  <a:moveTo>
                    <a:pt x="45799" y="54420"/>
                  </a:moveTo>
                  <a:cubicBezTo>
                    <a:pt x="49780" y="54388"/>
                    <a:pt x="53554" y="52601"/>
                    <a:pt x="56103" y="49549"/>
                  </a:cubicBezTo>
                  <a:cubicBezTo>
                    <a:pt x="60777" y="43768"/>
                    <a:pt x="60007" y="35334"/>
                    <a:pt x="54367" y="30495"/>
                  </a:cubicBezTo>
                  <a:lnTo>
                    <a:pt x="21829" y="3105"/>
                  </a:lnTo>
                  <a:cubicBezTo>
                    <a:pt x="16243" y="-1593"/>
                    <a:pt x="7892" y="-879"/>
                    <a:pt x="3184" y="4697"/>
                  </a:cubicBezTo>
                  <a:cubicBezTo>
                    <a:pt x="3141" y="4740"/>
                    <a:pt x="3109" y="4794"/>
                    <a:pt x="3065" y="4838"/>
                  </a:cubicBezTo>
                  <a:cubicBezTo>
                    <a:pt x="-1620" y="10651"/>
                    <a:pt x="-850" y="19117"/>
                    <a:pt x="4801" y="23999"/>
                  </a:cubicBezTo>
                  <a:lnTo>
                    <a:pt x="37339" y="51281"/>
                  </a:lnTo>
                  <a:cubicBezTo>
                    <a:pt x="39725" y="53251"/>
                    <a:pt x="42708" y="54355"/>
                    <a:pt x="45799" y="54420"/>
                  </a:cubicBezTo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" name="Freeform 133">
              <a:extLst>
                <a:ext uri="{FF2B5EF4-FFF2-40B4-BE49-F238E27FC236}">
                  <a16:creationId xmlns:a16="http://schemas.microsoft.com/office/drawing/2014/main" id="{57BB9D9A-33F1-7748-8401-A4874B4C6002}"/>
                </a:ext>
              </a:extLst>
            </p:cNvPr>
            <p:cNvSpPr/>
            <p:nvPr/>
          </p:nvSpPr>
          <p:spPr>
            <a:xfrm>
              <a:off x="6424998" y="4870747"/>
              <a:ext cx="67539" cy="34209"/>
            </a:xfrm>
            <a:custGeom>
              <a:avLst/>
              <a:gdLst>
                <a:gd name="connsiteX0" fmla="*/ 52266 w 67539"/>
                <a:gd name="connsiteY0" fmla="*/ 0 h 34209"/>
                <a:gd name="connsiteX1" fmla="*/ 11159 w 67539"/>
                <a:gd name="connsiteY1" fmla="*/ 7362 h 34209"/>
                <a:gd name="connsiteX2" fmla="*/ 216 w 67539"/>
                <a:gd name="connsiteY2" fmla="*/ 23081 h 34209"/>
                <a:gd name="connsiteX3" fmla="*/ 13329 w 67539"/>
                <a:gd name="connsiteY3" fmla="*/ 34210 h 34209"/>
                <a:gd name="connsiteX4" fmla="*/ 15715 w 67539"/>
                <a:gd name="connsiteY4" fmla="*/ 34210 h 34209"/>
                <a:gd name="connsiteX5" fmla="*/ 56930 w 67539"/>
                <a:gd name="connsiteY5" fmla="*/ 26848 h 34209"/>
                <a:gd name="connsiteX6" fmla="*/ 67212 w 67539"/>
                <a:gd name="connsiteY6" fmla="*/ 10696 h 34209"/>
                <a:gd name="connsiteX7" fmla="*/ 52266 w 67539"/>
                <a:gd name="connsiteY7" fmla="*/ 216 h 34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7539" h="34209">
                  <a:moveTo>
                    <a:pt x="52266" y="0"/>
                  </a:moveTo>
                  <a:lnTo>
                    <a:pt x="11159" y="7362"/>
                  </a:lnTo>
                  <a:cubicBezTo>
                    <a:pt x="3795" y="8682"/>
                    <a:pt x="-1107" y="15719"/>
                    <a:pt x="216" y="23081"/>
                  </a:cubicBezTo>
                  <a:cubicBezTo>
                    <a:pt x="1365" y="29436"/>
                    <a:pt x="6853" y="34102"/>
                    <a:pt x="13329" y="34210"/>
                  </a:cubicBezTo>
                  <a:lnTo>
                    <a:pt x="15715" y="34210"/>
                  </a:lnTo>
                  <a:lnTo>
                    <a:pt x="56930" y="26848"/>
                  </a:lnTo>
                  <a:cubicBezTo>
                    <a:pt x="64240" y="25224"/>
                    <a:pt x="68839" y="17993"/>
                    <a:pt x="67212" y="10696"/>
                  </a:cubicBezTo>
                  <a:cubicBezTo>
                    <a:pt x="65683" y="3876"/>
                    <a:pt x="59208" y="-660"/>
                    <a:pt x="52266" y="216"/>
                  </a:cubicBezTo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" name="Freeform 134">
              <a:extLst>
                <a:ext uri="{FF2B5EF4-FFF2-40B4-BE49-F238E27FC236}">
                  <a16:creationId xmlns:a16="http://schemas.microsoft.com/office/drawing/2014/main" id="{3FFDF1F1-CA2B-4E47-8AE8-ECD5B1FA3EE8}"/>
                </a:ext>
              </a:extLst>
            </p:cNvPr>
            <p:cNvSpPr/>
            <p:nvPr/>
          </p:nvSpPr>
          <p:spPr>
            <a:xfrm>
              <a:off x="6789329" y="4692304"/>
              <a:ext cx="59257" cy="54486"/>
            </a:xfrm>
            <a:custGeom>
              <a:avLst/>
              <a:gdLst>
                <a:gd name="connsiteX0" fmla="*/ 13319 w 59257"/>
                <a:gd name="connsiteY0" fmla="*/ 54053 h 54486"/>
                <a:gd name="connsiteX1" fmla="*/ 21887 w 59257"/>
                <a:gd name="connsiteY1" fmla="*/ 50914 h 54486"/>
                <a:gd name="connsiteX2" fmla="*/ 54425 w 59257"/>
                <a:gd name="connsiteY2" fmla="*/ 23957 h 54486"/>
                <a:gd name="connsiteX3" fmla="*/ 56160 w 59257"/>
                <a:gd name="connsiteY3" fmla="*/ 4904 h 54486"/>
                <a:gd name="connsiteX4" fmla="*/ 37549 w 59257"/>
                <a:gd name="connsiteY4" fmla="*/ 2933 h 54486"/>
                <a:gd name="connsiteX5" fmla="*/ 37397 w 59257"/>
                <a:gd name="connsiteY5" fmla="*/ 3063 h 54486"/>
                <a:gd name="connsiteX6" fmla="*/ 4859 w 59257"/>
                <a:gd name="connsiteY6" fmla="*/ 30020 h 54486"/>
                <a:gd name="connsiteX7" fmla="*/ 3221 w 59257"/>
                <a:gd name="connsiteY7" fmla="*/ 49236 h 54486"/>
                <a:gd name="connsiteX8" fmla="*/ 3449 w 59257"/>
                <a:gd name="connsiteY8" fmla="*/ 49506 h 54486"/>
                <a:gd name="connsiteX9" fmla="*/ 13644 w 59257"/>
                <a:gd name="connsiteY9" fmla="*/ 54486 h 54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257" h="54486">
                  <a:moveTo>
                    <a:pt x="13319" y="54053"/>
                  </a:moveTo>
                  <a:cubicBezTo>
                    <a:pt x="16453" y="54032"/>
                    <a:pt x="19490" y="52928"/>
                    <a:pt x="21887" y="50914"/>
                  </a:cubicBezTo>
                  <a:lnTo>
                    <a:pt x="54425" y="23957"/>
                  </a:lnTo>
                  <a:cubicBezTo>
                    <a:pt x="60120" y="19140"/>
                    <a:pt x="60889" y="10663"/>
                    <a:pt x="56160" y="4904"/>
                  </a:cubicBezTo>
                  <a:cubicBezTo>
                    <a:pt x="51562" y="-769"/>
                    <a:pt x="43232" y="-1646"/>
                    <a:pt x="37549" y="2933"/>
                  </a:cubicBezTo>
                  <a:cubicBezTo>
                    <a:pt x="37495" y="2977"/>
                    <a:pt x="37451" y="3020"/>
                    <a:pt x="37397" y="3063"/>
                  </a:cubicBezTo>
                  <a:lnTo>
                    <a:pt x="4859" y="30020"/>
                  </a:lnTo>
                  <a:cubicBezTo>
                    <a:pt x="-912" y="34881"/>
                    <a:pt x="-1649" y="43476"/>
                    <a:pt x="3221" y="49236"/>
                  </a:cubicBezTo>
                  <a:cubicBezTo>
                    <a:pt x="3297" y="49333"/>
                    <a:pt x="3373" y="49420"/>
                    <a:pt x="3449" y="49506"/>
                  </a:cubicBezTo>
                  <a:cubicBezTo>
                    <a:pt x="5910" y="52624"/>
                    <a:pt x="9663" y="54454"/>
                    <a:pt x="13644" y="54486"/>
                  </a:cubicBezTo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6" name="Freeform 135">
              <a:extLst>
                <a:ext uri="{FF2B5EF4-FFF2-40B4-BE49-F238E27FC236}">
                  <a16:creationId xmlns:a16="http://schemas.microsoft.com/office/drawing/2014/main" id="{BCBB7480-355D-664F-BC7F-8F2AE7564518}"/>
                </a:ext>
              </a:extLst>
            </p:cNvPr>
            <p:cNvSpPr/>
            <p:nvPr/>
          </p:nvSpPr>
          <p:spPr>
            <a:xfrm>
              <a:off x="6829110" y="4872247"/>
              <a:ext cx="68082" cy="34549"/>
            </a:xfrm>
            <a:custGeom>
              <a:avLst/>
              <a:gdLst>
                <a:gd name="connsiteX0" fmla="*/ 56835 w 68082"/>
                <a:gd name="connsiteY0" fmla="*/ 7918 h 34549"/>
                <a:gd name="connsiteX1" fmla="*/ 15728 w 68082"/>
                <a:gd name="connsiteY1" fmla="*/ 232 h 34549"/>
                <a:gd name="connsiteX2" fmla="*/ 273 w 68082"/>
                <a:gd name="connsiteY2" fmla="*/ 10765 h 34549"/>
                <a:gd name="connsiteX3" fmla="*/ 218 w 68082"/>
                <a:gd name="connsiteY3" fmla="*/ 11058 h 34549"/>
                <a:gd name="connsiteX4" fmla="*/ 11064 w 68082"/>
                <a:gd name="connsiteY4" fmla="*/ 26863 h 34549"/>
                <a:gd name="connsiteX5" fmla="*/ 52171 w 68082"/>
                <a:gd name="connsiteY5" fmla="*/ 34550 h 34549"/>
                <a:gd name="connsiteX6" fmla="*/ 54449 w 68082"/>
                <a:gd name="connsiteY6" fmla="*/ 34550 h 34549"/>
                <a:gd name="connsiteX7" fmla="*/ 68083 w 68082"/>
                <a:gd name="connsiteY7" fmla="*/ 21093 h 34549"/>
                <a:gd name="connsiteX8" fmla="*/ 56944 w 68082"/>
                <a:gd name="connsiteY8" fmla="*/ 7702 h 34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8082" h="34549">
                  <a:moveTo>
                    <a:pt x="56835" y="7918"/>
                  </a:moveTo>
                  <a:lnTo>
                    <a:pt x="15728" y="232"/>
                  </a:lnTo>
                  <a:cubicBezTo>
                    <a:pt x="8548" y="-1121"/>
                    <a:pt x="1628" y="3588"/>
                    <a:pt x="273" y="10765"/>
                  </a:cubicBezTo>
                  <a:cubicBezTo>
                    <a:pt x="251" y="10863"/>
                    <a:pt x="229" y="10960"/>
                    <a:pt x="218" y="11058"/>
                  </a:cubicBezTo>
                  <a:cubicBezTo>
                    <a:pt x="-1105" y="18397"/>
                    <a:pt x="3722" y="25445"/>
                    <a:pt x="11064" y="26863"/>
                  </a:cubicBezTo>
                  <a:lnTo>
                    <a:pt x="52171" y="34550"/>
                  </a:lnTo>
                  <a:lnTo>
                    <a:pt x="54449" y="34550"/>
                  </a:lnTo>
                  <a:cubicBezTo>
                    <a:pt x="61933" y="34593"/>
                    <a:pt x="68039" y="28574"/>
                    <a:pt x="68083" y="21093"/>
                  </a:cubicBezTo>
                  <a:cubicBezTo>
                    <a:pt x="68126" y="14522"/>
                    <a:pt x="63429" y="8871"/>
                    <a:pt x="56944" y="7702"/>
                  </a:cubicBezTo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7" name="Freeform 136">
              <a:extLst>
                <a:ext uri="{FF2B5EF4-FFF2-40B4-BE49-F238E27FC236}">
                  <a16:creationId xmlns:a16="http://schemas.microsoft.com/office/drawing/2014/main" id="{E4F8C2D2-2B36-5146-8D03-5378B51C3D40}"/>
                </a:ext>
              </a:extLst>
            </p:cNvPr>
            <p:cNvSpPr/>
            <p:nvPr/>
          </p:nvSpPr>
          <p:spPr>
            <a:xfrm>
              <a:off x="6609386" y="4810444"/>
              <a:ext cx="122183" cy="213164"/>
            </a:xfrm>
            <a:custGeom>
              <a:avLst/>
              <a:gdLst>
                <a:gd name="connsiteX0" fmla="*/ 109638 w 122183"/>
                <a:gd name="connsiteY0" fmla="*/ 30098 h 213164"/>
                <a:gd name="connsiteX1" fmla="*/ 91633 w 122183"/>
                <a:gd name="connsiteY1" fmla="*/ 36269 h 213164"/>
                <a:gd name="connsiteX2" fmla="*/ 93369 w 122183"/>
                <a:gd name="connsiteY2" fmla="*/ 29232 h 213164"/>
                <a:gd name="connsiteX3" fmla="*/ 101503 w 122183"/>
                <a:gd name="connsiteY3" fmla="*/ 17865 h 213164"/>
                <a:gd name="connsiteX4" fmla="*/ 102696 w 122183"/>
                <a:gd name="connsiteY4" fmla="*/ 17865 h 213164"/>
                <a:gd name="connsiteX5" fmla="*/ 109638 w 122183"/>
                <a:gd name="connsiteY5" fmla="*/ 30098 h 213164"/>
                <a:gd name="connsiteX6" fmla="*/ 33715 w 122183"/>
                <a:gd name="connsiteY6" fmla="*/ 38759 h 213164"/>
                <a:gd name="connsiteX7" fmla="*/ 12891 w 122183"/>
                <a:gd name="connsiteY7" fmla="*/ 32804 h 213164"/>
                <a:gd name="connsiteX8" fmla="*/ 12891 w 122183"/>
                <a:gd name="connsiteY8" fmla="*/ 31181 h 213164"/>
                <a:gd name="connsiteX9" fmla="*/ 18530 w 122183"/>
                <a:gd name="connsiteY9" fmla="*/ 17215 h 213164"/>
                <a:gd name="connsiteX10" fmla="*/ 26231 w 122183"/>
                <a:gd name="connsiteY10" fmla="*/ 12993 h 213164"/>
                <a:gd name="connsiteX11" fmla="*/ 27207 w 122183"/>
                <a:gd name="connsiteY11" fmla="*/ 12993 h 213164"/>
                <a:gd name="connsiteX12" fmla="*/ 33607 w 122183"/>
                <a:gd name="connsiteY12" fmla="*/ 38867 h 213164"/>
                <a:gd name="connsiteX13" fmla="*/ 105733 w 122183"/>
                <a:gd name="connsiteY13" fmla="*/ 5415 h 213164"/>
                <a:gd name="connsiteX14" fmla="*/ 81221 w 122183"/>
                <a:gd name="connsiteY14" fmla="*/ 25334 h 213164"/>
                <a:gd name="connsiteX15" fmla="*/ 78401 w 122183"/>
                <a:gd name="connsiteY15" fmla="*/ 38434 h 213164"/>
                <a:gd name="connsiteX16" fmla="*/ 46514 w 122183"/>
                <a:gd name="connsiteY16" fmla="*/ 39733 h 213164"/>
                <a:gd name="connsiteX17" fmla="*/ 28400 w 122183"/>
                <a:gd name="connsiteY17" fmla="*/ 2 h 213164"/>
                <a:gd name="connsiteX18" fmla="*/ 9420 w 122183"/>
                <a:gd name="connsiteY18" fmla="*/ 8230 h 213164"/>
                <a:gd name="connsiteX19" fmla="*/ 92 w 122183"/>
                <a:gd name="connsiteY19" fmla="*/ 31072 h 213164"/>
                <a:gd name="connsiteX20" fmla="*/ 4865 w 122183"/>
                <a:gd name="connsiteY20" fmla="*/ 42981 h 213164"/>
                <a:gd name="connsiteX21" fmla="*/ 34583 w 122183"/>
                <a:gd name="connsiteY21" fmla="*/ 51966 h 213164"/>
                <a:gd name="connsiteX22" fmla="*/ 31220 w 122183"/>
                <a:gd name="connsiteY22" fmla="*/ 188373 h 213164"/>
                <a:gd name="connsiteX23" fmla="*/ 36351 w 122183"/>
                <a:gd name="connsiteY23" fmla="*/ 195810 h 213164"/>
                <a:gd name="connsiteX24" fmla="*/ 43802 w 122183"/>
                <a:gd name="connsiteY24" fmla="*/ 190690 h 213164"/>
                <a:gd name="connsiteX25" fmla="*/ 43911 w 122183"/>
                <a:gd name="connsiteY25" fmla="*/ 189347 h 213164"/>
                <a:gd name="connsiteX26" fmla="*/ 48140 w 122183"/>
                <a:gd name="connsiteY26" fmla="*/ 98734 h 213164"/>
                <a:gd name="connsiteX27" fmla="*/ 47490 w 122183"/>
                <a:gd name="connsiteY27" fmla="*/ 52724 h 213164"/>
                <a:gd name="connsiteX28" fmla="*/ 76557 w 122183"/>
                <a:gd name="connsiteY28" fmla="*/ 51641 h 213164"/>
                <a:gd name="connsiteX29" fmla="*/ 67989 w 122183"/>
                <a:gd name="connsiteY29" fmla="*/ 206560 h 213164"/>
                <a:gd name="connsiteX30" fmla="*/ 74280 w 122183"/>
                <a:gd name="connsiteY30" fmla="*/ 213164 h 213164"/>
                <a:gd name="connsiteX31" fmla="*/ 74930 w 122183"/>
                <a:gd name="connsiteY31" fmla="*/ 213164 h 213164"/>
                <a:gd name="connsiteX32" fmla="*/ 80462 w 122183"/>
                <a:gd name="connsiteY32" fmla="*/ 206885 h 213164"/>
                <a:gd name="connsiteX33" fmla="*/ 89247 w 122183"/>
                <a:gd name="connsiteY33" fmla="*/ 50017 h 213164"/>
                <a:gd name="connsiteX34" fmla="*/ 108228 w 122183"/>
                <a:gd name="connsiteY34" fmla="*/ 45362 h 213164"/>
                <a:gd name="connsiteX35" fmla="*/ 121894 w 122183"/>
                <a:gd name="connsiteY35" fmla="*/ 32913 h 213164"/>
                <a:gd name="connsiteX36" fmla="*/ 105408 w 122183"/>
                <a:gd name="connsiteY36" fmla="*/ 5523 h 213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22183" h="213164">
                  <a:moveTo>
                    <a:pt x="109638" y="30098"/>
                  </a:moveTo>
                  <a:cubicBezTo>
                    <a:pt x="104204" y="33530"/>
                    <a:pt x="98033" y="35652"/>
                    <a:pt x="91633" y="36269"/>
                  </a:cubicBezTo>
                  <a:cubicBezTo>
                    <a:pt x="92046" y="33887"/>
                    <a:pt x="92620" y="31538"/>
                    <a:pt x="93369" y="29232"/>
                  </a:cubicBezTo>
                  <a:cubicBezTo>
                    <a:pt x="95104" y="23819"/>
                    <a:pt x="98033" y="18406"/>
                    <a:pt x="101503" y="17865"/>
                  </a:cubicBezTo>
                  <a:lnTo>
                    <a:pt x="102696" y="17865"/>
                  </a:lnTo>
                  <a:cubicBezTo>
                    <a:pt x="107403" y="20030"/>
                    <a:pt x="110202" y="24955"/>
                    <a:pt x="109638" y="30098"/>
                  </a:cubicBezTo>
                  <a:moveTo>
                    <a:pt x="33715" y="38759"/>
                  </a:moveTo>
                  <a:cubicBezTo>
                    <a:pt x="18422" y="37027"/>
                    <a:pt x="13433" y="33671"/>
                    <a:pt x="12891" y="32804"/>
                  </a:cubicBezTo>
                  <a:cubicBezTo>
                    <a:pt x="12999" y="32263"/>
                    <a:pt x="12999" y="31722"/>
                    <a:pt x="12891" y="31181"/>
                  </a:cubicBezTo>
                  <a:cubicBezTo>
                    <a:pt x="12804" y="25952"/>
                    <a:pt x="14843" y="20918"/>
                    <a:pt x="18530" y="17215"/>
                  </a:cubicBezTo>
                  <a:cubicBezTo>
                    <a:pt x="20548" y="14985"/>
                    <a:pt x="23259" y="13502"/>
                    <a:pt x="26231" y="12993"/>
                  </a:cubicBezTo>
                  <a:lnTo>
                    <a:pt x="27207" y="12993"/>
                  </a:lnTo>
                  <a:cubicBezTo>
                    <a:pt x="31546" y="20918"/>
                    <a:pt x="33748" y="29838"/>
                    <a:pt x="33607" y="38867"/>
                  </a:cubicBezTo>
                  <a:moveTo>
                    <a:pt x="105733" y="5415"/>
                  </a:moveTo>
                  <a:cubicBezTo>
                    <a:pt x="101829" y="4440"/>
                    <a:pt x="88379" y="3033"/>
                    <a:pt x="81221" y="25334"/>
                  </a:cubicBezTo>
                  <a:cubicBezTo>
                    <a:pt x="79985" y="29632"/>
                    <a:pt x="79041" y="34006"/>
                    <a:pt x="78401" y="38434"/>
                  </a:cubicBezTo>
                  <a:cubicBezTo>
                    <a:pt x="67815" y="39647"/>
                    <a:pt x="57164" y="40079"/>
                    <a:pt x="46514" y="39733"/>
                  </a:cubicBezTo>
                  <a:cubicBezTo>
                    <a:pt x="43260" y="7255"/>
                    <a:pt x="35667" y="760"/>
                    <a:pt x="28400" y="2"/>
                  </a:cubicBezTo>
                  <a:cubicBezTo>
                    <a:pt x="21188" y="-85"/>
                    <a:pt x="14279" y="2903"/>
                    <a:pt x="9420" y="8230"/>
                  </a:cubicBezTo>
                  <a:cubicBezTo>
                    <a:pt x="3422" y="14324"/>
                    <a:pt x="70" y="22530"/>
                    <a:pt x="92" y="31072"/>
                  </a:cubicBezTo>
                  <a:cubicBezTo>
                    <a:pt x="-439" y="35597"/>
                    <a:pt x="1350" y="40079"/>
                    <a:pt x="4865" y="42981"/>
                  </a:cubicBezTo>
                  <a:cubicBezTo>
                    <a:pt x="13747" y="48664"/>
                    <a:pt x="24030" y="51782"/>
                    <a:pt x="34583" y="51966"/>
                  </a:cubicBezTo>
                  <a:cubicBezTo>
                    <a:pt x="36503" y="97457"/>
                    <a:pt x="35385" y="143034"/>
                    <a:pt x="31220" y="188373"/>
                  </a:cubicBezTo>
                  <a:cubicBezTo>
                    <a:pt x="30581" y="191837"/>
                    <a:pt x="32880" y="195172"/>
                    <a:pt x="36351" y="195810"/>
                  </a:cubicBezTo>
                  <a:cubicBezTo>
                    <a:pt x="39832" y="196449"/>
                    <a:pt x="43162" y="194154"/>
                    <a:pt x="43802" y="190690"/>
                  </a:cubicBezTo>
                  <a:cubicBezTo>
                    <a:pt x="43889" y="190246"/>
                    <a:pt x="43921" y="189791"/>
                    <a:pt x="43911" y="189347"/>
                  </a:cubicBezTo>
                  <a:cubicBezTo>
                    <a:pt x="43911" y="189347"/>
                    <a:pt x="47598" y="143662"/>
                    <a:pt x="48140" y="98734"/>
                  </a:cubicBezTo>
                  <a:cubicBezTo>
                    <a:pt x="48140" y="80114"/>
                    <a:pt x="48140" y="65066"/>
                    <a:pt x="47490" y="52724"/>
                  </a:cubicBezTo>
                  <a:cubicBezTo>
                    <a:pt x="57197" y="53016"/>
                    <a:pt x="66904" y="52648"/>
                    <a:pt x="76557" y="51641"/>
                  </a:cubicBezTo>
                  <a:cubicBezTo>
                    <a:pt x="70375" y="103606"/>
                    <a:pt x="68097" y="201472"/>
                    <a:pt x="67989" y="206560"/>
                  </a:cubicBezTo>
                  <a:cubicBezTo>
                    <a:pt x="67924" y="210111"/>
                    <a:pt x="70733" y="213045"/>
                    <a:pt x="74280" y="213164"/>
                  </a:cubicBezTo>
                  <a:lnTo>
                    <a:pt x="74930" y="213164"/>
                  </a:lnTo>
                  <a:cubicBezTo>
                    <a:pt x="78076" y="212731"/>
                    <a:pt x="80440" y="210057"/>
                    <a:pt x="80462" y="206885"/>
                  </a:cubicBezTo>
                  <a:cubicBezTo>
                    <a:pt x="81438" y="165097"/>
                    <a:pt x="84258" y="89207"/>
                    <a:pt x="89247" y="50017"/>
                  </a:cubicBezTo>
                  <a:cubicBezTo>
                    <a:pt x="95701" y="49054"/>
                    <a:pt x="102057" y="47495"/>
                    <a:pt x="108228" y="45362"/>
                  </a:cubicBezTo>
                  <a:cubicBezTo>
                    <a:pt x="111265" y="44172"/>
                    <a:pt x="120701" y="40599"/>
                    <a:pt x="121894" y="32913"/>
                  </a:cubicBezTo>
                  <a:cubicBezTo>
                    <a:pt x="123716" y="21015"/>
                    <a:pt x="116796" y="9496"/>
                    <a:pt x="105408" y="5523"/>
                  </a:cubicBezTo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8" name="Freeform 137">
              <a:extLst>
                <a:ext uri="{FF2B5EF4-FFF2-40B4-BE49-F238E27FC236}">
                  <a16:creationId xmlns:a16="http://schemas.microsoft.com/office/drawing/2014/main" id="{3BDD943D-5554-BA4F-829E-31C252036456}"/>
                </a:ext>
              </a:extLst>
            </p:cNvPr>
            <p:cNvSpPr/>
            <p:nvPr/>
          </p:nvSpPr>
          <p:spPr>
            <a:xfrm>
              <a:off x="6512215" y="4704337"/>
              <a:ext cx="309523" cy="500760"/>
            </a:xfrm>
            <a:custGeom>
              <a:avLst/>
              <a:gdLst>
                <a:gd name="connsiteX0" fmla="*/ 289889 w 309523"/>
                <a:gd name="connsiteY0" fmla="*/ 154717 h 500760"/>
                <a:gd name="connsiteX1" fmla="*/ 256592 w 309523"/>
                <a:gd name="connsiteY1" fmla="*/ 232664 h 500760"/>
                <a:gd name="connsiteX2" fmla="*/ 212014 w 309523"/>
                <a:gd name="connsiteY2" fmla="*/ 354672 h 500760"/>
                <a:gd name="connsiteX3" fmla="*/ 213099 w 309523"/>
                <a:gd name="connsiteY3" fmla="*/ 377839 h 500760"/>
                <a:gd name="connsiteX4" fmla="*/ 214400 w 309523"/>
                <a:gd name="connsiteY4" fmla="*/ 409018 h 500760"/>
                <a:gd name="connsiteX5" fmla="*/ 148131 w 309523"/>
                <a:gd name="connsiteY5" fmla="*/ 406528 h 500760"/>
                <a:gd name="connsiteX6" fmla="*/ 138966 w 309523"/>
                <a:gd name="connsiteY6" fmla="*/ 416823 h 500760"/>
                <a:gd name="connsiteX7" fmla="*/ 147372 w 309523"/>
                <a:gd name="connsiteY7" fmla="*/ 425906 h 500760"/>
                <a:gd name="connsiteX8" fmla="*/ 214292 w 309523"/>
                <a:gd name="connsiteY8" fmla="*/ 428505 h 500760"/>
                <a:gd name="connsiteX9" fmla="*/ 212990 w 309523"/>
                <a:gd name="connsiteY9" fmla="*/ 437057 h 500760"/>
                <a:gd name="connsiteX10" fmla="*/ 153771 w 309523"/>
                <a:gd name="connsiteY10" fmla="*/ 481551 h 500760"/>
                <a:gd name="connsiteX11" fmla="*/ 93575 w 309523"/>
                <a:gd name="connsiteY11" fmla="*/ 437165 h 500760"/>
                <a:gd name="connsiteX12" fmla="*/ 93575 w 309523"/>
                <a:gd name="connsiteY12" fmla="*/ 392454 h 500760"/>
                <a:gd name="connsiteX13" fmla="*/ 94768 w 309523"/>
                <a:gd name="connsiteY13" fmla="*/ 372318 h 500760"/>
                <a:gd name="connsiteX14" fmla="*/ 157458 w 309523"/>
                <a:gd name="connsiteY14" fmla="*/ 373509 h 500760"/>
                <a:gd name="connsiteX15" fmla="*/ 158977 w 309523"/>
                <a:gd name="connsiteY15" fmla="*/ 373509 h 500760"/>
                <a:gd name="connsiteX16" fmla="*/ 167198 w 309523"/>
                <a:gd name="connsiteY16" fmla="*/ 362445 h 500760"/>
                <a:gd name="connsiteX17" fmla="*/ 157784 w 309523"/>
                <a:gd name="connsiteY17" fmla="*/ 354131 h 500760"/>
                <a:gd name="connsiteX18" fmla="*/ 94985 w 309523"/>
                <a:gd name="connsiteY18" fmla="*/ 352940 h 500760"/>
                <a:gd name="connsiteX19" fmla="*/ 51601 w 309523"/>
                <a:gd name="connsiteY19" fmla="*/ 237319 h 500760"/>
                <a:gd name="connsiteX20" fmla="*/ 19062 w 309523"/>
                <a:gd name="connsiteY20" fmla="*/ 159805 h 500760"/>
                <a:gd name="connsiteX21" fmla="*/ 135224 w 309523"/>
                <a:gd name="connsiteY21" fmla="*/ 21125 h 500760"/>
                <a:gd name="connsiteX22" fmla="*/ 152253 w 309523"/>
                <a:gd name="connsiteY22" fmla="*/ 19826 h 500760"/>
                <a:gd name="connsiteX23" fmla="*/ 250952 w 309523"/>
                <a:gd name="connsiteY23" fmla="*/ 59882 h 500760"/>
                <a:gd name="connsiteX24" fmla="*/ 290215 w 309523"/>
                <a:gd name="connsiteY24" fmla="*/ 154825 h 500760"/>
                <a:gd name="connsiteX25" fmla="*/ 151927 w 309523"/>
                <a:gd name="connsiteY25" fmla="*/ 340 h 500760"/>
                <a:gd name="connsiteX26" fmla="*/ 38 w 309523"/>
                <a:gd name="connsiteY26" fmla="*/ 158712 h 500760"/>
                <a:gd name="connsiteX27" fmla="*/ 82 w 309523"/>
                <a:gd name="connsiteY27" fmla="*/ 160455 h 500760"/>
                <a:gd name="connsiteX28" fmla="*/ 34898 w 309523"/>
                <a:gd name="connsiteY28" fmla="*/ 247062 h 500760"/>
                <a:gd name="connsiteX29" fmla="*/ 76113 w 309523"/>
                <a:gd name="connsiteY29" fmla="*/ 356621 h 500760"/>
                <a:gd name="connsiteX30" fmla="*/ 74594 w 309523"/>
                <a:gd name="connsiteY30" fmla="*/ 390939 h 500760"/>
                <a:gd name="connsiteX31" fmla="*/ 76547 w 309523"/>
                <a:gd name="connsiteY31" fmla="*/ 445068 h 500760"/>
                <a:gd name="connsiteX32" fmla="*/ 156916 w 309523"/>
                <a:gd name="connsiteY32" fmla="*/ 500605 h 500760"/>
                <a:gd name="connsiteX33" fmla="*/ 231320 w 309523"/>
                <a:gd name="connsiteY33" fmla="*/ 443877 h 500760"/>
                <a:gd name="connsiteX34" fmla="*/ 232622 w 309523"/>
                <a:gd name="connsiteY34" fmla="*/ 376540 h 500760"/>
                <a:gd name="connsiteX35" fmla="*/ 231538 w 309523"/>
                <a:gd name="connsiteY35" fmla="*/ 353806 h 500760"/>
                <a:gd name="connsiteX36" fmla="*/ 273187 w 309523"/>
                <a:gd name="connsiteY36" fmla="*/ 242949 h 500760"/>
                <a:gd name="connsiteX37" fmla="*/ 309521 w 309523"/>
                <a:gd name="connsiteY37" fmla="*/ 154501 h 500760"/>
                <a:gd name="connsiteX38" fmla="*/ 264509 w 309523"/>
                <a:gd name="connsiteY38" fmla="*/ 45700 h 500760"/>
                <a:gd name="connsiteX39" fmla="*/ 152035 w 309523"/>
                <a:gd name="connsiteY39" fmla="*/ 15 h 500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09523" h="500760">
                  <a:moveTo>
                    <a:pt x="289889" y="154717"/>
                  </a:moveTo>
                  <a:cubicBezTo>
                    <a:pt x="289889" y="180158"/>
                    <a:pt x="273729" y="205599"/>
                    <a:pt x="256592" y="232664"/>
                  </a:cubicBezTo>
                  <a:cubicBezTo>
                    <a:pt x="234900" y="266982"/>
                    <a:pt x="210279" y="305955"/>
                    <a:pt x="212014" y="354672"/>
                  </a:cubicBezTo>
                  <a:cubicBezTo>
                    <a:pt x="212014" y="361817"/>
                    <a:pt x="212665" y="369720"/>
                    <a:pt x="213099" y="377839"/>
                  </a:cubicBezTo>
                  <a:cubicBezTo>
                    <a:pt x="213533" y="385959"/>
                    <a:pt x="214184" y="398517"/>
                    <a:pt x="214400" y="409018"/>
                  </a:cubicBezTo>
                  <a:lnTo>
                    <a:pt x="148131" y="406528"/>
                  </a:lnTo>
                  <a:cubicBezTo>
                    <a:pt x="142751" y="406842"/>
                    <a:pt x="138641" y="411454"/>
                    <a:pt x="138966" y="416823"/>
                  </a:cubicBezTo>
                  <a:cubicBezTo>
                    <a:pt x="139237" y="421468"/>
                    <a:pt x="142762" y="425268"/>
                    <a:pt x="147372" y="425906"/>
                  </a:cubicBezTo>
                  <a:lnTo>
                    <a:pt x="214292" y="428505"/>
                  </a:lnTo>
                  <a:cubicBezTo>
                    <a:pt x="214238" y="431406"/>
                    <a:pt x="213804" y="434275"/>
                    <a:pt x="212990" y="437057"/>
                  </a:cubicBezTo>
                  <a:cubicBezTo>
                    <a:pt x="208977" y="446367"/>
                    <a:pt x="166461" y="479711"/>
                    <a:pt x="153771" y="481551"/>
                  </a:cubicBezTo>
                  <a:cubicBezTo>
                    <a:pt x="144769" y="482634"/>
                    <a:pt x="99540" y="451239"/>
                    <a:pt x="93575" y="437165"/>
                  </a:cubicBezTo>
                  <a:cubicBezTo>
                    <a:pt x="91406" y="422345"/>
                    <a:pt x="91406" y="407275"/>
                    <a:pt x="93575" y="392454"/>
                  </a:cubicBezTo>
                  <a:cubicBezTo>
                    <a:pt x="93575" y="385742"/>
                    <a:pt x="94443" y="378922"/>
                    <a:pt x="94768" y="372318"/>
                  </a:cubicBezTo>
                  <a:lnTo>
                    <a:pt x="157458" y="373509"/>
                  </a:lnTo>
                  <a:lnTo>
                    <a:pt x="158977" y="373509"/>
                  </a:lnTo>
                  <a:cubicBezTo>
                    <a:pt x="164313" y="372719"/>
                    <a:pt x="167990" y="367760"/>
                    <a:pt x="167198" y="362445"/>
                  </a:cubicBezTo>
                  <a:cubicBezTo>
                    <a:pt x="166504" y="357757"/>
                    <a:pt x="162535" y="354250"/>
                    <a:pt x="157784" y="354131"/>
                  </a:cubicBezTo>
                  <a:lnTo>
                    <a:pt x="94985" y="352940"/>
                  </a:lnTo>
                  <a:cubicBezTo>
                    <a:pt x="93141" y="308770"/>
                    <a:pt x="70907" y="270771"/>
                    <a:pt x="51601" y="237319"/>
                  </a:cubicBezTo>
                  <a:cubicBezTo>
                    <a:pt x="35440" y="209821"/>
                    <a:pt x="20255" y="183947"/>
                    <a:pt x="19062" y="159805"/>
                  </a:cubicBezTo>
                  <a:cubicBezTo>
                    <a:pt x="16936" y="90866"/>
                    <a:pt x="66872" y="31248"/>
                    <a:pt x="135224" y="21125"/>
                  </a:cubicBezTo>
                  <a:cubicBezTo>
                    <a:pt x="140875" y="20368"/>
                    <a:pt x="146558" y="19935"/>
                    <a:pt x="152253" y="19826"/>
                  </a:cubicBezTo>
                  <a:cubicBezTo>
                    <a:pt x="189237" y="19252"/>
                    <a:pt x="224867" y="33705"/>
                    <a:pt x="250952" y="59882"/>
                  </a:cubicBezTo>
                  <a:cubicBezTo>
                    <a:pt x="276310" y="84966"/>
                    <a:pt x="290464" y="119198"/>
                    <a:pt x="290215" y="154825"/>
                  </a:cubicBezTo>
                  <a:moveTo>
                    <a:pt x="151927" y="340"/>
                  </a:moveTo>
                  <a:cubicBezTo>
                    <a:pt x="66167" y="2202"/>
                    <a:pt x="-1838" y="73111"/>
                    <a:pt x="38" y="158712"/>
                  </a:cubicBezTo>
                  <a:cubicBezTo>
                    <a:pt x="49" y="159297"/>
                    <a:pt x="60" y="159870"/>
                    <a:pt x="82" y="160455"/>
                  </a:cubicBezTo>
                  <a:cubicBezTo>
                    <a:pt x="1058" y="189577"/>
                    <a:pt x="17544" y="217616"/>
                    <a:pt x="34898" y="247062"/>
                  </a:cubicBezTo>
                  <a:cubicBezTo>
                    <a:pt x="54854" y="280947"/>
                    <a:pt x="75462" y="316023"/>
                    <a:pt x="76113" y="356621"/>
                  </a:cubicBezTo>
                  <a:cubicBezTo>
                    <a:pt x="76113" y="366905"/>
                    <a:pt x="75353" y="379138"/>
                    <a:pt x="74594" y="390939"/>
                  </a:cubicBezTo>
                  <a:cubicBezTo>
                    <a:pt x="72967" y="414214"/>
                    <a:pt x="71666" y="434242"/>
                    <a:pt x="76547" y="445068"/>
                  </a:cubicBezTo>
                  <a:cubicBezTo>
                    <a:pt x="84030" y="461415"/>
                    <a:pt x="135007" y="503636"/>
                    <a:pt x="156916" y="500605"/>
                  </a:cubicBezTo>
                  <a:cubicBezTo>
                    <a:pt x="175246" y="497899"/>
                    <a:pt x="225247" y="459792"/>
                    <a:pt x="231320" y="443877"/>
                  </a:cubicBezTo>
                  <a:cubicBezTo>
                    <a:pt x="235225" y="433052"/>
                    <a:pt x="234466" y="411400"/>
                    <a:pt x="232622" y="376540"/>
                  </a:cubicBezTo>
                  <a:cubicBezTo>
                    <a:pt x="232622" y="368637"/>
                    <a:pt x="231863" y="360843"/>
                    <a:pt x="231538" y="353806"/>
                  </a:cubicBezTo>
                  <a:cubicBezTo>
                    <a:pt x="230019" y="311152"/>
                    <a:pt x="251928" y="276401"/>
                    <a:pt x="273187" y="242949"/>
                  </a:cubicBezTo>
                  <a:cubicBezTo>
                    <a:pt x="291842" y="213502"/>
                    <a:pt x="309413" y="185679"/>
                    <a:pt x="309521" y="154501"/>
                  </a:cubicBezTo>
                  <a:cubicBezTo>
                    <a:pt x="309738" y="113676"/>
                    <a:pt x="293523" y="74476"/>
                    <a:pt x="264509" y="45700"/>
                  </a:cubicBezTo>
                  <a:cubicBezTo>
                    <a:pt x="234759" y="15907"/>
                    <a:pt x="194173" y="-570"/>
                    <a:pt x="152035" y="15"/>
                  </a:cubicBezTo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9" name="Freeform 138">
              <a:extLst>
                <a:ext uri="{FF2B5EF4-FFF2-40B4-BE49-F238E27FC236}">
                  <a16:creationId xmlns:a16="http://schemas.microsoft.com/office/drawing/2014/main" id="{EC778A46-9109-1148-A506-16E1755F8042}"/>
                </a:ext>
              </a:extLst>
            </p:cNvPr>
            <p:cNvSpPr/>
            <p:nvPr/>
          </p:nvSpPr>
          <p:spPr>
            <a:xfrm>
              <a:off x="6685352" y="2042610"/>
              <a:ext cx="662656" cy="414932"/>
            </a:xfrm>
            <a:custGeom>
              <a:avLst/>
              <a:gdLst>
                <a:gd name="connsiteX0" fmla="*/ 11979 w 662656"/>
                <a:gd name="connsiteY0" fmla="*/ 414933 h 414932"/>
                <a:gd name="connsiteX1" fmla="*/ 6556 w 662656"/>
                <a:gd name="connsiteY1" fmla="*/ 413634 h 414932"/>
                <a:gd name="connsiteX2" fmla="*/ 1241 w 662656"/>
                <a:gd name="connsiteY2" fmla="*/ 397178 h 414932"/>
                <a:gd name="connsiteX3" fmla="*/ 299293 w 662656"/>
                <a:gd name="connsiteY3" fmla="*/ 120793 h 414932"/>
                <a:gd name="connsiteX4" fmla="*/ 308078 w 662656"/>
                <a:gd name="connsiteY4" fmla="*/ 117762 h 414932"/>
                <a:gd name="connsiteX5" fmla="*/ 316321 w 662656"/>
                <a:gd name="connsiteY5" fmla="*/ 122200 h 414932"/>
                <a:gd name="connsiteX6" fmla="*/ 413936 w 662656"/>
                <a:gd name="connsiteY6" fmla="*/ 243342 h 414932"/>
                <a:gd name="connsiteX7" fmla="*/ 642355 w 662656"/>
                <a:gd name="connsiteY7" fmla="*/ 3548 h 414932"/>
                <a:gd name="connsiteX8" fmla="*/ 658917 w 662656"/>
                <a:gd name="connsiteY8" fmla="*/ 3299 h 414932"/>
                <a:gd name="connsiteX9" fmla="*/ 659167 w 662656"/>
                <a:gd name="connsiteY9" fmla="*/ 3548 h 414932"/>
                <a:gd name="connsiteX10" fmla="*/ 659167 w 662656"/>
                <a:gd name="connsiteY10" fmla="*/ 20653 h 414932"/>
                <a:gd name="connsiteX11" fmla="*/ 421528 w 662656"/>
                <a:gd name="connsiteY11" fmla="*/ 269649 h 414932"/>
                <a:gd name="connsiteX12" fmla="*/ 412418 w 662656"/>
                <a:gd name="connsiteY12" fmla="*/ 273330 h 414932"/>
                <a:gd name="connsiteX13" fmla="*/ 403741 w 662656"/>
                <a:gd name="connsiteY13" fmla="*/ 268891 h 414932"/>
                <a:gd name="connsiteX14" fmla="*/ 305475 w 662656"/>
                <a:gd name="connsiteY14" fmla="*/ 146992 h 414932"/>
                <a:gd name="connsiteX15" fmla="*/ 22175 w 662656"/>
                <a:gd name="connsiteY15" fmla="*/ 408112 h 414932"/>
                <a:gd name="connsiteX16" fmla="*/ 11329 w 662656"/>
                <a:gd name="connsiteY16" fmla="*/ 414716 h 414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62656" h="414932">
                  <a:moveTo>
                    <a:pt x="11979" y="414933"/>
                  </a:moveTo>
                  <a:cubicBezTo>
                    <a:pt x="10092" y="414911"/>
                    <a:pt x="8237" y="414467"/>
                    <a:pt x="6556" y="413634"/>
                  </a:cubicBezTo>
                  <a:cubicBezTo>
                    <a:pt x="677" y="410429"/>
                    <a:pt x="-1654" y="403198"/>
                    <a:pt x="1241" y="397178"/>
                  </a:cubicBezTo>
                  <a:cubicBezTo>
                    <a:pt x="9919" y="379207"/>
                    <a:pt x="212524" y="197873"/>
                    <a:pt x="299293" y="120793"/>
                  </a:cubicBezTo>
                  <a:cubicBezTo>
                    <a:pt x="301690" y="118638"/>
                    <a:pt x="304857" y="117545"/>
                    <a:pt x="308078" y="117762"/>
                  </a:cubicBezTo>
                  <a:cubicBezTo>
                    <a:pt x="311321" y="118043"/>
                    <a:pt x="314304" y="119656"/>
                    <a:pt x="316321" y="122200"/>
                  </a:cubicBezTo>
                  <a:lnTo>
                    <a:pt x="413936" y="243342"/>
                  </a:lnTo>
                  <a:lnTo>
                    <a:pt x="642355" y="3548"/>
                  </a:lnTo>
                  <a:cubicBezTo>
                    <a:pt x="646856" y="-1085"/>
                    <a:pt x="654275" y="-1194"/>
                    <a:pt x="658917" y="3299"/>
                  </a:cubicBezTo>
                  <a:cubicBezTo>
                    <a:pt x="659004" y="3386"/>
                    <a:pt x="659091" y="3462"/>
                    <a:pt x="659167" y="3548"/>
                  </a:cubicBezTo>
                  <a:cubicBezTo>
                    <a:pt x="663820" y="8301"/>
                    <a:pt x="663820" y="15901"/>
                    <a:pt x="659167" y="20653"/>
                  </a:cubicBezTo>
                  <a:lnTo>
                    <a:pt x="421528" y="269649"/>
                  </a:lnTo>
                  <a:cubicBezTo>
                    <a:pt x="419121" y="272074"/>
                    <a:pt x="415834" y="273395"/>
                    <a:pt x="412418" y="273330"/>
                  </a:cubicBezTo>
                  <a:cubicBezTo>
                    <a:pt x="409012" y="273189"/>
                    <a:pt x="405845" y="271565"/>
                    <a:pt x="403741" y="268891"/>
                  </a:cubicBezTo>
                  <a:lnTo>
                    <a:pt x="305475" y="146992"/>
                  </a:lnTo>
                  <a:cubicBezTo>
                    <a:pt x="197014" y="243126"/>
                    <a:pt x="32370" y="392523"/>
                    <a:pt x="22175" y="408112"/>
                  </a:cubicBezTo>
                  <a:cubicBezTo>
                    <a:pt x="20222" y="412291"/>
                    <a:pt x="15949" y="414890"/>
                    <a:pt x="11329" y="414716"/>
                  </a:cubicBezTo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0" name="Freeform 139">
              <a:extLst>
                <a:ext uri="{FF2B5EF4-FFF2-40B4-BE49-F238E27FC236}">
                  <a16:creationId xmlns:a16="http://schemas.microsoft.com/office/drawing/2014/main" id="{89602ED5-EC8F-C447-B469-AD238D2EF00E}"/>
                </a:ext>
              </a:extLst>
            </p:cNvPr>
            <p:cNvSpPr/>
            <p:nvPr/>
          </p:nvSpPr>
          <p:spPr>
            <a:xfrm>
              <a:off x="6670378" y="1780776"/>
              <a:ext cx="768827" cy="712708"/>
            </a:xfrm>
            <a:custGeom>
              <a:avLst/>
              <a:gdLst>
                <a:gd name="connsiteX0" fmla="*/ 754620 w 768827"/>
                <a:gd name="connsiteY0" fmla="*/ 712709 h 712708"/>
                <a:gd name="connsiteX1" fmla="*/ 13939 w 768827"/>
                <a:gd name="connsiteY1" fmla="*/ 712709 h 712708"/>
                <a:gd name="connsiteX2" fmla="*/ 56 w 768827"/>
                <a:gd name="connsiteY2" fmla="*/ 698526 h 712708"/>
                <a:gd name="connsiteX3" fmla="*/ 56 w 768827"/>
                <a:gd name="connsiteY3" fmla="*/ 15195 h 712708"/>
                <a:gd name="connsiteX4" fmla="*/ 12767 w 768827"/>
                <a:gd name="connsiteY4" fmla="*/ 55 h 712708"/>
                <a:gd name="connsiteX5" fmla="*/ 27930 w 768827"/>
                <a:gd name="connsiteY5" fmla="*/ 12739 h 712708"/>
                <a:gd name="connsiteX6" fmla="*/ 27930 w 768827"/>
                <a:gd name="connsiteY6" fmla="*/ 15195 h 712708"/>
                <a:gd name="connsiteX7" fmla="*/ 27930 w 768827"/>
                <a:gd name="connsiteY7" fmla="*/ 684345 h 712708"/>
                <a:gd name="connsiteX8" fmla="*/ 754620 w 768827"/>
                <a:gd name="connsiteY8" fmla="*/ 684345 h 712708"/>
                <a:gd name="connsiteX9" fmla="*/ 768828 w 768827"/>
                <a:gd name="connsiteY9" fmla="*/ 698526 h 712708"/>
                <a:gd name="connsiteX10" fmla="*/ 754620 w 768827"/>
                <a:gd name="connsiteY10" fmla="*/ 712709 h 712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68827" h="712708">
                  <a:moveTo>
                    <a:pt x="754620" y="712709"/>
                  </a:moveTo>
                  <a:lnTo>
                    <a:pt x="13939" y="712709"/>
                  </a:lnTo>
                  <a:cubicBezTo>
                    <a:pt x="6195" y="712589"/>
                    <a:pt x="-10" y="706256"/>
                    <a:pt x="56" y="698526"/>
                  </a:cubicBezTo>
                  <a:lnTo>
                    <a:pt x="56" y="15195"/>
                  </a:lnTo>
                  <a:cubicBezTo>
                    <a:pt x="-628" y="7512"/>
                    <a:pt x="5067" y="734"/>
                    <a:pt x="12767" y="55"/>
                  </a:cubicBezTo>
                  <a:cubicBezTo>
                    <a:pt x="20457" y="-623"/>
                    <a:pt x="27247" y="5055"/>
                    <a:pt x="27930" y="12739"/>
                  </a:cubicBezTo>
                  <a:cubicBezTo>
                    <a:pt x="28006" y="13556"/>
                    <a:pt x="28006" y="14378"/>
                    <a:pt x="27930" y="15195"/>
                  </a:cubicBezTo>
                  <a:lnTo>
                    <a:pt x="27930" y="684345"/>
                  </a:lnTo>
                  <a:lnTo>
                    <a:pt x="754620" y="684345"/>
                  </a:lnTo>
                  <a:cubicBezTo>
                    <a:pt x="762461" y="684345"/>
                    <a:pt x="768828" y="690689"/>
                    <a:pt x="768828" y="698526"/>
                  </a:cubicBezTo>
                  <a:cubicBezTo>
                    <a:pt x="768828" y="706354"/>
                    <a:pt x="762461" y="712709"/>
                    <a:pt x="754620" y="712709"/>
                  </a:cubicBezTo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1" name="Freeform 140">
              <a:extLst>
                <a:ext uri="{FF2B5EF4-FFF2-40B4-BE49-F238E27FC236}">
                  <a16:creationId xmlns:a16="http://schemas.microsoft.com/office/drawing/2014/main" id="{D1F81064-0C00-3C4C-A794-3BD23DC5E651}"/>
                </a:ext>
              </a:extLst>
            </p:cNvPr>
            <p:cNvSpPr/>
            <p:nvPr/>
          </p:nvSpPr>
          <p:spPr>
            <a:xfrm>
              <a:off x="9249442" y="2702477"/>
              <a:ext cx="955361" cy="568524"/>
            </a:xfrm>
            <a:custGeom>
              <a:avLst/>
              <a:gdLst>
                <a:gd name="connsiteX0" fmla="*/ 940879 w 955361"/>
                <a:gd name="connsiteY0" fmla="*/ 18893 h 568524"/>
                <a:gd name="connsiteX1" fmla="*/ 931010 w 955361"/>
                <a:gd name="connsiteY1" fmla="*/ 9907 h 568524"/>
                <a:gd name="connsiteX2" fmla="*/ 940011 w 955361"/>
                <a:gd name="connsiteY2" fmla="*/ 56 h 568524"/>
                <a:gd name="connsiteX3" fmla="*/ 945218 w 955361"/>
                <a:gd name="connsiteY3" fmla="*/ 56 h 568524"/>
                <a:gd name="connsiteX4" fmla="*/ 955272 w 955361"/>
                <a:gd name="connsiteY4" fmla="*/ 8099 h 568524"/>
                <a:gd name="connsiteX5" fmla="*/ 955305 w 955361"/>
                <a:gd name="connsiteY5" fmla="*/ 8500 h 568524"/>
                <a:gd name="connsiteX6" fmla="*/ 947050 w 955361"/>
                <a:gd name="connsiteY6" fmla="*/ 18774 h 568524"/>
                <a:gd name="connsiteX7" fmla="*/ 946953 w 955361"/>
                <a:gd name="connsiteY7" fmla="*/ 18785 h 568524"/>
                <a:gd name="connsiteX8" fmla="*/ 941747 w 955361"/>
                <a:gd name="connsiteY8" fmla="*/ 19326 h 568524"/>
                <a:gd name="connsiteX9" fmla="*/ 940879 w 955361"/>
                <a:gd name="connsiteY9" fmla="*/ 19326 h 568524"/>
                <a:gd name="connsiteX10" fmla="*/ 867126 w 955361"/>
                <a:gd name="connsiteY10" fmla="*/ 28420 h 568524"/>
                <a:gd name="connsiteX11" fmla="*/ 857809 w 955361"/>
                <a:gd name="connsiteY11" fmla="*/ 18882 h 568524"/>
                <a:gd name="connsiteX12" fmla="*/ 865824 w 955361"/>
                <a:gd name="connsiteY12" fmla="*/ 9691 h 568524"/>
                <a:gd name="connsiteX13" fmla="*/ 884371 w 955361"/>
                <a:gd name="connsiteY13" fmla="*/ 6984 h 568524"/>
                <a:gd name="connsiteX14" fmla="*/ 894946 w 955361"/>
                <a:gd name="connsiteY14" fmla="*/ 15158 h 568524"/>
                <a:gd name="connsiteX15" fmla="*/ 886757 w 955361"/>
                <a:gd name="connsiteY15" fmla="*/ 25713 h 568524"/>
                <a:gd name="connsiteX16" fmla="*/ 868536 w 955361"/>
                <a:gd name="connsiteY16" fmla="*/ 28311 h 568524"/>
                <a:gd name="connsiteX17" fmla="*/ 867126 w 955361"/>
                <a:gd name="connsiteY17" fmla="*/ 28311 h 568524"/>
                <a:gd name="connsiteX18" fmla="*/ 794023 w 955361"/>
                <a:gd name="connsiteY18" fmla="*/ 41194 h 568524"/>
                <a:gd name="connsiteX19" fmla="*/ 784912 w 955361"/>
                <a:gd name="connsiteY19" fmla="*/ 33616 h 568524"/>
                <a:gd name="connsiteX20" fmla="*/ 792179 w 955361"/>
                <a:gd name="connsiteY20" fmla="*/ 22790 h 568524"/>
                <a:gd name="connsiteX21" fmla="*/ 810509 w 955361"/>
                <a:gd name="connsiteY21" fmla="*/ 19109 h 568524"/>
                <a:gd name="connsiteX22" fmla="*/ 821572 w 955361"/>
                <a:gd name="connsiteY22" fmla="*/ 26688 h 568524"/>
                <a:gd name="connsiteX23" fmla="*/ 813980 w 955361"/>
                <a:gd name="connsiteY23" fmla="*/ 37730 h 568524"/>
                <a:gd name="connsiteX24" fmla="*/ 795867 w 955361"/>
                <a:gd name="connsiteY24" fmla="*/ 41303 h 568524"/>
                <a:gd name="connsiteX25" fmla="*/ 794023 w 955361"/>
                <a:gd name="connsiteY25" fmla="*/ 41303 h 568524"/>
                <a:gd name="connsiteX26" fmla="*/ 721245 w 955361"/>
                <a:gd name="connsiteY26" fmla="*/ 58191 h 568524"/>
                <a:gd name="connsiteX27" fmla="*/ 711983 w 955361"/>
                <a:gd name="connsiteY27" fmla="*/ 48599 h 568524"/>
                <a:gd name="connsiteX28" fmla="*/ 718968 w 955361"/>
                <a:gd name="connsiteY28" fmla="*/ 39679 h 568524"/>
                <a:gd name="connsiteX29" fmla="*/ 737081 w 955361"/>
                <a:gd name="connsiteY29" fmla="*/ 35024 h 568524"/>
                <a:gd name="connsiteX30" fmla="*/ 747927 w 955361"/>
                <a:gd name="connsiteY30" fmla="*/ 41952 h 568524"/>
                <a:gd name="connsiteX31" fmla="*/ 741094 w 955361"/>
                <a:gd name="connsiteY31" fmla="*/ 52778 h 568524"/>
                <a:gd name="connsiteX32" fmla="*/ 723198 w 955361"/>
                <a:gd name="connsiteY32" fmla="*/ 57325 h 568524"/>
                <a:gd name="connsiteX33" fmla="*/ 720920 w 955361"/>
                <a:gd name="connsiteY33" fmla="*/ 57325 h 568524"/>
                <a:gd name="connsiteX34" fmla="*/ 649553 w 955361"/>
                <a:gd name="connsiteY34" fmla="*/ 78219 h 568524"/>
                <a:gd name="connsiteX35" fmla="*/ 640768 w 955361"/>
                <a:gd name="connsiteY35" fmla="*/ 71723 h 568524"/>
                <a:gd name="connsiteX36" fmla="*/ 646733 w 955361"/>
                <a:gd name="connsiteY36" fmla="*/ 59815 h 568524"/>
                <a:gd name="connsiteX37" fmla="*/ 664629 w 955361"/>
                <a:gd name="connsiteY37" fmla="*/ 54185 h 568524"/>
                <a:gd name="connsiteX38" fmla="*/ 676234 w 955361"/>
                <a:gd name="connsiteY38" fmla="*/ 60454 h 568524"/>
                <a:gd name="connsiteX39" fmla="*/ 676234 w 955361"/>
                <a:gd name="connsiteY39" fmla="*/ 60464 h 568524"/>
                <a:gd name="connsiteX40" fmla="*/ 670052 w 955361"/>
                <a:gd name="connsiteY40" fmla="*/ 72265 h 568524"/>
                <a:gd name="connsiteX41" fmla="*/ 652373 w 955361"/>
                <a:gd name="connsiteY41" fmla="*/ 77786 h 568524"/>
                <a:gd name="connsiteX42" fmla="*/ 649553 w 955361"/>
                <a:gd name="connsiteY42" fmla="*/ 77786 h 568524"/>
                <a:gd name="connsiteX43" fmla="*/ 580246 w 955361"/>
                <a:gd name="connsiteY43" fmla="*/ 103768 h 568524"/>
                <a:gd name="connsiteX44" fmla="*/ 571569 w 955361"/>
                <a:gd name="connsiteY44" fmla="*/ 97705 h 568524"/>
                <a:gd name="connsiteX45" fmla="*/ 576884 w 955361"/>
                <a:gd name="connsiteY45" fmla="*/ 85472 h 568524"/>
                <a:gd name="connsiteX46" fmla="*/ 594346 w 955361"/>
                <a:gd name="connsiteY46" fmla="*/ 78868 h 568524"/>
                <a:gd name="connsiteX47" fmla="*/ 606147 w 955361"/>
                <a:gd name="connsiteY47" fmla="*/ 84032 h 568524"/>
                <a:gd name="connsiteX48" fmla="*/ 606277 w 955361"/>
                <a:gd name="connsiteY48" fmla="*/ 84390 h 568524"/>
                <a:gd name="connsiteX49" fmla="*/ 600745 w 955361"/>
                <a:gd name="connsiteY49" fmla="*/ 96515 h 568524"/>
                <a:gd name="connsiteX50" fmla="*/ 600745 w 955361"/>
                <a:gd name="connsiteY50" fmla="*/ 96515 h 568524"/>
                <a:gd name="connsiteX51" fmla="*/ 583500 w 955361"/>
                <a:gd name="connsiteY51" fmla="*/ 103118 h 568524"/>
                <a:gd name="connsiteX52" fmla="*/ 580246 w 955361"/>
                <a:gd name="connsiteY52" fmla="*/ 103768 h 568524"/>
                <a:gd name="connsiteX53" fmla="*/ 511699 w 955361"/>
                <a:gd name="connsiteY53" fmla="*/ 132890 h 568524"/>
                <a:gd name="connsiteX54" fmla="*/ 503239 w 955361"/>
                <a:gd name="connsiteY54" fmla="*/ 127369 h 568524"/>
                <a:gd name="connsiteX55" fmla="*/ 507903 w 955361"/>
                <a:gd name="connsiteY55" fmla="*/ 114810 h 568524"/>
                <a:gd name="connsiteX56" fmla="*/ 524931 w 955361"/>
                <a:gd name="connsiteY56" fmla="*/ 107124 h 568524"/>
                <a:gd name="connsiteX57" fmla="*/ 536862 w 955361"/>
                <a:gd name="connsiteY57" fmla="*/ 112321 h 568524"/>
                <a:gd name="connsiteX58" fmla="*/ 532089 w 955361"/>
                <a:gd name="connsiteY58" fmla="*/ 124770 h 568524"/>
                <a:gd name="connsiteX59" fmla="*/ 515278 w 955361"/>
                <a:gd name="connsiteY59" fmla="*/ 132349 h 568524"/>
                <a:gd name="connsiteX60" fmla="*/ 511374 w 955361"/>
                <a:gd name="connsiteY60" fmla="*/ 133214 h 568524"/>
                <a:gd name="connsiteX61" fmla="*/ 445212 w 955361"/>
                <a:gd name="connsiteY61" fmla="*/ 166450 h 568524"/>
                <a:gd name="connsiteX62" fmla="*/ 436969 w 955361"/>
                <a:gd name="connsiteY62" fmla="*/ 161362 h 568524"/>
                <a:gd name="connsiteX63" fmla="*/ 440874 w 955361"/>
                <a:gd name="connsiteY63" fmla="*/ 148696 h 568524"/>
                <a:gd name="connsiteX64" fmla="*/ 457468 w 955361"/>
                <a:gd name="connsiteY64" fmla="*/ 139927 h 568524"/>
                <a:gd name="connsiteX65" fmla="*/ 469876 w 955361"/>
                <a:gd name="connsiteY65" fmla="*/ 143921 h 568524"/>
                <a:gd name="connsiteX66" fmla="*/ 469941 w 955361"/>
                <a:gd name="connsiteY66" fmla="*/ 144040 h 568524"/>
                <a:gd name="connsiteX67" fmla="*/ 465820 w 955361"/>
                <a:gd name="connsiteY67" fmla="*/ 156707 h 568524"/>
                <a:gd name="connsiteX68" fmla="*/ 449551 w 955361"/>
                <a:gd name="connsiteY68" fmla="*/ 165259 h 568524"/>
                <a:gd name="connsiteX69" fmla="*/ 445212 w 955361"/>
                <a:gd name="connsiteY69" fmla="*/ 166450 h 568524"/>
                <a:gd name="connsiteX70" fmla="*/ 380135 w 955361"/>
                <a:gd name="connsiteY70" fmla="*/ 203691 h 568524"/>
                <a:gd name="connsiteX71" fmla="*/ 372218 w 955361"/>
                <a:gd name="connsiteY71" fmla="*/ 199144 h 568524"/>
                <a:gd name="connsiteX72" fmla="*/ 375363 w 955361"/>
                <a:gd name="connsiteY72" fmla="*/ 186153 h 568524"/>
                <a:gd name="connsiteX73" fmla="*/ 391416 w 955361"/>
                <a:gd name="connsiteY73" fmla="*/ 176410 h 568524"/>
                <a:gd name="connsiteX74" fmla="*/ 404040 w 955361"/>
                <a:gd name="connsiteY74" fmla="*/ 179658 h 568524"/>
                <a:gd name="connsiteX75" fmla="*/ 404105 w 955361"/>
                <a:gd name="connsiteY75" fmla="*/ 179766 h 568524"/>
                <a:gd name="connsiteX76" fmla="*/ 400852 w 955361"/>
                <a:gd name="connsiteY76" fmla="*/ 192649 h 568524"/>
                <a:gd name="connsiteX77" fmla="*/ 385016 w 955361"/>
                <a:gd name="connsiteY77" fmla="*/ 202284 h 568524"/>
                <a:gd name="connsiteX78" fmla="*/ 380135 w 955361"/>
                <a:gd name="connsiteY78" fmla="*/ 203691 h 568524"/>
                <a:gd name="connsiteX79" fmla="*/ 317987 w 955361"/>
                <a:gd name="connsiteY79" fmla="*/ 244830 h 568524"/>
                <a:gd name="connsiteX80" fmla="*/ 310286 w 955361"/>
                <a:gd name="connsiteY80" fmla="*/ 240824 h 568524"/>
                <a:gd name="connsiteX81" fmla="*/ 312673 w 955361"/>
                <a:gd name="connsiteY81" fmla="*/ 227725 h 568524"/>
                <a:gd name="connsiteX82" fmla="*/ 328074 w 955361"/>
                <a:gd name="connsiteY82" fmla="*/ 216899 h 568524"/>
                <a:gd name="connsiteX83" fmla="*/ 340981 w 955361"/>
                <a:gd name="connsiteY83" fmla="*/ 219497 h 568524"/>
                <a:gd name="connsiteX84" fmla="*/ 338487 w 955361"/>
                <a:gd name="connsiteY84" fmla="*/ 232596 h 568524"/>
                <a:gd name="connsiteX85" fmla="*/ 323193 w 955361"/>
                <a:gd name="connsiteY85" fmla="*/ 243422 h 568524"/>
                <a:gd name="connsiteX86" fmla="*/ 317987 w 955361"/>
                <a:gd name="connsiteY86" fmla="*/ 245155 h 568524"/>
                <a:gd name="connsiteX87" fmla="*/ 258334 w 955361"/>
                <a:gd name="connsiteY87" fmla="*/ 290190 h 568524"/>
                <a:gd name="connsiteX88" fmla="*/ 250958 w 955361"/>
                <a:gd name="connsiteY88" fmla="*/ 286618 h 568524"/>
                <a:gd name="connsiteX89" fmla="*/ 252477 w 955361"/>
                <a:gd name="connsiteY89" fmla="*/ 273302 h 568524"/>
                <a:gd name="connsiteX90" fmla="*/ 267336 w 955361"/>
                <a:gd name="connsiteY90" fmla="*/ 261610 h 568524"/>
                <a:gd name="connsiteX91" fmla="*/ 280123 w 955361"/>
                <a:gd name="connsiteY91" fmla="*/ 263158 h 568524"/>
                <a:gd name="connsiteX92" fmla="*/ 280351 w 955361"/>
                <a:gd name="connsiteY92" fmla="*/ 263450 h 568524"/>
                <a:gd name="connsiteX93" fmla="*/ 278616 w 955361"/>
                <a:gd name="connsiteY93" fmla="*/ 276658 h 568524"/>
                <a:gd name="connsiteX94" fmla="*/ 264082 w 955361"/>
                <a:gd name="connsiteY94" fmla="*/ 288133 h 568524"/>
                <a:gd name="connsiteX95" fmla="*/ 258334 w 955361"/>
                <a:gd name="connsiteY95" fmla="*/ 290190 h 568524"/>
                <a:gd name="connsiteX96" fmla="*/ 201500 w 955361"/>
                <a:gd name="connsiteY96" fmla="*/ 338799 h 568524"/>
                <a:gd name="connsiteX97" fmla="*/ 194558 w 955361"/>
                <a:gd name="connsiteY97" fmla="*/ 335659 h 568524"/>
                <a:gd name="connsiteX98" fmla="*/ 195318 w 955361"/>
                <a:gd name="connsiteY98" fmla="*/ 322343 h 568524"/>
                <a:gd name="connsiteX99" fmla="*/ 209309 w 955361"/>
                <a:gd name="connsiteY99" fmla="*/ 309785 h 568524"/>
                <a:gd name="connsiteX100" fmla="*/ 222324 w 955361"/>
                <a:gd name="connsiteY100" fmla="*/ 310532 h 568524"/>
                <a:gd name="connsiteX101" fmla="*/ 222433 w 955361"/>
                <a:gd name="connsiteY101" fmla="*/ 310651 h 568524"/>
                <a:gd name="connsiteX102" fmla="*/ 221565 w 955361"/>
                <a:gd name="connsiteY102" fmla="*/ 323967 h 568524"/>
                <a:gd name="connsiteX103" fmla="*/ 207682 w 955361"/>
                <a:gd name="connsiteY103" fmla="*/ 336417 h 568524"/>
                <a:gd name="connsiteX104" fmla="*/ 201500 w 955361"/>
                <a:gd name="connsiteY104" fmla="*/ 338799 h 568524"/>
                <a:gd name="connsiteX105" fmla="*/ 147270 w 955361"/>
                <a:gd name="connsiteY105" fmla="*/ 390980 h 568524"/>
                <a:gd name="connsiteX106" fmla="*/ 140761 w 955361"/>
                <a:gd name="connsiteY106" fmla="*/ 388273 h 568524"/>
                <a:gd name="connsiteX107" fmla="*/ 140761 w 955361"/>
                <a:gd name="connsiteY107" fmla="*/ 374957 h 568524"/>
                <a:gd name="connsiteX108" fmla="*/ 153994 w 955361"/>
                <a:gd name="connsiteY108" fmla="*/ 361425 h 568524"/>
                <a:gd name="connsiteX109" fmla="*/ 167031 w 955361"/>
                <a:gd name="connsiteY109" fmla="*/ 361338 h 568524"/>
                <a:gd name="connsiteX110" fmla="*/ 167117 w 955361"/>
                <a:gd name="connsiteY110" fmla="*/ 361425 h 568524"/>
                <a:gd name="connsiteX111" fmla="*/ 167117 w 955361"/>
                <a:gd name="connsiteY111" fmla="*/ 374741 h 568524"/>
                <a:gd name="connsiteX112" fmla="*/ 154103 w 955361"/>
                <a:gd name="connsiteY112" fmla="*/ 388057 h 568524"/>
                <a:gd name="connsiteX113" fmla="*/ 147486 w 955361"/>
                <a:gd name="connsiteY113" fmla="*/ 390871 h 568524"/>
                <a:gd name="connsiteX114" fmla="*/ 97161 w 955361"/>
                <a:gd name="connsiteY114" fmla="*/ 446408 h 568524"/>
                <a:gd name="connsiteX115" fmla="*/ 91087 w 955361"/>
                <a:gd name="connsiteY115" fmla="*/ 444135 h 568524"/>
                <a:gd name="connsiteX116" fmla="*/ 90110 w 955361"/>
                <a:gd name="connsiteY116" fmla="*/ 430927 h 568524"/>
                <a:gd name="connsiteX117" fmla="*/ 102475 w 955361"/>
                <a:gd name="connsiteY117" fmla="*/ 416529 h 568524"/>
                <a:gd name="connsiteX118" fmla="*/ 115479 w 955361"/>
                <a:gd name="connsiteY118" fmla="*/ 415673 h 568524"/>
                <a:gd name="connsiteX119" fmla="*/ 115598 w 955361"/>
                <a:gd name="connsiteY119" fmla="*/ 415771 h 568524"/>
                <a:gd name="connsiteX120" fmla="*/ 116358 w 955361"/>
                <a:gd name="connsiteY120" fmla="*/ 429087 h 568524"/>
                <a:gd name="connsiteX121" fmla="*/ 104210 w 955361"/>
                <a:gd name="connsiteY121" fmla="*/ 443160 h 568524"/>
                <a:gd name="connsiteX122" fmla="*/ 97161 w 955361"/>
                <a:gd name="connsiteY122" fmla="*/ 446408 h 568524"/>
                <a:gd name="connsiteX123" fmla="*/ 50739 w 955361"/>
                <a:gd name="connsiteY123" fmla="*/ 505518 h 568524"/>
                <a:gd name="connsiteX124" fmla="*/ 41498 w 955361"/>
                <a:gd name="connsiteY124" fmla="*/ 495915 h 568524"/>
                <a:gd name="connsiteX125" fmla="*/ 43364 w 955361"/>
                <a:gd name="connsiteY125" fmla="*/ 490470 h 568524"/>
                <a:gd name="connsiteX126" fmla="*/ 54210 w 955361"/>
                <a:gd name="connsiteY126" fmla="*/ 475205 h 568524"/>
                <a:gd name="connsiteX127" fmla="*/ 67117 w 955361"/>
                <a:gd name="connsiteY127" fmla="*/ 473397 h 568524"/>
                <a:gd name="connsiteX128" fmla="*/ 67225 w 955361"/>
                <a:gd name="connsiteY128" fmla="*/ 473473 h 568524"/>
                <a:gd name="connsiteX129" fmla="*/ 68852 w 955361"/>
                <a:gd name="connsiteY129" fmla="*/ 486681 h 568524"/>
                <a:gd name="connsiteX130" fmla="*/ 58006 w 955361"/>
                <a:gd name="connsiteY130" fmla="*/ 501620 h 568524"/>
                <a:gd name="connsiteX131" fmla="*/ 50522 w 955361"/>
                <a:gd name="connsiteY131" fmla="*/ 505518 h 568524"/>
                <a:gd name="connsiteX132" fmla="*/ 9307 w 955361"/>
                <a:gd name="connsiteY132" fmla="*/ 568524 h 568524"/>
                <a:gd name="connsiteX133" fmla="*/ 1 w 955361"/>
                <a:gd name="connsiteY133" fmla="*/ 558976 h 568524"/>
                <a:gd name="connsiteX134" fmla="*/ 1172 w 955361"/>
                <a:gd name="connsiteY134" fmla="*/ 554559 h 568524"/>
                <a:gd name="connsiteX135" fmla="*/ 11151 w 955361"/>
                <a:gd name="connsiteY135" fmla="*/ 537779 h 568524"/>
                <a:gd name="connsiteX136" fmla="*/ 23656 w 955361"/>
                <a:gd name="connsiteY136" fmla="*/ 534672 h 568524"/>
                <a:gd name="connsiteX137" fmla="*/ 23949 w 955361"/>
                <a:gd name="connsiteY137" fmla="*/ 534856 h 568524"/>
                <a:gd name="connsiteX138" fmla="*/ 26769 w 955361"/>
                <a:gd name="connsiteY138" fmla="*/ 547847 h 568524"/>
                <a:gd name="connsiteX139" fmla="*/ 17441 w 955361"/>
                <a:gd name="connsiteY139" fmla="*/ 563653 h 568524"/>
                <a:gd name="connsiteX140" fmla="*/ 9307 w 955361"/>
                <a:gd name="connsiteY140" fmla="*/ 568524 h 56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</a:cxnLst>
              <a:rect l="l" t="t" r="r" b="b"/>
              <a:pathLst>
                <a:path w="955361" h="568524">
                  <a:moveTo>
                    <a:pt x="940879" y="18893"/>
                  </a:moveTo>
                  <a:cubicBezTo>
                    <a:pt x="935673" y="19131"/>
                    <a:pt x="931248" y="15104"/>
                    <a:pt x="931010" y="9907"/>
                  </a:cubicBezTo>
                  <a:cubicBezTo>
                    <a:pt x="930771" y="4711"/>
                    <a:pt x="934805" y="294"/>
                    <a:pt x="940011" y="56"/>
                  </a:cubicBezTo>
                  <a:lnTo>
                    <a:pt x="945218" y="56"/>
                  </a:lnTo>
                  <a:cubicBezTo>
                    <a:pt x="950218" y="-496"/>
                    <a:pt x="954719" y="3109"/>
                    <a:pt x="955272" y="8099"/>
                  </a:cubicBezTo>
                  <a:cubicBezTo>
                    <a:pt x="955283" y="8229"/>
                    <a:pt x="955293" y="8370"/>
                    <a:pt x="955305" y="8500"/>
                  </a:cubicBezTo>
                  <a:cubicBezTo>
                    <a:pt x="955869" y="13610"/>
                    <a:pt x="952181" y="18211"/>
                    <a:pt x="947050" y="18774"/>
                  </a:cubicBezTo>
                  <a:cubicBezTo>
                    <a:pt x="947018" y="18774"/>
                    <a:pt x="946985" y="18785"/>
                    <a:pt x="946953" y="18785"/>
                  </a:cubicBezTo>
                  <a:lnTo>
                    <a:pt x="941747" y="19326"/>
                  </a:lnTo>
                  <a:lnTo>
                    <a:pt x="940879" y="19326"/>
                  </a:lnTo>
                  <a:moveTo>
                    <a:pt x="867126" y="28420"/>
                  </a:moveTo>
                  <a:cubicBezTo>
                    <a:pt x="861919" y="28355"/>
                    <a:pt x="857744" y="24078"/>
                    <a:pt x="857809" y="18882"/>
                  </a:cubicBezTo>
                  <a:cubicBezTo>
                    <a:pt x="857874" y="14270"/>
                    <a:pt x="861258" y="10384"/>
                    <a:pt x="865824" y="9691"/>
                  </a:cubicBezTo>
                  <a:lnTo>
                    <a:pt x="884371" y="6984"/>
                  </a:lnTo>
                  <a:cubicBezTo>
                    <a:pt x="889555" y="6324"/>
                    <a:pt x="894284" y="9983"/>
                    <a:pt x="894946" y="15158"/>
                  </a:cubicBezTo>
                  <a:cubicBezTo>
                    <a:pt x="895607" y="20333"/>
                    <a:pt x="891941" y="25053"/>
                    <a:pt x="886757" y="25713"/>
                  </a:cubicBezTo>
                  <a:lnTo>
                    <a:pt x="868536" y="28311"/>
                  </a:lnTo>
                  <a:lnTo>
                    <a:pt x="867126" y="28311"/>
                  </a:lnTo>
                  <a:moveTo>
                    <a:pt x="794023" y="41194"/>
                  </a:moveTo>
                  <a:cubicBezTo>
                    <a:pt x="789543" y="41216"/>
                    <a:pt x="785704" y="38011"/>
                    <a:pt x="784912" y="33616"/>
                  </a:cubicBezTo>
                  <a:cubicBezTo>
                    <a:pt x="784034" y="28647"/>
                    <a:pt x="787244" y="23873"/>
                    <a:pt x="792179" y="22790"/>
                  </a:cubicBezTo>
                  <a:lnTo>
                    <a:pt x="810509" y="19109"/>
                  </a:lnTo>
                  <a:cubicBezTo>
                    <a:pt x="815661" y="18157"/>
                    <a:pt x="820617" y="21545"/>
                    <a:pt x="821572" y="26688"/>
                  </a:cubicBezTo>
                  <a:cubicBezTo>
                    <a:pt x="822527" y="31830"/>
                    <a:pt x="819132" y="36777"/>
                    <a:pt x="813980" y="37730"/>
                  </a:cubicBezTo>
                  <a:cubicBezTo>
                    <a:pt x="807906" y="38813"/>
                    <a:pt x="801832" y="40004"/>
                    <a:pt x="795867" y="41303"/>
                  </a:cubicBezTo>
                  <a:lnTo>
                    <a:pt x="794023" y="41303"/>
                  </a:lnTo>
                  <a:moveTo>
                    <a:pt x="721245" y="58191"/>
                  </a:moveTo>
                  <a:cubicBezTo>
                    <a:pt x="716040" y="58093"/>
                    <a:pt x="711886" y="53806"/>
                    <a:pt x="711983" y="48599"/>
                  </a:cubicBezTo>
                  <a:cubicBezTo>
                    <a:pt x="712059" y="44410"/>
                    <a:pt x="714912" y="40772"/>
                    <a:pt x="718968" y="39679"/>
                  </a:cubicBezTo>
                  <a:lnTo>
                    <a:pt x="737081" y="35024"/>
                  </a:lnTo>
                  <a:cubicBezTo>
                    <a:pt x="741983" y="34017"/>
                    <a:pt x="746799" y="37091"/>
                    <a:pt x="747927" y="41952"/>
                  </a:cubicBezTo>
                  <a:cubicBezTo>
                    <a:pt x="748827" y="46791"/>
                    <a:pt x="745855" y="51501"/>
                    <a:pt x="741094" y="52778"/>
                  </a:cubicBezTo>
                  <a:lnTo>
                    <a:pt x="723198" y="57325"/>
                  </a:lnTo>
                  <a:cubicBezTo>
                    <a:pt x="722438" y="57433"/>
                    <a:pt x="721679" y="57433"/>
                    <a:pt x="720920" y="57325"/>
                  </a:cubicBezTo>
                  <a:moveTo>
                    <a:pt x="649553" y="78219"/>
                  </a:moveTo>
                  <a:cubicBezTo>
                    <a:pt x="645518" y="78208"/>
                    <a:pt x="641960" y="75577"/>
                    <a:pt x="640768" y="71723"/>
                  </a:cubicBezTo>
                  <a:cubicBezTo>
                    <a:pt x="639119" y="66787"/>
                    <a:pt x="641787" y="61460"/>
                    <a:pt x="646733" y="59815"/>
                  </a:cubicBezTo>
                  <a:lnTo>
                    <a:pt x="664629" y="54185"/>
                  </a:lnTo>
                  <a:cubicBezTo>
                    <a:pt x="669564" y="52713"/>
                    <a:pt x="674759" y="55528"/>
                    <a:pt x="676234" y="60454"/>
                  </a:cubicBezTo>
                  <a:cubicBezTo>
                    <a:pt x="676234" y="60454"/>
                    <a:pt x="676234" y="60464"/>
                    <a:pt x="676234" y="60464"/>
                  </a:cubicBezTo>
                  <a:cubicBezTo>
                    <a:pt x="677731" y="65423"/>
                    <a:pt x="674987" y="70662"/>
                    <a:pt x="670052" y="72265"/>
                  </a:cubicBezTo>
                  <a:lnTo>
                    <a:pt x="652373" y="77786"/>
                  </a:lnTo>
                  <a:cubicBezTo>
                    <a:pt x="651440" y="77948"/>
                    <a:pt x="650486" y="77948"/>
                    <a:pt x="649553" y="77786"/>
                  </a:cubicBezTo>
                  <a:moveTo>
                    <a:pt x="580246" y="103768"/>
                  </a:moveTo>
                  <a:cubicBezTo>
                    <a:pt x="576374" y="103746"/>
                    <a:pt x="572925" y="101332"/>
                    <a:pt x="571569" y="97705"/>
                  </a:cubicBezTo>
                  <a:cubicBezTo>
                    <a:pt x="569714" y="92866"/>
                    <a:pt x="572068" y="87432"/>
                    <a:pt x="576884" y="85472"/>
                  </a:cubicBezTo>
                  <a:lnTo>
                    <a:pt x="594346" y="78868"/>
                  </a:lnTo>
                  <a:cubicBezTo>
                    <a:pt x="599031" y="77039"/>
                    <a:pt x="604314" y="79356"/>
                    <a:pt x="606147" y="84032"/>
                  </a:cubicBezTo>
                  <a:cubicBezTo>
                    <a:pt x="606190" y="84151"/>
                    <a:pt x="606233" y="84271"/>
                    <a:pt x="606277" y="84390"/>
                  </a:cubicBezTo>
                  <a:cubicBezTo>
                    <a:pt x="608109" y="89261"/>
                    <a:pt x="605626" y="94685"/>
                    <a:pt x="600745" y="96515"/>
                  </a:cubicBezTo>
                  <a:cubicBezTo>
                    <a:pt x="600745" y="96515"/>
                    <a:pt x="600745" y="96515"/>
                    <a:pt x="600745" y="96515"/>
                  </a:cubicBezTo>
                  <a:lnTo>
                    <a:pt x="583500" y="103118"/>
                  </a:lnTo>
                  <a:cubicBezTo>
                    <a:pt x="582470" y="103541"/>
                    <a:pt x="581364" y="103757"/>
                    <a:pt x="580246" y="103768"/>
                  </a:cubicBezTo>
                  <a:moveTo>
                    <a:pt x="511699" y="132890"/>
                  </a:moveTo>
                  <a:cubicBezTo>
                    <a:pt x="508044" y="132836"/>
                    <a:pt x="504746" y="130692"/>
                    <a:pt x="503239" y="127369"/>
                  </a:cubicBezTo>
                  <a:cubicBezTo>
                    <a:pt x="501145" y="122616"/>
                    <a:pt x="503206" y="117062"/>
                    <a:pt x="507903" y="114810"/>
                  </a:cubicBezTo>
                  <a:lnTo>
                    <a:pt x="524931" y="107124"/>
                  </a:lnTo>
                  <a:cubicBezTo>
                    <a:pt x="529660" y="105284"/>
                    <a:pt x="534996" y="107600"/>
                    <a:pt x="536862" y="112321"/>
                  </a:cubicBezTo>
                  <a:cubicBezTo>
                    <a:pt x="538933" y="117073"/>
                    <a:pt x="536807" y="122605"/>
                    <a:pt x="532089" y="124770"/>
                  </a:cubicBezTo>
                  <a:lnTo>
                    <a:pt x="515278" y="132349"/>
                  </a:lnTo>
                  <a:cubicBezTo>
                    <a:pt x="514041" y="132890"/>
                    <a:pt x="512718" y="133182"/>
                    <a:pt x="511374" y="133214"/>
                  </a:cubicBezTo>
                  <a:moveTo>
                    <a:pt x="445212" y="166450"/>
                  </a:moveTo>
                  <a:cubicBezTo>
                    <a:pt x="441720" y="166450"/>
                    <a:pt x="438531" y="164480"/>
                    <a:pt x="436969" y="161362"/>
                  </a:cubicBezTo>
                  <a:cubicBezTo>
                    <a:pt x="434572" y="156782"/>
                    <a:pt x="436307" y="151131"/>
                    <a:pt x="440874" y="148696"/>
                  </a:cubicBezTo>
                  <a:cubicBezTo>
                    <a:pt x="446297" y="145664"/>
                    <a:pt x="451828" y="142741"/>
                    <a:pt x="457468" y="139927"/>
                  </a:cubicBezTo>
                  <a:cubicBezTo>
                    <a:pt x="462002" y="137610"/>
                    <a:pt x="467555" y="139396"/>
                    <a:pt x="469876" y="143921"/>
                  </a:cubicBezTo>
                  <a:cubicBezTo>
                    <a:pt x="469898" y="143954"/>
                    <a:pt x="469919" y="143997"/>
                    <a:pt x="469941" y="144040"/>
                  </a:cubicBezTo>
                  <a:cubicBezTo>
                    <a:pt x="472240" y="148674"/>
                    <a:pt x="470419" y="154303"/>
                    <a:pt x="465820" y="156707"/>
                  </a:cubicBezTo>
                  <a:lnTo>
                    <a:pt x="449551" y="165259"/>
                  </a:lnTo>
                  <a:cubicBezTo>
                    <a:pt x="448227" y="166006"/>
                    <a:pt x="446730" y="166418"/>
                    <a:pt x="445212" y="166450"/>
                  </a:cubicBezTo>
                  <a:moveTo>
                    <a:pt x="380135" y="203691"/>
                  </a:moveTo>
                  <a:cubicBezTo>
                    <a:pt x="376881" y="203680"/>
                    <a:pt x="373866" y="201948"/>
                    <a:pt x="372218" y="199144"/>
                  </a:cubicBezTo>
                  <a:cubicBezTo>
                    <a:pt x="369539" y="194684"/>
                    <a:pt x="370938" y="188903"/>
                    <a:pt x="375363" y="186153"/>
                  </a:cubicBezTo>
                  <a:lnTo>
                    <a:pt x="391416" y="176410"/>
                  </a:lnTo>
                  <a:cubicBezTo>
                    <a:pt x="395797" y="173823"/>
                    <a:pt x="401448" y="175284"/>
                    <a:pt x="404040" y="179658"/>
                  </a:cubicBezTo>
                  <a:cubicBezTo>
                    <a:pt x="404062" y="179690"/>
                    <a:pt x="404083" y="179734"/>
                    <a:pt x="404105" y="179766"/>
                  </a:cubicBezTo>
                  <a:cubicBezTo>
                    <a:pt x="406698" y="184226"/>
                    <a:pt x="405255" y="189942"/>
                    <a:pt x="400852" y="192649"/>
                  </a:cubicBezTo>
                  <a:lnTo>
                    <a:pt x="385016" y="202284"/>
                  </a:lnTo>
                  <a:cubicBezTo>
                    <a:pt x="383563" y="203226"/>
                    <a:pt x="381871" y="203713"/>
                    <a:pt x="380135" y="203691"/>
                  </a:cubicBezTo>
                  <a:moveTo>
                    <a:pt x="317987" y="244830"/>
                  </a:moveTo>
                  <a:cubicBezTo>
                    <a:pt x="314918" y="244840"/>
                    <a:pt x="312033" y="243347"/>
                    <a:pt x="310286" y="240824"/>
                  </a:cubicBezTo>
                  <a:cubicBezTo>
                    <a:pt x="307391" y="236537"/>
                    <a:pt x="308443" y="230723"/>
                    <a:pt x="312673" y="227725"/>
                  </a:cubicBezTo>
                  <a:cubicBezTo>
                    <a:pt x="317661" y="224044"/>
                    <a:pt x="322868" y="220471"/>
                    <a:pt x="328074" y="216899"/>
                  </a:cubicBezTo>
                  <a:cubicBezTo>
                    <a:pt x="332358" y="214073"/>
                    <a:pt x="338128" y="215232"/>
                    <a:pt x="340981" y="219497"/>
                  </a:cubicBezTo>
                  <a:cubicBezTo>
                    <a:pt x="343801" y="223827"/>
                    <a:pt x="342695" y="229598"/>
                    <a:pt x="338487" y="232596"/>
                  </a:cubicBezTo>
                  <a:cubicBezTo>
                    <a:pt x="333280" y="236061"/>
                    <a:pt x="328291" y="239633"/>
                    <a:pt x="323193" y="243422"/>
                  </a:cubicBezTo>
                  <a:cubicBezTo>
                    <a:pt x="321686" y="244537"/>
                    <a:pt x="319863" y="245144"/>
                    <a:pt x="317987" y="245155"/>
                  </a:cubicBezTo>
                  <a:moveTo>
                    <a:pt x="258334" y="290190"/>
                  </a:moveTo>
                  <a:cubicBezTo>
                    <a:pt x="255459" y="290169"/>
                    <a:pt x="252748" y="288859"/>
                    <a:pt x="250958" y="286618"/>
                  </a:cubicBezTo>
                  <a:cubicBezTo>
                    <a:pt x="247780" y="282493"/>
                    <a:pt x="248453" y="276604"/>
                    <a:pt x="252477" y="273302"/>
                  </a:cubicBezTo>
                  <a:lnTo>
                    <a:pt x="267336" y="261610"/>
                  </a:lnTo>
                  <a:cubicBezTo>
                    <a:pt x="271295" y="258514"/>
                    <a:pt x="277022" y="259206"/>
                    <a:pt x="280123" y="263158"/>
                  </a:cubicBezTo>
                  <a:cubicBezTo>
                    <a:pt x="280199" y="263255"/>
                    <a:pt x="280275" y="263353"/>
                    <a:pt x="280351" y="263450"/>
                  </a:cubicBezTo>
                  <a:cubicBezTo>
                    <a:pt x="283410" y="267607"/>
                    <a:pt x="282639" y="273432"/>
                    <a:pt x="278616" y="276658"/>
                  </a:cubicBezTo>
                  <a:cubicBezTo>
                    <a:pt x="273626" y="280447"/>
                    <a:pt x="268854" y="284236"/>
                    <a:pt x="264082" y="288133"/>
                  </a:cubicBezTo>
                  <a:cubicBezTo>
                    <a:pt x="262433" y="289411"/>
                    <a:pt x="260416" y="290136"/>
                    <a:pt x="258334" y="290190"/>
                  </a:cubicBezTo>
                  <a:moveTo>
                    <a:pt x="201500" y="338799"/>
                  </a:moveTo>
                  <a:cubicBezTo>
                    <a:pt x="198843" y="338799"/>
                    <a:pt x="196315" y="337651"/>
                    <a:pt x="194558" y="335659"/>
                  </a:cubicBezTo>
                  <a:cubicBezTo>
                    <a:pt x="191196" y="331740"/>
                    <a:pt x="191532" y="325862"/>
                    <a:pt x="195318" y="322343"/>
                  </a:cubicBezTo>
                  <a:cubicBezTo>
                    <a:pt x="199873" y="318121"/>
                    <a:pt x="204537" y="314007"/>
                    <a:pt x="209309" y="309785"/>
                  </a:cubicBezTo>
                  <a:cubicBezTo>
                    <a:pt x="213105" y="306407"/>
                    <a:pt x="218940" y="306732"/>
                    <a:pt x="222324" y="310532"/>
                  </a:cubicBezTo>
                  <a:cubicBezTo>
                    <a:pt x="222357" y="310565"/>
                    <a:pt x="222401" y="310608"/>
                    <a:pt x="222433" y="310651"/>
                  </a:cubicBezTo>
                  <a:cubicBezTo>
                    <a:pt x="225773" y="314603"/>
                    <a:pt x="225383" y="320481"/>
                    <a:pt x="221565" y="323967"/>
                  </a:cubicBezTo>
                  <a:cubicBezTo>
                    <a:pt x="216793" y="328081"/>
                    <a:pt x="212238" y="332303"/>
                    <a:pt x="207682" y="336417"/>
                  </a:cubicBezTo>
                  <a:cubicBezTo>
                    <a:pt x="206001" y="337965"/>
                    <a:pt x="203789" y="338820"/>
                    <a:pt x="201500" y="338799"/>
                  </a:cubicBezTo>
                  <a:moveTo>
                    <a:pt x="147270" y="390980"/>
                  </a:moveTo>
                  <a:cubicBezTo>
                    <a:pt x="144818" y="391001"/>
                    <a:pt x="142475" y="390016"/>
                    <a:pt x="140761" y="388273"/>
                  </a:cubicBezTo>
                  <a:cubicBezTo>
                    <a:pt x="137139" y="384571"/>
                    <a:pt x="137139" y="378660"/>
                    <a:pt x="140761" y="374957"/>
                  </a:cubicBezTo>
                  <a:cubicBezTo>
                    <a:pt x="144992" y="370519"/>
                    <a:pt x="149439" y="365972"/>
                    <a:pt x="153994" y="361425"/>
                  </a:cubicBezTo>
                  <a:cubicBezTo>
                    <a:pt x="157573" y="357809"/>
                    <a:pt x="163408" y="357766"/>
                    <a:pt x="167031" y="361338"/>
                  </a:cubicBezTo>
                  <a:cubicBezTo>
                    <a:pt x="167064" y="361371"/>
                    <a:pt x="167085" y="361392"/>
                    <a:pt x="167117" y="361425"/>
                  </a:cubicBezTo>
                  <a:cubicBezTo>
                    <a:pt x="170741" y="365127"/>
                    <a:pt x="170741" y="371038"/>
                    <a:pt x="167117" y="374741"/>
                  </a:cubicBezTo>
                  <a:cubicBezTo>
                    <a:pt x="162638" y="379212"/>
                    <a:pt x="158300" y="383650"/>
                    <a:pt x="154103" y="388057"/>
                  </a:cubicBezTo>
                  <a:cubicBezTo>
                    <a:pt x="152356" y="389832"/>
                    <a:pt x="149981" y="390839"/>
                    <a:pt x="147486" y="390871"/>
                  </a:cubicBezTo>
                  <a:moveTo>
                    <a:pt x="97161" y="446408"/>
                  </a:moveTo>
                  <a:cubicBezTo>
                    <a:pt x="94915" y="446462"/>
                    <a:pt x="92735" y="445650"/>
                    <a:pt x="91087" y="444135"/>
                  </a:cubicBezTo>
                  <a:cubicBezTo>
                    <a:pt x="87193" y="440746"/>
                    <a:pt x="86759" y="434857"/>
                    <a:pt x="90110" y="430927"/>
                  </a:cubicBezTo>
                  <a:lnTo>
                    <a:pt x="102475" y="416529"/>
                  </a:lnTo>
                  <a:cubicBezTo>
                    <a:pt x="105826" y="412707"/>
                    <a:pt x="111651" y="412317"/>
                    <a:pt x="115479" y="415673"/>
                  </a:cubicBezTo>
                  <a:cubicBezTo>
                    <a:pt x="115523" y="415706"/>
                    <a:pt x="115566" y="415738"/>
                    <a:pt x="115598" y="415771"/>
                  </a:cubicBezTo>
                  <a:cubicBezTo>
                    <a:pt x="119384" y="419289"/>
                    <a:pt x="119720" y="425157"/>
                    <a:pt x="116358" y="429087"/>
                  </a:cubicBezTo>
                  <a:cubicBezTo>
                    <a:pt x="112128" y="433850"/>
                    <a:pt x="108115" y="438505"/>
                    <a:pt x="104210" y="443160"/>
                  </a:cubicBezTo>
                  <a:cubicBezTo>
                    <a:pt x="102453" y="445228"/>
                    <a:pt x="99872" y="446419"/>
                    <a:pt x="97161" y="446408"/>
                  </a:cubicBezTo>
                  <a:moveTo>
                    <a:pt x="50739" y="505518"/>
                  </a:moveTo>
                  <a:cubicBezTo>
                    <a:pt x="45533" y="505409"/>
                    <a:pt x="41390" y="501111"/>
                    <a:pt x="41498" y="495915"/>
                  </a:cubicBezTo>
                  <a:cubicBezTo>
                    <a:pt x="41531" y="493945"/>
                    <a:pt x="42181" y="492050"/>
                    <a:pt x="43364" y="490470"/>
                  </a:cubicBezTo>
                  <a:cubicBezTo>
                    <a:pt x="46834" y="485598"/>
                    <a:pt x="50630" y="480510"/>
                    <a:pt x="54210" y="475205"/>
                  </a:cubicBezTo>
                  <a:cubicBezTo>
                    <a:pt x="57268" y="471145"/>
                    <a:pt x="63049" y="470334"/>
                    <a:pt x="67117" y="473397"/>
                  </a:cubicBezTo>
                  <a:cubicBezTo>
                    <a:pt x="67160" y="473419"/>
                    <a:pt x="67193" y="473451"/>
                    <a:pt x="67225" y="473473"/>
                  </a:cubicBezTo>
                  <a:cubicBezTo>
                    <a:pt x="71271" y="476710"/>
                    <a:pt x="71986" y="482567"/>
                    <a:pt x="68852" y="486681"/>
                  </a:cubicBezTo>
                  <a:lnTo>
                    <a:pt x="58006" y="501620"/>
                  </a:lnTo>
                  <a:cubicBezTo>
                    <a:pt x="56292" y="504045"/>
                    <a:pt x="53505" y="505507"/>
                    <a:pt x="50522" y="505518"/>
                  </a:cubicBezTo>
                  <a:moveTo>
                    <a:pt x="9307" y="568524"/>
                  </a:moveTo>
                  <a:cubicBezTo>
                    <a:pt x="4101" y="568449"/>
                    <a:pt x="-75" y="564183"/>
                    <a:pt x="1" y="558976"/>
                  </a:cubicBezTo>
                  <a:cubicBezTo>
                    <a:pt x="23" y="557428"/>
                    <a:pt x="424" y="555912"/>
                    <a:pt x="1172" y="554559"/>
                  </a:cubicBezTo>
                  <a:cubicBezTo>
                    <a:pt x="1172" y="554559"/>
                    <a:pt x="4426" y="548496"/>
                    <a:pt x="11151" y="537779"/>
                  </a:cubicBezTo>
                  <a:cubicBezTo>
                    <a:pt x="13743" y="533470"/>
                    <a:pt x="19339" y="532084"/>
                    <a:pt x="23656" y="534672"/>
                  </a:cubicBezTo>
                  <a:cubicBezTo>
                    <a:pt x="23754" y="534726"/>
                    <a:pt x="23851" y="534791"/>
                    <a:pt x="23949" y="534856"/>
                  </a:cubicBezTo>
                  <a:cubicBezTo>
                    <a:pt x="28309" y="537671"/>
                    <a:pt x="29578" y="543484"/>
                    <a:pt x="26769" y="547847"/>
                  </a:cubicBezTo>
                  <a:cubicBezTo>
                    <a:pt x="20587" y="557807"/>
                    <a:pt x="17550" y="563436"/>
                    <a:pt x="17441" y="563653"/>
                  </a:cubicBezTo>
                  <a:cubicBezTo>
                    <a:pt x="15793" y="566598"/>
                    <a:pt x="12691" y="568460"/>
                    <a:pt x="9307" y="568524"/>
                  </a:cubicBezTo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2" name="Freeform 141">
              <a:extLst>
                <a:ext uri="{FF2B5EF4-FFF2-40B4-BE49-F238E27FC236}">
                  <a16:creationId xmlns:a16="http://schemas.microsoft.com/office/drawing/2014/main" id="{C4B8F596-800F-0B4D-9148-D13D10921D9F}"/>
                </a:ext>
              </a:extLst>
            </p:cNvPr>
            <p:cNvSpPr/>
            <p:nvPr/>
          </p:nvSpPr>
          <p:spPr>
            <a:xfrm>
              <a:off x="9064482" y="1651337"/>
              <a:ext cx="972149" cy="896493"/>
            </a:xfrm>
            <a:custGeom>
              <a:avLst/>
              <a:gdLst>
                <a:gd name="connsiteX0" fmla="*/ 319431 w 972149"/>
                <a:gd name="connsiteY0" fmla="*/ 774919 h 896493"/>
                <a:gd name="connsiteX1" fmla="*/ 331361 w 972149"/>
                <a:gd name="connsiteY1" fmla="*/ 781847 h 896493"/>
                <a:gd name="connsiteX2" fmla="*/ 413791 w 972149"/>
                <a:gd name="connsiteY2" fmla="*/ 854706 h 896493"/>
                <a:gd name="connsiteX3" fmla="*/ 605768 w 972149"/>
                <a:gd name="connsiteY3" fmla="*/ 804365 h 896493"/>
                <a:gd name="connsiteX4" fmla="*/ 616614 w 972149"/>
                <a:gd name="connsiteY4" fmla="*/ 799277 h 896493"/>
                <a:gd name="connsiteX5" fmla="*/ 622254 w 972149"/>
                <a:gd name="connsiteY5" fmla="*/ 799277 h 896493"/>
                <a:gd name="connsiteX6" fmla="*/ 793839 w 972149"/>
                <a:gd name="connsiteY6" fmla="*/ 615237 h 896493"/>
                <a:gd name="connsiteX7" fmla="*/ 793189 w 972149"/>
                <a:gd name="connsiteY7" fmla="*/ 598890 h 896493"/>
                <a:gd name="connsiteX8" fmla="*/ 804035 w 972149"/>
                <a:gd name="connsiteY8" fmla="*/ 583842 h 896493"/>
                <a:gd name="connsiteX9" fmla="*/ 944166 w 972149"/>
                <a:gd name="connsiteY9" fmla="*/ 403482 h 896493"/>
                <a:gd name="connsiteX10" fmla="*/ 784512 w 972149"/>
                <a:gd name="connsiteY10" fmla="*/ 220091 h 896493"/>
                <a:gd name="connsiteX11" fmla="*/ 771605 w 972149"/>
                <a:gd name="connsiteY11" fmla="*/ 206342 h 896493"/>
                <a:gd name="connsiteX12" fmla="*/ 600128 w 972149"/>
                <a:gd name="connsiteY12" fmla="*/ 27606 h 896493"/>
                <a:gd name="connsiteX13" fmla="*/ 499802 w 972149"/>
                <a:gd name="connsiteY13" fmla="*/ 62249 h 896493"/>
                <a:gd name="connsiteX14" fmla="*/ 482881 w 972149"/>
                <a:gd name="connsiteY14" fmla="*/ 62249 h 896493"/>
                <a:gd name="connsiteX15" fmla="*/ 382663 w 972149"/>
                <a:gd name="connsiteY15" fmla="*/ 27606 h 896493"/>
                <a:gd name="connsiteX16" fmla="*/ 211186 w 972149"/>
                <a:gd name="connsiteY16" fmla="*/ 205909 h 896493"/>
                <a:gd name="connsiteX17" fmla="*/ 197412 w 972149"/>
                <a:gd name="connsiteY17" fmla="*/ 219658 h 896493"/>
                <a:gd name="connsiteX18" fmla="*/ 27344 w 972149"/>
                <a:gd name="connsiteY18" fmla="*/ 403698 h 896493"/>
                <a:gd name="connsiteX19" fmla="*/ 128322 w 972149"/>
                <a:gd name="connsiteY19" fmla="*/ 571283 h 896493"/>
                <a:gd name="connsiteX20" fmla="*/ 136240 w 972149"/>
                <a:gd name="connsiteY20" fmla="*/ 584491 h 896493"/>
                <a:gd name="connsiteX21" fmla="*/ 136240 w 972149"/>
                <a:gd name="connsiteY21" fmla="*/ 591744 h 896493"/>
                <a:gd name="connsiteX22" fmla="*/ 307934 w 972149"/>
                <a:gd name="connsiteY22" fmla="*/ 775785 h 896493"/>
                <a:gd name="connsiteX23" fmla="*/ 318780 w 972149"/>
                <a:gd name="connsiteY23" fmla="*/ 775785 h 896493"/>
                <a:gd name="connsiteX24" fmla="*/ 319756 w 972149"/>
                <a:gd name="connsiteY24" fmla="*/ 775785 h 896493"/>
                <a:gd name="connsiteX25" fmla="*/ 476482 w 972149"/>
                <a:gd name="connsiteY25" fmla="*/ 896494 h 896493"/>
                <a:gd name="connsiteX26" fmla="*/ 403380 w 972149"/>
                <a:gd name="connsiteY26" fmla="*/ 881771 h 896493"/>
                <a:gd name="connsiteX27" fmla="*/ 312272 w 972149"/>
                <a:gd name="connsiteY27" fmla="*/ 804474 h 896493"/>
                <a:gd name="connsiteX28" fmla="*/ 308042 w 972149"/>
                <a:gd name="connsiteY28" fmla="*/ 804474 h 896493"/>
                <a:gd name="connsiteX29" fmla="*/ 108474 w 972149"/>
                <a:gd name="connsiteY29" fmla="*/ 593152 h 896493"/>
                <a:gd name="connsiteX30" fmla="*/ 13 w 972149"/>
                <a:gd name="connsiteY30" fmla="*/ 404240 h 896493"/>
                <a:gd name="connsiteX31" fmla="*/ 184397 w 972149"/>
                <a:gd name="connsiteY31" fmla="*/ 192701 h 896493"/>
                <a:gd name="connsiteX32" fmla="*/ 382989 w 972149"/>
                <a:gd name="connsiteY32" fmla="*/ 0 h 896493"/>
                <a:gd name="connsiteX33" fmla="*/ 491450 w 972149"/>
                <a:gd name="connsiteY33" fmla="*/ 34318 h 896493"/>
                <a:gd name="connsiteX34" fmla="*/ 599911 w 972149"/>
                <a:gd name="connsiteY34" fmla="*/ 0 h 896493"/>
                <a:gd name="connsiteX35" fmla="*/ 798612 w 972149"/>
                <a:gd name="connsiteY35" fmla="*/ 194000 h 896493"/>
                <a:gd name="connsiteX36" fmla="*/ 972150 w 972149"/>
                <a:gd name="connsiteY36" fmla="*/ 404240 h 896493"/>
                <a:gd name="connsiteX37" fmla="*/ 822039 w 972149"/>
                <a:gd name="connsiteY37" fmla="*/ 609932 h 896493"/>
                <a:gd name="connsiteX38" fmla="*/ 822039 w 972149"/>
                <a:gd name="connsiteY38" fmla="*/ 616319 h 896493"/>
                <a:gd name="connsiteX39" fmla="*/ 622796 w 972149"/>
                <a:gd name="connsiteY39" fmla="*/ 828507 h 896493"/>
                <a:gd name="connsiteX40" fmla="*/ 476157 w 972149"/>
                <a:gd name="connsiteY40" fmla="*/ 896494 h 896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972149" h="896493">
                  <a:moveTo>
                    <a:pt x="319431" y="774919"/>
                  </a:moveTo>
                  <a:cubicBezTo>
                    <a:pt x="324365" y="774930"/>
                    <a:pt x="328910" y="777571"/>
                    <a:pt x="331361" y="781847"/>
                  </a:cubicBezTo>
                  <a:cubicBezTo>
                    <a:pt x="350190" y="814423"/>
                    <a:pt x="379117" y="839993"/>
                    <a:pt x="413791" y="854706"/>
                  </a:cubicBezTo>
                  <a:cubicBezTo>
                    <a:pt x="481851" y="882756"/>
                    <a:pt x="560301" y="862187"/>
                    <a:pt x="605768" y="804365"/>
                  </a:cubicBezTo>
                  <a:cubicBezTo>
                    <a:pt x="608360" y="801042"/>
                    <a:pt x="612395" y="799147"/>
                    <a:pt x="616614" y="799277"/>
                  </a:cubicBezTo>
                  <a:lnTo>
                    <a:pt x="622254" y="799277"/>
                  </a:lnTo>
                  <a:cubicBezTo>
                    <a:pt x="716832" y="799277"/>
                    <a:pt x="793839" y="716784"/>
                    <a:pt x="793839" y="615237"/>
                  </a:cubicBezTo>
                  <a:cubicBezTo>
                    <a:pt x="793839" y="610040"/>
                    <a:pt x="793839" y="604411"/>
                    <a:pt x="793189" y="598890"/>
                  </a:cubicBezTo>
                  <a:cubicBezTo>
                    <a:pt x="792516" y="591874"/>
                    <a:pt x="797147" y="585433"/>
                    <a:pt x="804035" y="583842"/>
                  </a:cubicBezTo>
                  <a:cubicBezTo>
                    <a:pt x="885489" y="568036"/>
                    <a:pt x="944166" y="492254"/>
                    <a:pt x="944166" y="403482"/>
                  </a:cubicBezTo>
                  <a:cubicBezTo>
                    <a:pt x="944166" y="307239"/>
                    <a:pt x="873992" y="226695"/>
                    <a:pt x="784512" y="220091"/>
                  </a:cubicBezTo>
                  <a:cubicBezTo>
                    <a:pt x="777321" y="219485"/>
                    <a:pt x="771746" y="213552"/>
                    <a:pt x="771605" y="206342"/>
                  </a:cubicBezTo>
                  <a:cubicBezTo>
                    <a:pt x="769001" y="106094"/>
                    <a:pt x="693729" y="27606"/>
                    <a:pt x="600128" y="27606"/>
                  </a:cubicBezTo>
                  <a:cubicBezTo>
                    <a:pt x="563750" y="27632"/>
                    <a:pt x="528424" y="39830"/>
                    <a:pt x="499802" y="62249"/>
                  </a:cubicBezTo>
                  <a:cubicBezTo>
                    <a:pt x="494845" y="66153"/>
                    <a:pt x="487838" y="66153"/>
                    <a:pt x="482881" y="62249"/>
                  </a:cubicBezTo>
                  <a:cubicBezTo>
                    <a:pt x="454291" y="39852"/>
                    <a:pt x="419009" y="27656"/>
                    <a:pt x="382663" y="27606"/>
                  </a:cubicBezTo>
                  <a:cubicBezTo>
                    <a:pt x="289278" y="27606"/>
                    <a:pt x="213898" y="105877"/>
                    <a:pt x="211186" y="205909"/>
                  </a:cubicBezTo>
                  <a:cubicBezTo>
                    <a:pt x="211013" y="213433"/>
                    <a:pt x="204949" y="219485"/>
                    <a:pt x="197412" y="219658"/>
                  </a:cubicBezTo>
                  <a:cubicBezTo>
                    <a:pt x="103593" y="220524"/>
                    <a:pt x="27344" y="303017"/>
                    <a:pt x="27344" y="403698"/>
                  </a:cubicBezTo>
                  <a:cubicBezTo>
                    <a:pt x="26391" y="474164"/>
                    <a:pt x="65512" y="539098"/>
                    <a:pt x="128322" y="571283"/>
                  </a:cubicBezTo>
                  <a:cubicBezTo>
                    <a:pt x="133355" y="573730"/>
                    <a:pt x="136457" y="578916"/>
                    <a:pt x="136240" y="584491"/>
                  </a:cubicBezTo>
                  <a:cubicBezTo>
                    <a:pt x="136240" y="586873"/>
                    <a:pt x="136240" y="589255"/>
                    <a:pt x="136240" y="591744"/>
                  </a:cubicBezTo>
                  <a:cubicBezTo>
                    <a:pt x="136240" y="693075"/>
                    <a:pt x="213247" y="775785"/>
                    <a:pt x="307934" y="775785"/>
                  </a:cubicBezTo>
                  <a:lnTo>
                    <a:pt x="318780" y="775785"/>
                  </a:lnTo>
                  <a:lnTo>
                    <a:pt x="319756" y="775785"/>
                  </a:lnTo>
                  <a:moveTo>
                    <a:pt x="476482" y="896494"/>
                  </a:moveTo>
                  <a:cubicBezTo>
                    <a:pt x="451373" y="896494"/>
                    <a:pt x="426525" y="891492"/>
                    <a:pt x="403380" y="881771"/>
                  </a:cubicBezTo>
                  <a:cubicBezTo>
                    <a:pt x="365841" y="865856"/>
                    <a:pt x="334051" y="838889"/>
                    <a:pt x="312272" y="804474"/>
                  </a:cubicBezTo>
                  <a:lnTo>
                    <a:pt x="308042" y="804474"/>
                  </a:lnTo>
                  <a:cubicBezTo>
                    <a:pt x="198279" y="804474"/>
                    <a:pt x="108907" y="709747"/>
                    <a:pt x="108474" y="593152"/>
                  </a:cubicBezTo>
                  <a:cubicBezTo>
                    <a:pt x="40674" y="554482"/>
                    <a:pt x="-833" y="482186"/>
                    <a:pt x="13" y="404240"/>
                  </a:cubicBezTo>
                  <a:cubicBezTo>
                    <a:pt x="13" y="293057"/>
                    <a:pt x="81684" y="200929"/>
                    <a:pt x="184397" y="192701"/>
                  </a:cubicBezTo>
                  <a:cubicBezTo>
                    <a:pt x="193615" y="83684"/>
                    <a:pt x="278541" y="0"/>
                    <a:pt x="382989" y="0"/>
                  </a:cubicBezTo>
                  <a:cubicBezTo>
                    <a:pt x="421807" y="79"/>
                    <a:pt x="459671" y="12058"/>
                    <a:pt x="491450" y="34318"/>
                  </a:cubicBezTo>
                  <a:cubicBezTo>
                    <a:pt x="523240" y="12077"/>
                    <a:pt x="561093" y="100"/>
                    <a:pt x="599911" y="0"/>
                  </a:cubicBezTo>
                  <a:cubicBezTo>
                    <a:pt x="704793" y="0"/>
                    <a:pt x="789935" y="84226"/>
                    <a:pt x="798612" y="194000"/>
                  </a:cubicBezTo>
                  <a:cubicBezTo>
                    <a:pt x="896227" y="207749"/>
                    <a:pt x="972150" y="297713"/>
                    <a:pt x="972150" y="404240"/>
                  </a:cubicBezTo>
                  <a:cubicBezTo>
                    <a:pt x="972150" y="501673"/>
                    <a:pt x="909676" y="586007"/>
                    <a:pt x="822039" y="609932"/>
                  </a:cubicBezTo>
                  <a:cubicBezTo>
                    <a:pt x="822039" y="612097"/>
                    <a:pt x="822039" y="614262"/>
                    <a:pt x="822039" y="616319"/>
                  </a:cubicBezTo>
                  <a:cubicBezTo>
                    <a:pt x="822039" y="733347"/>
                    <a:pt x="732667" y="828399"/>
                    <a:pt x="622796" y="828507"/>
                  </a:cubicBezTo>
                  <a:cubicBezTo>
                    <a:pt x="586136" y="871367"/>
                    <a:pt x="532611" y="896180"/>
                    <a:pt x="476157" y="896494"/>
                  </a:cubicBezTo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3" name="Freeform 142">
              <a:extLst>
                <a:ext uri="{FF2B5EF4-FFF2-40B4-BE49-F238E27FC236}">
                  <a16:creationId xmlns:a16="http://schemas.microsoft.com/office/drawing/2014/main" id="{6C5398E2-942D-314E-8D0B-09748FB96002}"/>
                </a:ext>
              </a:extLst>
            </p:cNvPr>
            <p:cNvSpPr/>
            <p:nvPr/>
          </p:nvSpPr>
          <p:spPr>
            <a:xfrm>
              <a:off x="7603079" y="1588438"/>
              <a:ext cx="900888" cy="831430"/>
            </a:xfrm>
            <a:custGeom>
              <a:avLst/>
              <a:gdLst>
                <a:gd name="connsiteX0" fmla="*/ 296977 w 900888"/>
                <a:gd name="connsiteY0" fmla="*/ 717541 h 831430"/>
                <a:gd name="connsiteX1" fmla="*/ 308908 w 900888"/>
                <a:gd name="connsiteY1" fmla="*/ 724362 h 831430"/>
                <a:gd name="connsiteX2" fmla="*/ 384831 w 900888"/>
                <a:gd name="connsiteY2" fmla="*/ 791374 h 831430"/>
                <a:gd name="connsiteX3" fmla="*/ 561080 w 900888"/>
                <a:gd name="connsiteY3" fmla="*/ 745148 h 831430"/>
                <a:gd name="connsiteX4" fmla="*/ 571926 w 900888"/>
                <a:gd name="connsiteY4" fmla="*/ 739951 h 831430"/>
                <a:gd name="connsiteX5" fmla="*/ 577024 w 900888"/>
                <a:gd name="connsiteY5" fmla="*/ 739951 h 831430"/>
                <a:gd name="connsiteX6" fmla="*/ 734726 w 900888"/>
                <a:gd name="connsiteY6" fmla="*/ 570959 h 831430"/>
                <a:gd name="connsiteX7" fmla="*/ 734076 w 900888"/>
                <a:gd name="connsiteY7" fmla="*/ 555911 h 831430"/>
                <a:gd name="connsiteX8" fmla="*/ 744922 w 900888"/>
                <a:gd name="connsiteY8" fmla="*/ 540863 h 831430"/>
                <a:gd name="connsiteX9" fmla="*/ 873123 w 900888"/>
                <a:gd name="connsiteY9" fmla="*/ 375010 h 831430"/>
                <a:gd name="connsiteX10" fmla="*/ 726483 w 900888"/>
                <a:gd name="connsiteY10" fmla="*/ 206558 h 831430"/>
                <a:gd name="connsiteX11" fmla="*/ 713576 w 900888"/>
                <a:gd name="connsiteY11" fmla="*/ 192809 h 831430"/>
                <a:gd name="connsiteX12" fmla="*/ 556091 w 900888"/>
                <a:gd name="connsiteY12" fmla="*/ 28580 h 831430"/>
                <a:gd name="connsiteX13" fmla="*/ 464007 w 900888"/>
                <a:gd name="connsiteY13" fmla="*/ 60409 h 831430"/>
                <a:gd name="connsiteX14" fmla="*/ 447087 w 900888"/>
                <a:gd name="connsiteY14" fmla="*/ 60409 h 831430"/>
                <a:gd name="connsiteX15" fmla="*/ 355004 w 900888"/>
                <a:gd name="connsiteY15" fmla="*/ 28580 h 831430"/>
                <a:gd name="connsiteX16" fmla="*/ 197519 w 900888"/>
                <a:gd name="connsiteY16" fmla="*/ 192376 h 831430"/>
                <a:gd name="connsiteX17" fmla="*/ 183744 w 900888"/>
                <a:gd name="connsiteY17" fmla="*/ 206125 h 831430"/>
                <a:gd name="connsiteX18" fmla="*/ 27560 w 900888"/>
                <a:gd name="connsiteY18" fmla="*/ 375010 h 831430"/>
                <a:gd name="connsiteX19" fmla="*/ 120403 w 900888"/>
                <a:gd name="connsiteY19" fmla="*/ 528954 h 831430"/>
                <a:gd name="connsiteX20" fmla="*/ 128320 w 900888"/>
                <a:gd name="connsiteY20" fmla="*/ 542162 h 831430"/>
                <a:gd name="connsiteX21" fmla="*/ 128320 w 900888"/>
                <a:gd name="connsiteY21" fmla="*/ 548766 h 831430"/>
                <a:gd name="connsiteX22" fmla="*/ 285914 w 900888"/>
                <a:gd name="connsiteY22" fmla="*/ 717758 h 831430"/>
                <a:gd name="connsiteX23" fmla="*/ 295893 w 900888"/>
                <a:gd name="connsiteY23" fmla="*/ 717758 h 831430"/>
                <a:gd name="connsiteX24" fmla="*/ 296760 w 900888"/>
                <a:gd name="connsiteY24" fmla="*/ 717758 h 831430"/>
                <a:gd name="connsiteX25" fmla="*/ 441773 w 900888"/>
                <a:gd name="connsiteY25" fmla="*/ 831430 h 831430"/>
                <a:gd name="connsiteX26" fmla="*/ 373768 w 900888"/>
                <a:gd name="connsiteY26" fmla="*/ 817681 h 831430"/>
                <a:gd name="connsiteX27" fmla="*/ 289277 w 900888"/>
                <a:gd name="connsiteY27" fmla="*/ 746447 h 831430"/>
                <a:gd name="connsiteX28" fmla="*/ 285914 w 900888"/>
                <a:gd name="connsiteY28" fmla="*/ 746447 h 831430"/>
                <a:gd name="connsiteX29" fmla="*/ 100446 w 900888"/>
                <a:gd name="connsiteY29" fmla="*/ 550714 h 831430"/>
                <a:gd name="connsiteX30" fmla="*/ 11 w 900888"/>
                <a:gd name="connsiteY30" fmla="*/ 375443 h 831430"/>
                <a:gd name="connsiteX31" fmla="*/ 170729 w 900888"/>
                <a:gd name="connsiteY31" fmla="*/ 178844 h 831430"/>
                <a:gd name="connsiteX32" fmla="*/ 355113 w 900888"/>
                <a:gd name="connsiteY32" fmla="*/ 650 h 831430"/>
                <a:gd name="connsiteX33" fmla="*/ 455656 w 900888"/>
                <a:gd name="connsiteY33" fmla="*/ 32153 h 831430"/>
                <a:gd name="connsiteX34" fmla="*/ 556308 w 900888"/>
                <a:gd name="connsiteY34" fmla="*/ 0 h 831430"/>
                <a:gd name="connsiteX35" fmla="*/ 740692 w 900888"/>
                <a:gd name="connsiteY35" fmla="*/ 179385 h 831430"/>
                <a:gd name="connsiteX36" fmla="*/ 900889 w 900888"/>
                <a:gd name="connsiteY36" fmla="*/ 374252 h 831430"/>
                <a:gd name="connsiteX37" fmla="*/ 762275 w 900888"/>
                <a:gd name="connsiteY37" fmla="*/ 565004 h 831430"/>
                <a:gd name="connsiteX38" fmla="*/ 762275 w 900888"/>
                <a:gd name="connsiteY38" fmla="*/ 570201 h 831430"/>
                <a:gd name="connsiteX39" fmla="*/ 577891 w 900888"/>
                <a:gd name="connsiteY39" fmla="*/ 767449 h 831430"/>
                <a:gd name="connsiteX40" fmla="*/ 441990 w 900888"/>
                <a:gd name="connsiteY40" fmla="*/ 830239 h 831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900888" h="831430">
                  <a:moveTo>
                    <a:pt x="296977" y="717541"/>
                  </a:moveTo>
                  <a:cubicBezTo>
                    <a:pt x="301880" y="717552"/>
                    <a:pt x="306413" y="720140"/>
                    <a:pt x="308908" y="724362"/>
                  </a:cubicBezTo>
                  <a:cubicBezTo>
                    <a:pt x="326262" y="754328"/>
                    <a:pt x="352911" y="777853"/>
                    <a:pt x="384831" y="791374"/>
                  </a:cubicBezTo>
                  <a:cubicBezTo>
                    <a:pt x="447315" y="817161"/>
                    <a:pt x="519366" y="798259"/>
                    <a:pt x="561080" y="745148"/>
                  </a:cubicBezTo>
                  <a:cubicBezTo>
                    <a:pt x="563662" y="741792"/>
                    <a:pt x="567686" y="739864"/>
                    <a:pt x="571926" y="739951"/>
                  </a:cubicBezTo>
                  <a:lnTo>
                    <a:pt x="577024" y="739951"/>
                  </a:lnTo>
                  <a:cubicBezTo>
                    <a:pt x="663793" y="739951"/>
                    <a:pt x="734726" y="664170"/>
                    <a:pt x="734726" y="570959"/>
                  </a:cubicBezTo>
                  <a:cubicBezTo>
                    <a:pt x="734726" y="566303"/>
                    <a:pt x="734726" y="561432"/>
                    <a:pt x="734076" y="555911"/>
                  </a:cubicBezTo>
                  <a:cubicBezTo>
                    <a:pt x="733349" y="548874"/>
                    <a:pt x="738013" y="542411"/>
                    <a:pt x="744922" y="540863"/>
                  </a:cubicBezTo>
                  <a:cubicBezTo>
                    <a:pt x="819217" y="525815"/>
                    <a:pt x="873123" y="456096"/>
                    <a:pt x="873123" y="375010"/>
                  </a:cubicBezTo>
                  <a:cubicBezTo>
                    <a:pt x="873123" y="286562"/>
                    <a:pt x="808697" y="212621"/>
                    <a:pt x="726483" y="206558"/>
                  </a:cubicBezTo>
                  <a:cubicBezTo>
                    <a:pt x="719271" y="205999"/>
                    <a:pt x="713663" y="200036"/>
                    <a:pt x="713576" y="192809"/>
                  </a:cubicBezTo>
                  <a:cubicBezTo>
                    <a:pt x="711190" y="100681"/>
                    <a:pt x="641992" y="28580"/>
                    <a:pt x="556091" y="28580"/>
                  </a:cubicBezTo>
                  <a:cubicBezTo>
                    <a:pt x="522685" y="28573"/>
                    <a:pt x="490255" y="39784"/>
                    <a:pt x="464007" y="60409"/>
                  </a:cubicBezTo>
                  <a:cubicBezTo>
                    <a:pt x="459007" y="64198"/>
                    <a:pt x="452087" y="64198"/>
                    <a:pt x="447087" y="60409"/>
                  </a:cubicBezTo>
                  <a:cubicBezTo>
                    <a:pt x="420840" y="39784"/>
                    <a:pt x="388410" y="28573"/>
                    <a:pt x="355004" y="28580"/>
                  </a:cubicBezTo>
                  <a:cubicBezTo>
                    <a:pt x="269320" y="28580"/>
                    <a:pt x="200122" y="100464"/>
                    <a:pt x="197519" y="192376"/>
                  </a:cubicBezTo>
                  <a:cubicBezTo>
                    <a:pt x="197345" y="199897"/>
                    <a:pt x="191282" y="205953"/>
                    <a:pt x="183744" y="206125"/>
                  </a:cubicBezTo>
                  <a:cubicBezTo>
                    <a:pt x="97626" y="206991"/>
                    <a:pt x="27560" y="282665"/>
                    <a:pt x="27560" y="375010"/>
                  </a:cubicBezTo>
                  <a:cubicBezTo>
                    <a:pt x="26714" y="439759"/>
                    <a:pt x="62680" y="499399"/>
                    <a:pt x="120403" y="528954"/>
                  </a:cubicBezTo>
                  <a:cubicBezTo>
                    <a:pt x="125414" y="531422"/>
                    <a:pt x="128516" y="536586"/>
                    <a:pt x="128320" y="542162"/>
                  </a:cubicBezTo>
                  <a:cubicBezTo>
                    <a:pt x="128320" y="544435"/>
                    <a:pt x="128320" y="546600"/>
                    <a:pt x="128320" y="548766"/>
                  </a:cubicBezTo>
                  <a:cubicBezTo>
                    <a:pt x="128320" y="641977"/>
                    <a:pt x="199037" y="717758"/>
                    <a:pt x="285914" y="717758"/>
                  </a:cubicBezTo>
                  <a:cubicBezTo>
                    <a:pt x="289277" y="717758"/>
                    <a:pt x="292639" y="717758"/>
                    <a:pt x="295893" y="717758"/>
                  </a:cubicBezTo>
                  <a:lnTo>
                    <a:pt x="296760" y="717758"/>
                  </a:lnTo>
                  <a:moveTo>
                    <a:pt x="441773" y="831430"/>
                  </a:moveTo>
                  <a:cubicBezTo>
                    <a:pt x="418410" y="831441"/>
                    <a:pt x="395286" y="826764"/>
                    <a:pt x="373768" y="817681"/>
                  </a:cubicBezTo>
                  <a:cubicBezTo>
                    <a:pt x="339038" y="803001"/>
                    <a:pt x="309581" y="778167"/>
                    <a:pt x="289277" y="746447"/>
                  </a:cubicBezTo>
                  <a:lnTo>
                    <a:pt x="285914" y="746447"/>
                  </a:lnTo>
                  <a:cubicBezTo>
                    <a:pt x="184178" y="746447"/>
                    <a:pt x="101531" y="658757"/>
                    <a:pt x="100446" y="550714"/>
                  </a:cubicBezTo>
                  <a:cubicBezTo>
                    <a:pt x="37669" y="514729"/>
                    <a:pt x="-738" y="447695"/>
                    <a:pt x="11" y="375443"/>
                  </a:cubicBezTo>
                  <a:cubicBezTo>
                    <a:pt x="11" y="272380"/>
                    <a:pt x="75391" y="186963"/>
                    <a:pt x="170729" y="178844"/>
                  </a:cubicBezTo>
                  <a:cubicBezTo>
                    <a:pt x="179622" y="77947"/>
                    <a:pt x="258474" y="650"/>
                    <a:pt x="355113" y="650"/>
                  </a:cubicBezTo>
                  <a:cubicBezTo>
                    <a:pt x="391057" y="678"/>
                    <a:pt x="426144" y="11669"/>
                    <a:pt x="455656" y="32153"/>
                  </a:cubicBezTo>
                  <a:cubicBezTo>
                    <a:pt x="485125" y="11418"/>
                    <a:pt x="520255" y="196"/>
                    <a:pt x="556308" y="0"/>
                  </a:cubicBezTo>
                  <a:cubicBezTo>
                    <a:pt x="653923" y="0"/>
                    <a:pt x="732557" y="77838"/>
                    <a:pt x="740692" y="179385"/>
                  </a:cubicBezTo>
                  <a:cubicBezTo>
                    <a:pt x="831474" y="192593"/>
                    <a:pt x="900889" y="276061"/>
                    <a:pt x="900889" y="374252"/>
                  </a:cubicBezTo>
                  <a:cubicBezTo>
                    <a:pt x="900889" y="464432"/>
                    <a:pt x="843296" y="542703"/>
                    <a:pt x="762275" y="565004"/>
                  </a:cubicBezTo>
                  <a:lnTo>
                    <a:pt x="762275" y="570201"/>
                  </a:lnTo>
                  <a:cubicBezTo>
                    <a:pt x="762275" y="678460"/>
                    <a:pt x="679411" y="767016"/>
                    <a:pt x="577891" y="767449"/>
                  </a:cubicBezTo>
                  <a:cubicBezTo>
                    <a:pt x="543824" y="807018"/>
                    <a:pt x="494257" y="829915"/>
                    <a:pt x="441990" y="830239"/>
                  </a:cubicBezTo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4" name="Freeform 143">
              <a:extLst>
                <a:ext uri="{FF2B5EF4-FFF2-40B4-BE49-F238E27FC236}">
                  <a16:creationId xmlns:a16="http://schemas.microsoft.com/office/drawing/2014/main" id="{2416E4F0-E225-8F47-B3DF-D9BB934FCCFD}"/>
                </a:ext>
              </a:extLst>
            </p:cNvPr>
            <p:cNvSpPr/>
            <p:nvPr/>
          </p:nvSpPr>
          <p:spPr>
            <a:xfrm>
              <a:off x="5656304" y="2885707"/>
              <a:ext cx="1066732" cy="990354"/>
            </a:xfrm>
            <a:custGeom>
              <a:avLst/>
              <a:gdLst>
                <a:gd name="connsiteX0" fmla="*/ 350456 w 1066732"/>
                <a:gd name="connsiteY0" fmla="*/ 858928 h 990354"/>
                <a:gd name="connsiteX1" fmla="*/ 362386 w 1066732"/>
                <a:gd name="connsiteY1" fmla="*/ 865856 h 990354"/>
                <a:gd name="connsiteX2" fmla="*/ 453819 w 1066732"/>
                <a:gd name="connsiteY2" fmla="*/ 947159 h 990354"/>
                <a:gd name="connsiteX3" fmla="*/ 666728 w 1066732"/>
                <a:gd name="connsiteY3" fmla="*/ 890973 h 990354"/>
                <a:gd name="connsiteX4" fmla="*/ 677574 w 1066732"/>
                <a:gd name="connsiteY4" fmla="*/ 885776 h 990354"/>
                <a:gd name="connsiteX5" fmla="*/ 683865 w 1066732"/>
                <a:gd name="connsiteY5" fmla="*/ 885776 h 990354"/>
                <a:gd name="connsiteX6" fmla="*/ 874214 w 1066732"/>
                <a:gd name="connsiteY6" fmla="*/ 680084 h 990354"/>
                <a:gd name="connsiteX7" fmla="*/ 873455 w 1066732"/>
                <a:gd name="connsiteY7" fmla="*/ 661896 h 990354"/>
                <a:gd name="connsiteX8" fmla="*/ 884301 w 1066732"/>
                <a:gd name="connsiteY8" fmla="*/ 646848 h 990354"/>
                <a:gd name="connsiteX9" fmla="*/ 1039075 w 1066732"/>
                <a:gd name="connsiteY9" fmla="*/ 445270 h 990354"/>
                <a:gd name="connsiteX10" fmla="*/ 861958 w 1066732"/>
                <a:gd name="connsiteY10" fmla="*/ 240552 h 990354"/>
                <a:gd name="connsiteX11" fmla="*/ 849051 w 1066732"/>
                <a:gd name="connsiteY11" fmla="*/ 226803 h 990354"/>
                <a:gd name="connsiteX12" fmla="*/ 658919 w 1066732"/>
                <a:gd name="connsiteY12" fmla="*/ 27281 h 990354"/>
                <a:gd name="connsiteX13" fmla="*/ 547638 w 1066732"/>
                <a:gd name="connsiteY13" fmla="*/ 66038 h 990354"/>
                <a:gd name="connsiteX14" fmla="*/ 530718 w 1066732"/>
                <a:gd name="connsiteY14" fmla="*/ 66038 h 990354"/>
                <a:gd name="connsiteX15" fmla="*/ 420630 w 1066732"/>
                <a:gd name="connsiteY15" fmla="*/ 27931 h 990354"/>
                <a:gd name="connsiteX16" fmla="*/ 230389 w 1066732"/>
                <a:gd name="connsiteY16" fmla="*/ 226911 h 990354"/>
                <a:gd name="connsiteX17" fmla="*/ 216615 w 1066732"/>
                <a:gd name="connsiteY17" fmla="*/ 240660 h 990354"/>
                <a:gd name="connsiteX18" fmla="*/ 28001 w 1066732"/>
                <a:gd name="connsiteY18" fmla="*/ 446352 h 990354"/>
                <a:gd name="connsiteX19" fmla="*/ 139499 w 1066732"/>
                <a:gd name="connsiteY19" fmla="*/ 632775 h 990354"/>
                <a:gd name="connsiteX20" fmla="*/ 147308 w 1066732"/>
                <a:gd name="connsiteY20" fmla="*/ 645982 h 990354"/>
                <a:gd name="connsiteX21" fmla="*/ 147308 w 1066732"/>
                <a:gd name="connsiteY21" fmla="*/ 654102 h 990354"/>
                <a:gd name="connsiteX22" fmla="*/ 337657 w 1066732"/>
                <a:gd name="connsiteY22" fmla="*/ 859253 h 990354"/>
                <a:gd name="connsiteX23" fmla="*/ 349588 w 1066732"/>
                <a:gd name="connsiteY23" fmla="*/ 859253 h 990354"/>
                <a:gd name="connsiteX24" fmla="*/ 350564 w 1066732"/>
                <a:gd name="connsiteY24" fmla="*/ 859253 h 990354"/>
                <a:gd name="connsiteX25" fmla="*/ 523017 w 1066732"/>
                <a:gd name="connsiteY25" fmla="*/ 990030 h 990354"/>
                <a:gd name="connsiteX26" fmla="*/ 443081 w 1066732"/>
                <a:gd name="connsiteY26" fmla="*/ 973682 h 990354"/>
                <a:gd name="connsiteX27" fmla="*/ 342863 w 1066732"/>
                <a:gd name="connsiteY27" fmla="*/ 888049 h 990354"/>
                <a:gd name="connsiteX28" fmla="*/ 337549 w 1066732"/>
                <a:gd name="connsiteY28" fmla="*/ 888049 h 990354"/>
                <a:gd name="connsiteX29" fmla="*/ 119325 w 1066732"/>
                <a:gd name="connsiteY29" fmla="*/ 654535 h 990354"/>
                <a:gd name="connsiteX30" fmla="*/ 18 w 1066732"/>
                <a:gd name="connsiteY30" fmla="*/ 446244 h 990354"/>
                <a:gd name="connsiteX31" fmla="*/ 203165 w 1066732"/>
                <a:gd name="connsiteY31" fmla="*/ 213270 h 990354"/>
                <a:gd name="connsiteX32" fmla="*/ 420088 w 1066732"/>
                <a:gd name="connsiteY32" fmla="*/ 0 h 990354"/>
                <a:gd name="connsiteX33" fmla="*/ 539395 w 1066732"/>
                <a:gd name="connsiteY33" fmla="*/ 38215 h 990354"/>
                <a:gd name="connsiteX34" fmla="*/ 658702 w 1066732"/>
                <a:gd name="connsiteY34" fmla="*/ 0 h 990354"/>
                <a:gd name="connsiteX35" fmla="*/ 876167 w 1066732"/>
                <a:gd name="connsiteY35" fmla="*/ 214570 h 990354"/>
                <a:gd name="connsiteX36" fmla="*/ 1066733 w 1066732"/>
                <a:gd name="connsiteY36" fmla="*/ 446244 h 990354"/>
                <a:gd name="connsiteX37" fmla="*/ 901546 w 1066732"/>
                <a:gd name="connsiteY37" fmla="*/ 672722 h 990354"/>
                <a:gd name="connsiteX38" fmla="*/ 901546 w 1066732"/>
                <a:gd name="connsiteY38" fmla="*/ 681058 h 990354"/>
                <a:gd name="connsiteX39" fmla="*/ 683323 w 1066732"/>
                <a:gd name="connsiteY39" fmla="*/ 914573 h 990354"/>
                <a:gd name="connsiteX40" fmla="*/ 683323 w 1066732"/>
                <a:gd name="connsiteY40" fmla="*/ 914573 h 990354"/>
                <a:gd name="connsiteX41" fmla="*/ 522583 w 1066732"/>
                <a:gd name="connsiteY41" fmla="*/ 990354 h 990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066732" h="990354">
                  <a:moveTo>
                    <a:pt x="350456" y="858928"/>
                  </a:moveTo>
                  <a:cubicBezTo>
                    <a:pt x="355391" y="858939"/>
                    <a:pt x="359935" y="861580"/>
                    <a:pt x="362386" y="865856"/>
                  </a:cubicBezTo>
                  <a:cubicBezTo>
                    <a:pt x="383200" y="902156"/>
                    <a:pt x="415294" y="930704"/>
                    <a:pt x="453819" y="947159"/>
                  </a:cubicBezTo>
                  <a:cubicBezTo>
                    <a:pt x="529362" y="978468"/>
                    <a:pt x="616554" y="955463"/>
                    <a:pt x="666728" y="890973"/>
                  </a:cubicBezTo>
                  <a:cubicBezTo>
                    <a:pt x="669342" y="887660"/>
                    <a:pt x="673344" y="885744"/>
                    <a:pt x="677574" y="885776"/>
                  </a:cubicBezTo>
                  <a:lnTo>
                    <a:pt x="683865" y="885776"/>
                  </a:lnTo>
                  <a:cubicBezTo>
                    <a:pt x="788855" y="885776"/>
                    <a:pt x="874214" y="793647"/>
                    <a:pt x="874214" y="680084"/>
                  </a:cubicBezTo>
                  <a:cubicBezTo>
                    <a:pt x="874214" y="674346"/>
                    <a:pt x="874214" y="668392"/>
                    <a:pt x="873455" y="661896"/>
                  </a:cubicBezTo>
                  <a:cubicBezTo>
                    <a:pt x="872728" y="654860"/>
                    <a:pt x="877392" y="648396"/>
                    <a:pt x="884301" y="646848"/>
                  </a:cubicBezTo>
                  <a:cubicBezTo>
                    <a:pt x="973998" y="628552"/>
                    <a:pt x="1039075" y="543677"/>
                    <a:pt x="1039075" y="445270"/>
                  </a:cubicBezTo>
                  <a:cubicBezTo>
                    <a:pt x="1039075" y="337877"/>
                    <a:pt x="961309" y="247913"/>
                    <a:pt x="861958" y="240552"/>
                  </a:cubicBezTo>
                  <a:cubicBezTo>
                    <a:pt x="854789" y="239891"/>
                    <a:pt x="849247" y="233991"/>
                    <a:pt x="849051" y="226803"/>
                  </a:cubicBezTo>
                  <a:cubicBezTo>
                    <a:pt x="846231" y="114971"/>
                    <a:pt x="762282" y="27281"/>
                    <a:pt x="658919" y="27281"/>
                  </a:cubicBezTo>
                  <a:cubicBezTo>
                    <a:pt x="618517" y="27346"/>
                    <a:pt x="579309" y="40998"/>
                    <a:pt x="547638" y="66038"/>
                  </a:cubicBezTo>
                  <a:cubicBezTo>
                    <a:pt x="542638" y="69827"/>
                    <a:pt x="535718" y="69827"/>
                    <a:pt x="530718" y="66038"/>
                  </a:cubicBezTo>
                  <a:cubicBezTo>
                    <a:pt x="499286" y="41474"/>
                    <a:pt x="460544" y="28072"/>
                    <a:pt x="420630" y="27931"/>
                  </a:cubicBezTo>
                  <a:cubicBezTo>
                    <a:pt x="317050" y="27931"/>
                    <a:pt x="233426" y="115296"/>
                    <a:pt x="230389" y="226911"/>
                  </a:cubicBezTo>
                  <a:cubicBezTo>
                    <a:pt x="230335" y="234478"/>
                    <a:pt x="224196" y="240606"/>
                    <a:pt x="216615" y="240660"/>
                  </a:cubicBezTo>
                  <a:cubicBezTo>
                    <a:pt x="112600" y="241743"/>
                    <a:pt x="28001" y="333763"/>
                    <a:pt x="28001" y="446352"/>
                  </a:cubicBezTo>
                  <a:cubicBezTo>
                    <a:pt x="26938" y="524515"/>
                    <a:pt x="70062" y="596616"/>
                    <a:pt x="139499" y="632775"/>
                  </a:cubicBezTo>
                  <a:cubicBezTo>
                    <a:pt x="144466" y="635275"/>
                    <a:pt x="147525" y="640429"/>
                    <a:pt x="147308" y="645982"/>
                  </a:cubicBezTo>
                  <a:cubicBezTo>
                    <a:pt x="147308" y="648689"/>
                    <a:pt x="147308" y="651395"/>
                    <a:pt x="147308" y="654102"/>
                  </a:cubicBezTo>
                  <a:cubicBezTo>
                    <a:pt x="147308" y="767233"/>
                    <a:pt x="232667" y="859253"/>
                    <a:pt x="337657" y="859253"/>
                  </a:cubicBezTo>
                  <a:cubicBezTo>
                    <a:pt x="341670" y="859253"/>
                    <a:pt x="345683" y="859253"/>
                    <a:pt x="349588" y="859253"/>
                  </a:cubicBezTo>
                  <a:lnTo>
                    <a:pt x="350564" y="859253"/>
                  </a:lnTo>
                  <a:moveTo>
                    <a:pt x="523017" y="990030"/>
                  </a:moveTo>
                  <a:cubicBezTo>
                    <a:pt x="495544" y="990008"/>
                    <a:pt x="468353" y="984454"/>
                    <a:pt x="443081" y="973682"/>
                  </a:cubicBezTo>
                  <a:cubicBezTo>
                    <a:pt x="401714" y="956004"/>
                    <a:pt x="366747" y="926124"/>
                    <a:pt x="342863" y="888049"/>
                  </a:cubicBezTo>
                  <a:lnTo>
                    <a:pt x="337549" y="888049"/>
                  </a:lnTo>
                  <a:cubicBezTo>
                    <a:pt x="217157" y="888049"/>
                    <a:pt x="119325" y="783255"/>
                    <a:pt x="119325" y="654535"/>
                  </a:cubicBezTo>
                  <a:cubicBezTo>
                    <a:pt x="44628" y="611859"/>
                    <a:pt x="-1034" y="532137"/>
                    <a:pt x="18" y="446244"/>
                  </a:cubicBezTo>
                  <a:cubicBezTo>
                    <a:pt x="18" y="323370"/>
                    <a:pt x="90041" y="221715"/>
                    <a:pt x="203165" y="213270"/>
                  </a:cubicBezTo>
                  <a:cubicBezTo>
                    <a:pt x="212602" y="92670"/>
                    <a:pt x="305878" y="0"/>
                    <a:pt x="420088" y="0"/>
                  </a:cubicBezTo>
                  <a:cubicBezTo>
                    <a:pt x="462865" y="65"/>
                    <a:pt x="504568" y="13424"/>
                    <a:pt x="539395" y="38215"/>
                  </a:cubicBezTo>
                  <a:cubicBezTo>
                    <a:pt x="574243" y="13457"/>
                    <a:pt x="615925" y="108"/>
                    <a:pt x="658702" y="0"/>
                  </a:cubicBezTo>
                  <a:cubicBezTo>
                    <a:pt x="773779" y="0"/>
                    <a:pt x="867164" y="93319"/>
                    <a:pt x="876167" y="214570"/>
                  </a:cubicBezTo>
                  <a:cubicBezTo>
                    <a:pt x="983977" y="229185"/>
                    <a:pt x="1066733" y="328458"/>
                    <a:pt x="1066733" y="446244"/>
                  </a:cubicBezTo>
                  <a:cubicBezTo>
                    <a:pt x="1066733" y="553745"/>
                    <a:pt x="997968" y="647065"/>
                    <a:pt x="901546" y="672722"/>
                  </a:cubicBezTo>
                  <a:cubicBezTo>
                    <a:pt x="901546" y="675537"/>
                    <a:pt x="901546" y="678352"/>
                    <a:pt x="901546" y="681058"/>
                  </a:cubicBezTo>
                  <a:cubicBezTo>
                    <a:pt x="901546" y="809886"/>
                    <a:pt x="803931" y="914573"/>
                    <a:pt x="683323" y="914573"/>
                  </a:cubicBezTo>
                  <a:lnTo>
                    <a:pt x="683323" y="914573"/>
                  </a:lnTo>
                  <a:cubicBezTo>
                    <a:pt x="643463" y="962131"/>
                    <a:pt x="584699" y="989824"/>
                    <a:pt x="522583" y="990354"/>
                  </a:cubicBezTo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5" name="Freeform 144">
              <a:extLst>
                <a:ext uri="{FF2B5EF4-FFF2-40B4-BE49-F238E27FC236}">
                  <a16:creationId xmlns:a16="http://schemas.microsoft.com/office/drawing/2014/main" id="{5C298E46-1EF4-5948-8854-F314F751B53D}"/>
                </a:ext>
              </a:extLst>
            </p:cNvPr>
            <p:cNvSpPr/>
            <p:nvPr/>
          </p:nvSpPr>
          <p:spPr>
            <a:xfrm>
              <a:off x="6219988" y="4373729"/>
              <a:ext cx="1021710" cy="924316"/>
            </a:xfrm>
            <a:custGeom>
              <a:avLst/>
              <a:gdLst>
                <a:gd name="connsiteX0" fmla="*/ 336128 w 1021710"/>
                <a:gd name="connsiteY0" fmla="*/ 801118 h 924316"/>
                <a:gd name="connsiteX1" fmla="*/ 348058 w 1021710"/>
                <a:gd name="connsiteY1" fmla="*/ 807938 h 924316"/>
                <a:gd name="connsiteX2" fmla="*/ 434827 w 1021710"/>
                <a:gd name="connsiteY2" fmla="*/ 883719 h 924316"/>
                <a:gd name="connsiteX3" fmla="*/ 637866 w 1021710"/>
                <a:gd name="connsiteY3" fmla="*/ 830997 h 924316"/>
                <a:gd name="connsiteX4" fmla="*/ 648712 w 1021710"/>
                <a:gd name="connsiteY4" fmla="*/ 826017 h 924316"/>
                <a:gd name="connsiteX5" fmla="*/ 654786 w 1021710"/>
                <a:gd name="connsiteY5" fmla="*/ 826017 h 924316"/>
                <a:gd name="connsiteX6" fmla="*/ 836025 w 1021710"/>
                <a:gd name="connsiteY6" fmla="*/ 635806 h 924316"/>
                <a:gd name="connsiteX7" fmla="*/ 835266 w 1021710"/>
                <a:gd name="connsiteY7" fmla="*/ 618809 h 924316"/>
                <a:gd name="connsiteX8" fmla="*/ 846112 w 1021710"/>
                <a:gd name="connsiteY8" fmla="*/ 603761 h 924316"/>
                <a:gd name="connsiteX9" fmla="*/ 993402 w 1021710"/>
                <a:gd name="connsiteY9" fmla="*/ 416906 h 924316"/>
                <a:gd name="connsiteX10" fmla="*/ 824853 w 1021710"/>
                <a:gd name="connsiteY10" fmla="*/ 227128 h 924316"/>
                <a:gd name="connsiteX11" fmla="*/ 811838 w 1021710"/>
                <a:gd name="connsiteY11" fmla="*/ 213379 h 924316"/>
                <a:gd name="connsiteX12" fmla="*/ 630816 w 1021710"/>
                <a:gd name="connsiteY12" fmla="*/ 28472 h 924316"/>
                <a:gd name="connsiteX13" fmla="*/ 524742 w 1021710"/>
                <a:gd name="connsiteY13" fmla="*/ 64414 h 924316"/>
                <a:gd name="connsiteX14" fmla="*/ 508147 w 1021710"/>
                <a:gd name="connsiteY14" fmla="*/ 64414 h 924316"/>
                <a:gd name="connsiteX15" fmla="*/ 402072 w 1021710"/>
                <a:gd name="connsiteY15" fmla="*/ 28472 h 924316"/>
                <a:gd name="connsiteX16" fmla="*/ 221050 w 1021710"/>
                <a:gd name="connsiteY16" fmla="*/ 212513 h 924316"/>
                <a:gd name="connsiteX17" fmla="*/ 207276 w 1021710"/>
                <a:gd name="connsiteY17" fmla="*/ 226262 h 924316"/>
                <a:gd name="connsiteX18" fmla="*/ 27664 w 1021710"/>
                <a:gd name="connsiteY18" fmla="*/ 416473 h 924316"/>
                <a:gd name="connsiteX19" fmla="*/ 134173 w 1021710"/>
                <a:gd name="connsiteY19" fmla="*/ 589688 h 924316"/>
                <a:gd name="connsiteX20" fmla="*/ 142199 w 1021710"/>
                <a:gd name="connsiteY20" fmla="*/ 603004 h 924316"/>
                <a:gd name="connsiteX21" fmla="*/ 142199 w 1021710"/>
                <a:gd name="connsiteY21" fmla="*/ 610474 h 924316"/>
                <a:gd name="connsiteX22" fmla="*/ 323438 w 1021710"/>
                <a:gd name="connsiteY22" fmla="*/ 800685 h 924316"/>
                <a:gd name="connsiteX23" fmla="*/ 334935 w 1021710"/>
                <a:gd name="connsiteY23" fmla="*/ 800685 h 924316"/>
                <a:gd name="connsiteX24" fmla="*/ 335802 w 1021710"/>
                <a:gd name="connsiteY24" fmla="*/ 800685 h 924316"/>
                <a:gd name="connsiteX25" fmla="*/ 500663 w 1021710"/>
                <a:gd name="connsiteY25" fmla="*/ 924317 h 924316"/>
                <a:gd name="connsiteX26" fmla="*/ 424198 w 1021710"/>
                <a:gd name="connsiteY26" fmla="*/ 909160 h 924316"/>
                <a:gd name="connsiteX27" fmla="*/ 328427 w 1021710"/>
                <a:gd name="connsiteY27" fmla="*/ 829373 h 924316"/>
                <a:gd name="connsiteX28" fmla="*/ 323329 w 1021710"/>
                <a:gd name="connsiteY28" fmla="*/ 829373 h 924316"/>
                <a:gd name="connsiteX29" fmla="*/ 114325 w 1021710"/>
                <a:gd name="connsiteY29" fmla="*/ 611556 h 924316"/>
                <a:gd name="connsiteX30" fmla="*/ 7 w 1021710"/>
                <a:gd name="connsiteY30" fmla="*/ 416689 h 924316"/>
                <a:gd name="connsiteX31" fmla="*/ 194043 w 1021710"/>
                <a:gd name="connsiteY31" fmla="*/ 198764 h 924316"/>
                <a:gd name="connsiteX32" fmla="*/ 402614 w 1021710"/>
                <a:gd name="connsiteY32" fmla="*/ 0 h 924316"/>
                <a:gd name="connsiteX33" fmla="*/ 516932 w 1021710"/>
                <a:gd name="connsiteY33" fmla="*/ 35509 h 924316"/>
                <a:gd name="connsiteX34" fmla="*/ 631359 w 1021710"/>
                <a:gd name="connsiteY34" fmla="*/ 0 h 924316"/>
                <a:gd name="connsiteX35" fmla="*/ 839604 w 1021710"/>
                <a:gd name="connsiteY35" fmla="*/ 200063 h 924316"/>
                <a:gd name="connsiteX36" fmla="*/ 1021710 w 1021710"/>
                <a:gd name="connsiteY36" fmla="*/ 416581 h 924316"/>
                <a:gd name="connsiteX37" fmla="*/ 863899 w 1021710"/>
                <a:gd name="connsiteY37" fmla="*/ 628444 h 924316"/>
                <a:gd name="connsiteX38" fmla="*/ 863899 w 1021710"/>
                <a:gd name="connsiteY38" fmla="*/ 635481 h 924316"/>
                <a:gd name="connsiteX39" fmla="*/ 654786 w 1021710"/>
                <a:gd name="connsiteY39" fmla="*/ 853948 h 924316"/>
                <a:gd name="connsiteX40" fmla="*/ 654786 w 1021710"/>
                <a:gd name="connsiteY40" fmla="*/ 853948 h 924316"/>
                <a:gd name="connsiteX41" fmla="*/ 500989 w 1021710"/>
                <a:gd name="connsiteY41" fmla="*/ 924100 h 924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021710" h="924316">
                  <a:moveTo>
                    <a:pt x="336128" y="801118"/>
                  </a:moveTo>
                  <a:cubicBezTo>
                    <a:pt x="341030" y="801150"/>
                    <a:pt x="345553" y="803738"/>
                    <a:pt x="348058" y="807938"/>
                  </a:cubicBezTo>
                  <a:cubicBezTo>
                    <a:pt x="368015" y="841899"/>
                    <a:pt x="398460" y="868487"/>
                    <a:pt x="434827" y="883719"/>
                  </a:cubicBezTo>
                  <a:cubicBezTo>
                    <a:pt x="506748" y="912830"/>
                    <a:pt x="589276" y="891395"/>
                    <a:pt x="637866" y="830997"/>
                  </a:cubicBezTo>
                  <a:cubicBezTo>
                    <a:pt x="640383" y="827587"/>
                    <a:pt x="644482" y="825714"/>
                    <a:pt x="648712" y="826017"/>
                  </a:cubicBezTo>
                  <a:lnTo>
                    <a:pt x="654786" y="826017"/>
                  </a:lnTo>
                  <a:cubicBezTo>
                    <a:pt x="754679" y="826017"/>
                    <a:pt x="836025" y="740709"/>
                    <a:pt x="836025" y="635806"/>
                  </a:cubicBezTo>
                  <a:cubicBezTo>
                    <a:pt x="836025" y="630393"/>
                    <a:pt x="836025" y="624980"/>
                    <a:pt x="835266" y="618809"/>
                  </a:cubicBezTo>
                  <a:cubicBezTo>
                    <a:pt x="834593" y="611794"/>
                    <a:pt x="839235" y="605353"/>
                    <a:pt x="846112" y="603761"/>
                  </a:cubicBezTo>
                  <a:cubicBezTo>
                    <a:pt x="931471" y="586765"/>
                    <a:pt x="993402" y="508169"/>
                    <a:pt x="993402" y="416906"/>
                  </a:cubicBezTo>
                  <a:cubicBezTo>
                    <a:pt x="993402" y="317416"/>
                    <a:pt x="919323" y="234056"/>
                    <a:pt x="824853" y="227128"/>
                  </a:cubicBezTo>
                  <a:cubicBezTo>
                    <a:pt x="817597" y="226619"/>
                    <a:pt x="811936" y="220643"/>
                    <a:pt x="811838" y="213379"/>
                  </a:cubicBezTo>
                  <a:cubicBezTo>
                    <a:pt x="809235" y="109667"/>
                    <a:pt x="729624" y="28472"/>
                    <a:pt x="630816" y="28472"/>
                  </a:cubicBezTo>
                  <a:cubicBezTo>
                    <a:pt x="592465" y="28472"/>
                    <a:pt x="555176" y="41106"/>
                    <a:pt x="524742" y="64414"/>
                  </a:cubicBezTo>
                  <a:cubicBezTo>
                    <a:pt x="519861" y="68193"/>
                    <a:pt x="513028" y="68193"/>
                    <a:pt x="508147" y="64414"/>
                  </a:cubicBezTo>
                  <a:cubicBezTo>
                    <a:pt x="477713" y="41106"/>
                    <a:pt x="440435" y="28472"/>
                    <a:pt x="402072" y="28472"/>
                  </a:cubicBezTo>
                  <a:cubicBezTo>
                    <a:pt x="303481" y="28472"/>
                    <a:pt x="223979" y="109450"/>
                    <a:pt x="221050" y="212513"/>
                  </a:cubicBezTo>
                  <a:cubicBezTo>
                    <a:pt x="220877" y="220037"/>
                    <a:pt x="214814" y="226089"/>
                    <a:pt x="207276" y="226262"/>
                  </a:cubicBezTo>
                  <a:cubicBezTo>
                    <a:pt x="108251" y="227236"/>
                    <a:pt x="27664" y="312869"/>
                    <a:pt x="27664" y="416473"/>
                  </a:cubicBezTo>
                  <a:cubicBezTo>
                    <a:pt x="27013" y="489808"/>
                    <a:pt x="68370" y="557069"/>
                    <a:pt x="134173" y="589688"/>
                  </a:cubicBezTo>
                  <a:cubicBezTo>
                    <a:pt x="139282" y="592113"/>
                    <a:pt x="142449" y="597363"/>
                    <a:pt x="142199" y="603004"/>
                  </a:cubicBezTo>
                  <a:cubicBezTo>
                    <a:pt x="142199" y="605493"/>
                    <a:pt x="142199" y="607983"/>
                    <a:pt x="142199" y="610474"/>
                  </a:cubicBezTo>
                  <a:cubicBezTo>
                    <a:pt x="142199" y="715376"/>
                    <a:pt x="223545" y="800685"/>
                    <a:pt x="323438" y="800685"/>
                  </a:cubicBezTo>
                  <a:cubicBezTo>
                    <a:pt x="327342" y="800685"/>
                    <a:pt x="331138" y="800685"/>
                    <a:pt x="334935" y="800685"/>
                  </a:cubicBezTo>
                  <a:lnTo>
                    <a:pt x="335802" y="800685"/>
                  </a:lnTo>
                  <a:moveTo>
                    <a:pt x="500663" y="924317"/>
                  </a:moveTo>
                  <a:cubicBezTo>
                    <a:pt x="474426" y="924349"/>
                    <a:pt x="448439" y="919196"/>
                    <a:pt x="424198" y="909160"/>
                  </a:cubicBezTo>
                  <a:cubicBezTo>
                    <a:pt x="384859" y="892954"/>
                    <a:pt x="351442" y="865110"/>
                    <a:pt x="328427" y="829373"/>
                  </a:cubicBezTo>
                  <a:lnTo>
                    <a:pt x="323329" y="829373"/>
                  </a:lnTo>
                  <a:cubicBezTo>
                    <a:pt x="208360" y="829373"/>
                    <a:pt x="114650" y="731940"/>
                    <a:pt x="114325" y="611556"/>
                  </a:cubicBezTo>
                  <a:cubicBezTo>
                    <a:pt x="43261" y="572475"/>
                    <a:pt x="-623" y="497667"/>
                    <a:pt x="7" y="416689"/>
                  </a:cubicBezTo>
                  <a:cubicBezTo>
                    <a:pt x="7" y="301935"/>
                    <a:pt x="85908" y="206883"/>
                    <a:pt x="194043" y="198764"/>
                  </a:cubicBezTo>
                  <a:cubicBezTo>
                    <a:pt x="204022" y="86607"/>
                    <a:pt x="293068" y="0"/>
                    <a:pt x="402614" y="0"/>
                  </a:cubicBezTo>
                  <a:cubicBezTo>
                    <a:pt x="443450" y="-54"/>
                    <a:pt x="483331" y="12342"/>
                    <a:pt x="516932" y="35509"/>
                  </a:cubicBezTo>
                  <a:cubicBezTo>
                    <a:pt x="550577" y="12352"/>
                    <a:pt x="590490" y="-32"/>
                    <a:pt x="631359" y="0"/>
                  </a:cubicBezTo>
                  <a:cubicBezTo>
                    <a:pt x="741338" y="0"/>
                    <a:pt x="830710" y="86607"/>
                    <a:pt x="839604" y="200063"/>
                  </a:cubicBezTo>
                  <a:cubicBezTo>
                    <a:pt x="942750" y="213920"/>
                    <a:pt x="1021710" y="306698"/>
                    <a:pt x="1021710" y="416581"/>
                  </a:cubicBezTo>
                  <a:cubicBezTo>
                    <a:pt x="1021710" y="517046"/>
                    <a:pt x="956091" y="604194"/>
                    <a:pt x="863899" y="628444"/>
                  </a:cubicBezTo>
                  <a:cubicBezTo>
                    <a:pt x="863899" y="630826"/>
                    <a:pt x="863899" y="633100"/>
                    <a:pt x="863899" y="635481"/>
                  </a:cubicBezTo>
                  <a:cubicBezTo>
                    <a:pt x="863899" y="755974"/>
                    <a:pt x="770080" y="853948"/>
                    <a:pt x="654786" y="853948"/>
                  </a:cubicBezTo>
                  <a:lnTo>
                    <a:pt x="654786" y="853948"/>
                  </a:lnTo>
                  <a:cubicBezTo>
                    <a:pt x="616022" y="898335"/>
                    <a:pt x="559980" y="923894"/>
                    <a:pt x="500989" y="924100"/>
                  </a:cubicBezTo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6" name="Freeform 145">
              <a:extLst>
                <a:ext uri="{FF2B5EF4-FFF2-40B4-BE49-F238E27FC236}">
                  <a16:creationId xmlns:a16="http://schemas.microsoft.com/office/drawing/2014/main" id="{E337CA51-A2F8-C948-B584-C2E6097066C7}"/>
                </a:ext>
              </a:extLst>
            </p:cNvPr>
            <p:cNvSpPr/>
            <p:nvPr/>
          </p:nvSpPr>
          <p:spPr>
            <a:xfrm>
              <a:off x="8930165" y="2389933"/>
              <a:ext cx="272118" cy="371059"/>
            </a:xfrm>
            <a:custGeom>
              <a:avLst/>
              <a:gdLst>
                <a:gd name="connsiteX0" fmla="*/ 245502 w 272118"/>
                <a:gd name="connsiteY0" fmla="*/ 25821 h 371059"/>
                <a:gd name="connsiteX1" fmla="*/ 236933 w 272118"/>
                <a:gd name="connsiteY1" fmla="*/ 19975 h 371059"/>
                <a:gd name="connsiteX2" fmla="*/ 242032 w 272118"/>
                <a:gd name="connsiteY2" fmla="*/ 7634 h 371059"/>
                <a:gd name="connsiteX3" fmla="*/ 259494 w 272118"/>
                <a:gd name="connsiteY3" fmla="*/ 597 h 371059"/>
                <a:gd name="connsiteX4" fmla="*/ 271500 w 272118"/>
                <a:gd name="connsiteY4" fmla="*/ 6043 h 371059"/>
                <a:gd name="connsiteX5" fmla="*/ 271533 w 272118"/>
                <a:gd name="connsiteY5" fmla="*/ 6118 h 371059"/>
                <a:gd name="connsiteX6" fmla="*/ 266110 w 272118"/>
                <a:gd name="connsiteY6" fmla="*/ 18243 h 371059"/>
                <a:gd name="connsiteX7" fmla="*/ 249082 w 272118"/>
                <a:gd name="connsiteY7" fmla="*/ 25064 h 371059"/>
                <a:gd name="connsiteX8" fmla="*/ 245502 w 272118"/>
                <a:gd name="connsiteY8" fmla="*/ 25821 h 371059"/>
                <a:gd name="connsiteX9" fmla="*/ 178907 w 272118"/>
                <a:gd name="connsiteY9" fmla="*/ 59057 h 371059"/>
                <a:gd name="connsiteX10" fmla="*/ 170881 w 272118"/>
                <a:gd name="connsiteY10" fmla="*/ 54294 h 371059"/>
                <a:gd name="connsiteX11" fmla="*/ 174243 w 272118"/>
                <a:gd name="connsiteY11" fmla="*/ 41411 h 371059"/>
                <a:gd name="connsiteX12" fmla="*/ 190838 w 272118"/>
                <a:gd name="connsiteY12" fmla="*/ 32100 h 371059"/>
                <a:gd name="connsiteX13" fmla="*/ 203083 w 272118"/>
                <a:gd name="connsiteY13" fmla="*/ 35565 h 371059"/>
                <a:gd name="connsiteX14" fmla="*/ 203311 w 272118"/>
                <a:gd name="connsiteY14" fmla="*/ 35998 h 371059"/>
                <a:gd name="connsiteX15" fmla="*/ 199526 w 272118"/>
                <a:gd name="connsiteY15" fmla="*/ 48772 h 371059"/>
                <a:gd name="connsiteX16" fmla="*/ 199515 w 272118"/>
                <a:gd name="connsiteY16" fmla="*/ 48772 h 371059"/>
                <a:gd name="connsiteX17" fmla="*/ 183571 w 272118"/>
                <a:gd name="connsiteY17" fmla="*/ 57758 h 371059"/>
                <a:gd name="connsiteX18" fmla="*/ 178907 w 272118"/>
                <a:gd name="connsiteY18" fmla="*/ 59057 h 371059"/>
                <a:gd name="connsiteX19" fmla="*/ 118277 w 272118"/>
                <a:gd name="connsiteY19" fmla="*/ 102361 h 371059"/>
                <a:gd name="connsiteX20" fmla="*/ 111227 w 272118"/>
                <a:gd name="connsiteY20" fmla="*/ 99113 h 371059"/>
                <a:gd name="connsiteX21" fmla="*/ 112203 w 272118"/>
                <a:gd name="connsiteY21" fmla="*/ 85797 h 371059"/>
                <a:gd name="connsiteX22" fmla="*/ 127063 w 272118"/>
                <a:gd name="connsiteY22" fmla="*/ 73564 h 371059"/>
                <a:gd name="connsiteX23" fmla="*/ 140002 w 272118"/>
                <a:gd name="connsiteY23" fmla="*/ 75188 h 371059"/>
                <a:gd name="connsiteX24" fmla="*/ 140078 w 272118"/>
                <a:gd name="connsiteY24" fmla="*/ 75296 h 371059"/>
                <a:gd name="connsiteX25" fmla="*/ 138343 w 272118"/>
                <a:gd name="connsiteY25" fmla="*/ 88503 h 371059"/>
                <a:gd name="connsiteX26" fmla="*/ 138343 w 272118"/>
                <a:gd name="connsiteY26" fmla="*/ 88503 h 371059"/>
                <a:gd name="connsiteX27" fmla="*/ 124351 w 272118"/>
                <a:gd name="connsiteY27" fmla="*/ 100087 h 371059"/>
                <a:gd name="connsiteX28" fmla="*/ 118277 w 272118"/>
                <a:gd name="connsiteY28" fmla="*/ 102361 h 371059"/>
                <a:gd name="connsiteX29" fmla="*/ 67734 w 272118"/>
                <a:gd name="connsiteY29" fmla="*/ 157356 h 371059"/>
                <a:gd name="connsiteX30" fmla="*/ 62203 w 272118"/>
                <a:gd name="connsiteY30" fmla="*/ 155516 h 371059"/>
                <a:gd name="connsiteX31" fmla="*/ 60251 w 272118"/>
                <a:gd name="connsiteY31" fmla="*/ 142308 h 371059"/>
                <a:gd name="connsiteX32" fmla="*/ 72073 w 272118"/>
                <a:gd name="connsiteY32" fmla="*/ 127044 h 371059"/>
                <a:gd name="connsiteX33" fmla="*/ 84882 w 272118"/>
                <a:gd name="connsiteY33" fmla="*/ 125680 h 371059"/>
                <a:gd name="connsiteX34" fmla="*/ 85088 w 272118"/>
                <a:gd name="connsiteY34" fmla="*/ 125853 h 371059"/>
                <a:gd name="connsiteX35" fmla="*/ 86282 w 272118"/>
                <a:gd name="connsiteY35" fmla="*/ 139061 h 371059"/>
                <a:gd name="connsiteX36" fmla="*/ 75435 w 272118"/>
                <a:gd name="connsiteY36" fmla="*/ 153459 h 371059"/>
                <a:gd name="connsiteX37" fmla="*/ 67952 w 272118"/>
                <a:gd name="connsiteY37" fmla="*/ 157356 h 371059"/>
                <a:gd name="connsiteX38" fmla="*/ 31834 w 272118"/>
                <a:gd name="connsiteY38" fmla="*/ 223070 h 371059"/>
                <a:gd name="connsiteX39" fmla="*/ 28472 w 272118"/>
                <a:gd name="connsiteY39" fmla="*/ 222312 h 371059"/>
                <a:gd name="connsiteX40" fmla="*/ 23266 w 272118"/>
                <a:gd name="connsiteY40" fmla="*/ 210078 h 371059"/>
                <a:gd name="connsiteX41" fmla="*/ 30857 w 272118"/>
                <a:gd name="connsiteY41" fmla="*/ 192324 h 371059"/>
                <a:gd name="connsiteX42" fmla="*/ 43222 w 272118"/>
                <a:gd name="connsiteY42" fmla="*/ 187777 h 371059"/>
                <a:gd name="connsiteX43" fmla="*/ 47669 w 272118"/>
                <a:gd name="connsiteY43" fmla="*/ 200335 h 371059"/>
                <a:gd name="connsiteX44" fmla="*/ 40511 w 272118"/>
                <a:gd name="connsiteY44" fmla="*/ 217115 h 371059"/>
                <a:gd name="connsiteX45" fmla="*/ 31834 w 272118"/>
                <a:gd name="connsiteY45" fmla="*/ 223070 h 371059"/>
                <a:gd name="connsiteX46" fmla="*/ 12853 w 272118"/>
                <a:gd name="connsiteY46" fmla="*/ 295712 h 371059"/>
                <a:gd name="connsiteX47" fmla="*/ 11552 w 272118"/>
                <a:gd name="connsiteY47" fmla="*/ 295712 h 371059"/>
                <a:gd name="connsiteX48" fmla="*/ 3699 w 272118"/>
                <a:gd name="connsiteY48" fmla="*/ 285124 h 371059"/>
                <a:gd name="connsiteX49" fmla="*/ 3742 w 272118"/>
                <a:gd name="connsiteY49" fmla="*/ 284886 h 371059"/>
                <a:gd name="connsiteX50" fmla="*/ 6997 w 272118"/>
                <a:gd name="connsiteY50" fmla="*/ 265724 h 371059"/>
                <a:gd name="connsiteX51" fmla="*/ 17734 w 272118"/>
                <a:gd name="connsiteY51" fmla="*/ 258340 h 371059"/>
                <a:gd name="connsiteX52" fmla="*/ 17843 w 272118"/>
                <a:gd name="connsiteY52" fmla="*/ 258362 h 371059"/>
                <a:gd name="connsiteX53" fmla="*/ 25109 w 272118"/>
                <a:gd name="connsiteY53" fmla="*/ 269188 h 371059"/>
                <a:gd name="connsiteX54" fmla="*/ 21964 w 272118"/>
                <a:gd name="connsiteY54" fmla="*/ 287267 h 371059"/>
                <a:gd name="connsiteX55" fmla="*/ 12745 w 272118"/>
                <a:gd name="connsiteY55" fmla="*/ 295278 h 371059"/>
                <a:gd name="connsiteX56" fmla="*/ 9274 w 272118"/>
                <a:gd name="connsiteY56" fmla="*/ 371060 h 371059"/>
                <a:gd name="connsiteX57" fmla="*/ 55 w 272118"/>
                <a:gd name="connsiteY57" fmla="*/ 362074 h 371059"/>
                <a:gd name="connsiteX58" fmla="*/ 55 w 272118"/>
                <a:gd name="connsiteY58" fmla="*/ 342804 h 371059"/>
                <a:gd name="connsiteX59" fmla="*/ 8319 w 272118"/>
                <a:gd name="connsiteY59" fmla="*/ 332541 h 371059"/>
                <a:gd name="connsiteX60" fmla="*/ 18602 w 272118"/>
                <a:gd name="connsiteY60" fmla="*/ 340801 h 371059"/>
                <a:gd name="connsiteX61" fmla="*/ 18602 w 272118"/>
                <a:gd name="connsiteY61" fmla="*/ 342804 h 371059"/>
                <a:gd name="connsiteX62" fmla="*/ 18602 w 272118"/>
                <a:gd name="connsiteY62" fmla="*/ 361208 h 371059"/>
                <a:gd name="connsiteX63" fmla="*/ 9708 w 272118"/>
                <a:gd name="connsiteY63" fmla="*/ 371060 h 371059"/>
                <a:gd name="connsiteX64" fmla="*/ 9708 w 272118"/>
                <a:gd name="connsiteY64" fmla="*/ 371060 h 371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272118" h="371059">
                  <a:moveTo>
                    <a:pt x="245502" y="25821"/>
                  </a:moveTo>
                  <a:cubicBezTo>
                    <a:pt x="241728" y="25789"/>
                    <a:pt x="238344" y="23472"/>
                    <a:pt x="236933" y="19975"/>
                  </a:cubicBezTo>
                  <a:cubicBezTo>
                    <a:pt x="234981" y="15158"/>
                    <a:pt x="237249" y="9669"/>
                    <a:pt x="242032" y="7634"/>
                  </a:cubicBezTo>
                  <a:cubicBezTo>
                    <a:pt x="247780" y="5252"/>
                    <a:pt x="253528" y="2871"/>
                    <a:pt x="259494" y="597"/>
                  </a:cubicBezTo>
                  <a:cubicBezTo>
                    <a:pt x="264320" y="-1211"/>
                    <a:pt x="269689" y="1225"/>
                    <a:pt x="271500" y="6043"/>
                  </a:cubicBezTo>
                  <a:cubicBezTo>
                    <a:pt x="271511" y="6064"/>
                    <a:pt x="271522" y="6097"/>
                    <a:pt x="271533" y="6118"/>
                  </a:cubicBezTo>
                  <a:cubicBezTo>
                    <a:pt x="273311" y="10957"/>
                    <a:pt x="270904" y="16327"/>
                    <a:pt x="266110" y="18243"/>
                  </a:cubicBezTo>
                  <a:lnTo>
                    <a:pt x="249082" y="25064"/>
                  </a:lnTo>
                  <a:cubicBezTo>
                    <a:pt x="247954" y="25572"/>
                    <a:pt x="246739" y="25832"/>
                    <a:pt x="245502" y="25821"/>
                  </a:cubicBezTo>
                  <a:moveTo>
                    <a:pt x="178907" y="59057"/>
                  </a:moveTo>
                  <a:cubicBezTo>
                    <a:pt x="175567" y="59014"/>
                    <a:pt x="172508" y="57195"/>
                    <a:pt x="170881" y="54294"/>
                  </a:cubicBezTo>
                  <a:cubicBezTo>
                    <a:pt x="168311" y="49801"/>
                    <a:pt x="169807" y="44085"/>
                    <a:pt x="174243" y="41411"/>
                  </a:cubicBezTo>
                  <a:cubicBezTo>
                    <a:pt x="179666" y="38271"/>
                    <a:pt x="185089" y="35132"/>
                    <a:pt x="190838" y="32100"/>
                  </a:cubicBezTo>
                  <a:cubicBezTo>
                    <a:pt x="195176" y="29686"/>
                    <a:pt x="200664" y="31234"/>
                    <a:pt x="203083" y="35565"/>
                  </a:cubicBezTo>
                  <a:cubicBezTo>
                    <a:pt x="203170" y="35705"/>
                    <a:pt x="203235" y="35857"/>
                    <a:pt x="203311" y="35998"/>
                  </a:cubicBezTo>
                  <a:cubicBezTo>
                    <a:pt x="205795" y="40566"/>
                    <a:pt x="204103" y="46282"/>
                    <a:pt x="199526" y="48772"/>
                  </a:cubicBezTo>
                  <a:cubicBezTo>
                    <a:pt x="199515" y="48772"/>
                    <a:pt x="199515" y="48772"/>
                    <a:pt x="199515" y="48772"/>
                  </a:cubicBezTo>
                  <a:cubicBezTo>
                    <a:pt x="194092" y="51695"/>
                    <a:pt x="188669" y="54727"/>
                    <a:pt x="183571" y="57758"/>
                  </a:cubicBezTo>
                  <a:cubicBezTo>
                    <a:pt x="182172" y="58613"/>
                    <a:pt x="180555" y="59068"/>
                    <a:pt x="178907" y="59057"/>
                  </a:cubicBezTo>
                  <a:moveTo>
                    <a:pt x="118277" y="102361"/>
                  </a:moveTo>
                  <a:cubicBezTo>
                    <a:pt x="115566" y="102371"/>
                    <a:pt x="112984" y="101181"/>
                    <a:pt x="111227" y="99113"/>
                  </a:cubicBezTo>
                  <a:cubicBezTo>
                    <a:pt x="107919" y="95129"/>
                    <a:pt x="108353" y="89250"/>
                    <a:pt x="112203" y="85797"/>
                  </a:cubicBezTo>
                  <a:cubicBezTo>
                    <a:pt x="116976" y="81683"/>
                    <a:pt x="121965" y="77569"/>
                    <a:pt x="127063" y="73564"/>
                  </a:cubicBezTo>
                  <a:cubicBezTo>
                    <a:pt x="131087" y="70446"/>
                    <a:pt x="136878" y="71182"/>
                    <a:pt x="140002" y="75188"/>
                  </a:cubicBezTo>
                  <a:cubicBezTo>
                    <a:pt x="140024" y="75231"/>
                    <a:pt x="140057" y="75263"/>
                    <a:pt x="140078" y="75296"/>
                  </a:cubicBezTo>
                  <a:cubicBezTo>
                    <a:pt x="143256" y="79421"/>
                    <a:pt x="142475" y="85331"/>
                    <a:pt x="138343" y="88503"/>
                  </a:cubicBezTo>
                  <a:cubicBezTo>
                    <a:pt x="138343" y="88503"/>
                    <a:pt x="138343" y="88503"/>
                    <a:pt x="138343" y="88503"/>
                  </a:cubicBezTo>
                  <a:cubicBezTo>
                    <a:pt x="133570" y="92293"/>
                    <a:pt x="128907" y="96190"/>
                    <a:pt x="124351" y="100087"/>
                  </a:cubicBezTo>
                  <a:cubicBezTo>
                    <a:pt x="122670" y="101560"/>
                    <a:pt x="120512" y="102361"/>
                    <a:pt x="118277" y="102361"/>
                  </a:cubicBezTo>
                  <a:moveTo>
                    <a:pt x="67734" y="157356"/>
                  </a:moveTo>
                  <a:cubicBezTo>
                    <a:pt x="65739" y="157345"/>
                    <a:pt x="63808" y="156696"/>
                    <a:pt x="62203" y="155516"/>
                  </a:cubicBezTo>
                  <a:cubicBezTo>
                    <a:pt x="58049" y="152376"/>
                    <a:pt x="57181" y="146509"/>
                    <a:pt x="60251" y="142308"/>
                  </a:cubicBezTo>
                  <a:cubicBezTo>
                    <a:pt x="63939" y="137112"/>
                    <a:pt x="67952" y="131482"/>
                    <a:pt x="72073" y="127044"/>
                  </a:cubicBezTo>
                  <a:cubicBezTo>
                    <a:pt x="75240" y="123136"/>
                    <a:pt x="80967" y="122529"/>
                    <a:pt x="84882" y="125680"/>
                  </a:cubicBezTo>
                  <a:cubicBezTo>
                    <a:pt x="84958" y="125745"/>
                    <a:pt x="85023" y="125799"/>
                    <a:pt x="85088" y="125853"/>
                  </a:cubicBezTo>
                  <a:cubicBezTo>
                    <a:pt x="88993" y="129209"/>
                    <a:pt x="89524" y="135055"/>
                    <a:pt x="86282" y="139061"/>
                  </a:cubicBezTo>
                  <a:cubicBezTo>
                    <a:pt x="82376" y="143824"/>
                    <a:pt x="78689" y="148587"/>
                    <a:pt x="75435" y="153459"/>
                  </a:cubicBezTo>
                  <a:cubicBezTo>
                    <a:pt x="73689" y="155862"/>
                    <a:pt x="70923" y="157302"/>
                    <a:pt x="67952" y="157356"/>
                  </a:cubicBezTo>
                  <a:moveTo>
                    <a:pt x="31834" y="223070"/>
                  </a:moveTo>
                  <a:cubicBezTo>
                    <a:pt x="30673" y="223080"/>
                    <a:pt x="29523" y="222821"/>
                    <a:pt x="28472" y="222312"/>
                  </a:cubicBezTo>
                  <a:cubicBezTo>
                    <a:pt x="23656" y="220363"/>
                    <a:pt x="21335" y="214896"/>
                    <a:pt x="23266" y="210078"/>
                  </a:cubicBezTo>
                  <a:cubicBezTo>
                    <a:pt x="25651" y="204124"/>
                    <a:pt x="28146" y="198170"/>
                    <a:pt x="30857" y="192324"/>
                  </a:cubicBezTo>
                  <a:cubicBezTo>
                    <a:pt x="33016" y="187669"/>
                    <a:pt x="38548" y="185633"/>
                    <a:pt x="43222" y="187777"/>
                  </a:cubicBezTo>
                  <a:cubicBezTo>
                    <a:pt x="47875" y="190061"/>
                    <a:pt x="49849" y="195637"/>
                    <a:pt x="47669" y="200335"/>
                  </a:cubicBezTo>
                  <a:cubicBezTo>
                    <a:pt x="45174" y="205856"/>
                    <a:pt x="42680" y="211161"/>
                    <a:pt x="40511" y="217115"/>
                  </a:cubicBezTo>
                  <a:cubicBezTo>
                    <a:pt x="39101" y="220677"/>
                    <a:pt x="35673" y="223026"/>
                    <a:pt x="31834" y="223070"/>
                  </a:cubicBezTo>
                  <a:moveTo>
                    <a:pt x="12853" y="295712"/>
                  </a:moveTo>
                  <a:lnTo>
                    <a:pt x="11552" y="295712"/>
                  </a:lnTo>
                  <a:cubicBezTo>
                    <a:pt x="6454" y="294954"/>
                    <a:pt x="2940" y="290212"/>
                    <a:pt x="3699" y="285124"/>
                  </a:cubicBezTo>
                  <a:cubicBezTo>
                    <a:pt x="3710" y="285048"/>
                    <a:pt x="3732" y="284961"/>
                    <a:pt x="3742" y="284886"/>
                  </a:cubicBezTo>
                  <a:cubicBezTo>
                    <a:pt x="4610" y="278390"/>
                    <a:pt x="5695" y="272003"/>
                    <a:pt x="6997" y="265724"/>
                  </a:cubicBezTo>
                  <a:cubicBezTo>
                    <a:pt x="7918" y="260722"/>
                    <a:pt x="12723" y="257420"/>
                    <a:pt x="17734" y="258340"/>
                  </a:cubicBezTo>
                  <a:cubicBezTo>
                    <a:pt x="17766" y="258351"/>
                    <a:pt x="17810" y="258351"/>
                    <a:pt x="17843" y="258362"/>
                  </a:cubicBezTo>
                  <a:cubicBezTo>
                    <a:pt x="22745" y="259499"/>
                    <a:pt x="25923" y="264230"/>
                    <a:pt x="25109" y="269188"/>
                  </a:cubicBezTo>
                  <a:cubicBezTo>
                    <a:pt x="23916" y="275142"/>
                    <a:pt x="22831" y="281096"/>
                    <a:pt x="21964" y="287267"/>
                  </a:cubicBezTo>
                  <a:cubicBezTo>
                    <a:pt x="21313" y="291857"/>
                    <a:pt x="17387" y="295268"/>
                    <a:pt x="12745" y="295278"/>
                  </a:cubicBezTo>
                  <a:moveTo>
                    <a:pt x="9274" y="371060"/>
                  </a:moveTo>
                  <a:cubicBezTo>
                    <a:pt x="4306" y="370952"/>
                    <a:pt x="283" y="367022"/>
                    <a:pt x="55" y="362074"/>
                  </a:cubicBezTo>
                  <a:cubicBezTo>
                    <a:pt x="55" y="355579"/>
                    <a:pt x="55" y="349191"/>
                    <a:pt x="55" y="342804"/>
                  </a:cubicBezTo>
                  <a:cubicBezTo>
                    <a:pt x="-499" y="337694"/>
                    <a:pt x="3200" y="333104"/>
                    <a:pt x="8319" y="332541"/>
                  </a:cubicBezTo>
                  <a:cubicBezTo>
                    <a:pt x="13450" y="331989"/>
                    <a:pt x="18048" y="335692"/>
                    <a:pt x="18602" y="340801"/>
                  </a:cubicBezTo>
                  <a:cubicBezTo>
                    <a:pt x="18677" y="341462"/>
                    <a:pt x="18677" y="342133"/>
                    <a:pt x="18602" y="342804"/>
                  </a:cubicBezTo>
                  <a:cubicBezTo>
                    <a:pt x="18602" y="348867"/>
                    <a:pt x="18602" y="355037"/>
                    <a:pt x="18602" y="361208"/>
                  </a:cubicBezTo>
                  <a:cubicBezTo>
                    <a:pt x="18851" y="366372"/>
                    <a:pt x="14882" y="370768"/>
                    <a:pt x="9708" y="371060"/>
                  </a:cubicBezTo>
                  <a:lnTo>
                    <a:pt x="9708" y="371060"/>
                  </a:lnTo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7" name="Freeform 146">
              <a:extLst>
                <a:ext uri="{FF2B5EF4-FFF2-40B4-BE49-F238E27FC236}">
                  <a16:creationId xmlns:a16="http://schemas.microsoft.com/office/drawing/2014/main" id="{914F295A-89C3-9B4D-A03C-A5903295319C}"/>
                </a:ext>
              </a:extLst>
            </p:cNvPr>
            <p:cNvSpPr/>
            <p:nvPr/>
          </p:nvSpPr>
          <p:spPr>
            <a:xfrm>
              <a:off x="6635952" y="3098978"/>
              <a:ext cx="614317" cy="89530"/>
            </a:xfrm>
            <a:custGeom>
              <a:avLst/>
              <a:gdLst>
                <a:gd name="connsiteX0" fmla="*/ 300644 w 614317"/>
                <a:gd name="connsiteY0" fmla="*/ 18945 h 89530"/>
                <a:gd name="connsiteX1" fmla="*/ 292173 w 614317"/>
                <a:gd name="connsiteY1" fmla="*/ 8455 h 89530"/>
                <a:gd name="connsiteX2" fmla="*/ 300644 w 614317"/>
                <a:gd name="connsiteY2" fmla="*/ 0 h 89530"/>
                <a:gd name="connsiteX3" fmla="*/ 319516 w 614317"/>
                <a:gd name="connsiteY3" fmla="*/ 0 h 89530"/>
                <a:gd name="connsiteX4" fmla="*/ 328953 w 614317"/>
                <a:gd name="connsiteY4" fmla="*/ 9418 h 89530"/>
                <a:gd name="connsiteX5" fmla="*/ 319516 w 614317"/>
                <a:gd name="connsiteY5" fmla="*/ 18837 h 89530"/>
                <a:gd name="connsiteX6" fmla="*/ 317781 w 614317"/>
                <a:gd name="connsiteY6" fmla="*/ 18837 h 89530"/>
                <a:gd name="connsiteX7" fmla="*/ 301187 w 614317"/>
                <a:gd name="connsiteY7" fmla="*/ 18837 h 89530"/>
                <a:gd name="connsiteX8" fmla="*/ 393378 w 614317"/>
                <a:gd name="connsiteY8" fmla="*/ 22734 h 89530"/>
                <a:gd name="connsiteX9" fmla="*/ 392294 w 614317"/>
                <a:gd name="connsiteY9" fmla="*/ 22734 h 89530"/>
                <a:gd name="connsiteX10" fmla="*/ 374072 w 614317"/>
                <a:gd name="connsiteY10" fmla="*/ 21002 h 89530"/>
                <a:gd name="connsiteX11" fmla="*/ 365396 w 614317"/>
                <a:gd name="connsiteY11" fmla="*/ 10826 h 89530"/>
                <a:gd name="connsiteX12" fmla="*/ 375591 w 614317"/>
                <a:gd name="connsiteY12" fmla="*/ 2165 h 89530"/>
                <a:gd name="connsiteX13" fmla="*/ 394355 w 614317"/>
                <a:gd name="connsiteY13" fmla="*/ 4006 h 89530"/>
                <a:gd name="connsiteX14" fmla="*/ 402316 w 614317"/>
                <a:gd name="connsiteY14" fmla="*/ 14691 h 89530"/>
                <a:gd name="connsiteX15" fmla="*/ 393378 w 614317"/>
                <a:gd name="connsiteY15" fmla="*/ 22734 h 89530"/>
                <a:gd name="connsiteX16" fmla="*/ 226457 w 614317"/>
                <a:gd name="connsiteY16" fmla="*/ 23925 h 89530"/>
                <a:gd name="connsiteX17" fmla="*/ 216533 w 614317"/>
                <a:gd name="connsiteY17" fmla="*/ 14994 h 89530"/>
                <a:gd name="connsiteX18" fmla="*/ 225481 w 614317"/>
                <a:gd name="connsiteY18" fmla="*/ 5088 h 89530"/>
                <a:gd name="connsiteX19" fmla="*/ 244136 w 614317"/>
                <a:gd name="connsiteY19" fmla="*/ 3248 h 89530"/>
                <a:gd name="connsiteX20" fmla="*/ 253789 w 614317"/>
                <a:gd name="connsiteY20" fmla="*/ 12450 h 89530"/>
                <a:gd name="connsiteX21" fmla="*/ 245763 w 614317"/>
                <a:gd name="connsiteY21" fmla="*/ 21977 h 89530"/>
                <a:gd name="connsiteX22" fmla="*/ 227541 w 614317"/>
                <a:gd name="connsiteY22" fmla="*/ 23817 h 89530"/>
                <a:gd name="connsiteX23" fmla="*/ 226457 w 614317"/>
                <a:gd name="connsiteY23" fmla="*/ 23817 h 89530"/>
                <a:gd name="connsiteX24" fmla="*/ 153029 w 614317"/>
                <a:gd name="connsiteY24" fmla="*/ 34643 h 89530"/>
                <a:gd name="connsiteX25" fmla="*/ 143950 w 614317"/>
                <a:gd name="connsiteY25" fmla="*/ 24878 h 89530"/>
                <a:gd name="connsiteX26" fmla="*/ 151402 w 614317"/>
                <a:gd name="connsiteY26" fmla="*/ 16022 h 89530"/>
                <a:gd name="connsiteX27" fmla="*/ 169840 w 614317"/>
                <a:gd name="connsiteY27" fmla="*/ 12666 h 89530"/>
                <a:gd name="connsiteX28" fmla="*/ 180643 w 614317"/>
                <a:gd name="connsiteY28" fmla="*/ 20223 h 89530"/>
                <a:gd name="connsiteX29" fmla="*/ 180686 w 614317"/>
                <a:gd name="connsiteY29" fmla="*/ 20461 h 89530"/>
                <a:gd name="connsiteX30" fmla="*/ 173094 w 614317"/>
                <a:gd name="connsiteY30" fmla="*/ 31287 h 89530"/>
                <a:gd name="connsiteX31" fmla="*/ 154981 w 614317"/>
                <a:gd name="connsiteY31" fmla="*/ 34535 h 89530"/>
                <a:gd name="connsiteX32" fmla="*/ 153246 w 614317"/>
                <a:gd name="connsiteY32" fmla="*/ 34535 h 89530"/>
                <a:gd name="connsiteX33" fmla="*/ 466698 w 614317"/>
                <a:gd name="connsiteY33" fmla="*/ 35076 h 89530"/>
                <a:gd name="connsiteX34" fmla="*/ 464637 w 614317"/>
                <a:gd name="connsiteY34" fmla="*/ 35076 h 89530"/>
                <a:gd name="connsiteX35" fmla="*/ 446741 w 614317"/>
                <a:gd name="connsiteY35" fmla="*/ 31070 h 89530"/>
                <a:gd name="connsiteX36" fmla="*/ 439474 w 614317"/>
                <a:gd name="connsiteY36" fmla="*/ 20244 h 89530"/>
                <a:gd name="connsiteX37" fmla="*/ 450321 w 614317"/>
                <a:gd name="connsiteY37" fmla="*/ 12774 h 89530"/>
                <a:gd name="connsiteX38" fmla="*/ 468759 w 614317"/>
                <a:gd name="connsiteY38" fmla="*/ 16888 h 89530"/>
                <a:gd name="connsiteX39" fmla="*/ 475592 w 614317"/>
                <a:gd name="connsiteY39" fmla="*/ 27714 h 89530"/>
                <a:gd name="connsiteX40" fmla="*/ 466590 w 614317"/>
                <a:gd name="connsiteY40" fmla="*/ 34968 h 89530"/>
                <a:gd name="connsiteX41" fmla="*/ 80902 w 614317"/>
                <a:gd name="connsiteY41" fmla="*/ 51423 h 89530"/>
                <a:gd name="connsiteX42" fmla="*/ 71639 w 614317"/>
                <a:gd name="connsiteY42" fmla="*/ 41831 h 89530"/>
                <a:gd name="connsiteX43" fmla="*/ 78624 w 614317"/>
                <a:gd name="connsiteY43" fmla="*/ 32911 h 89530"/>
                <a:gd name="connsiteX44" fmla="*/ 96846 w 614317"/>
                <a:gd name="connsiteY44" fmla="*/ 28364 h 89530"/>
                <a:gd name="connsiteX45" fmla="*/ 108180 w 614317"/>
                <a:gd name="connsiteY45" fmla="*/ 35455 h 89530"/>
                <a:gd name="connsiteX46" fmla="*/ 101076 w 614317"/>
                <a:gd name="connsiteY46" fmla="*/ 46768 h 89530"/>
                <a:gd name="connsiteX47" fmla="*/ 83180 w 614317"/>
                <a:gd name="connsiteY47" fmla="*/ 51207 h 89530"/>
                <a:gd name="connsiteX48" fmla="*/ 80902 w 614317"/>
                <a:gd name="connsiteY48" fmla="*/ 51207 h 89530"/>
                <a:gd name="connsiteX49" fmla="*/ 537849 w 614317"/>
                <a:gd name="connsiteY49" fmla="*/ 57919 h 89530"/>
                <a:gd name="connsiteX50" fmla="*/ 534486 w 614317"/>
                <a:gd name="connsiteY50" fmla="*/ 57269 h 89530"/>
                <a:gd name="connsiteX51" fmla="*/ 517349 w 614317"/>
                <a:gd name="connsiteY51" fmla="*/ 50882 h 89530"/>
                <a:gd name="connsiteX52" fmla="*/ 511601 w 614317"/>
                <a:gd name="connsiteY52" fmla="*/ 38973 h 89530"/>
                <a:gd name="connsiteX53" fmla="*/ 523217 w 614317"/>
                <a:gd name="connsiteY53" fmla="*/ 33051 h 89530"/>
                <a:gd name="connsiteX54" fmla="*/ 523423 w 614317"/>
                <a:gd name="connsiteY54" fmla="*/ 33127 h 89530"/>
                <a:gd name="connsiteX55" fmla="*/ 541211 w 614317"/>
                <a:gd name="connsiteY55" fmla="*/ 39623 h 89530"/>
                <a:gd name="connsiteX56" fmla="*/ 546525 w 614317"/>
                <a:gd name="connsiteY56" fmla="*/ 51856 h 89530"/>
                <a:gd name="connsiteX57" fmla="*/ 537849 w 614317"/>
                <a:gd name="connsiteY57" fmla="*/ 57919 h 89530"/>
                <a:gd name="connsiteX58" fmla="*/ 9318 w 614317"/>
                <a:gd name="connsiteY58" fmla="*/ 71451 h 89530"/>
                <a:gd name="connsiteX59" fmla="*/ 1 w 614317"/>
                <a:gd name="connsiteY59" fmla="*/ 61924 h 89530"/>
                <a:gd name="connsiteX60" fmla="*/ 6606 w 614317"/>
                <a:gd name="connsiteY60" fmla="*/ 53047 h 89530"/>
                <a:gd name="connsiteX61" fmla="*/ 24502 w 614317"/>
                <a:gd name="connsiteY61" fmla="*/ 47526 h 89530"/>
                <a:gd name="connsiteX62" fmla="*/ 35934 w 614317"/>
                <a:gd name="connsiteY62" fmla="*/ 53783 h 89530"/>
                <a:gd name="connsiteX63" fmla="*/ 35999 w 614317"/>
                <a:gd name="connsiteY63" fmla="*/ 54021 h 89530"/>
                <a:gd name="connsiteX64" fmla="*/ 29849 w 614317"/>
                <a:gd name="connsiteY64" fmla="*/ 65670 h 89530"/>
                <a:gd name="connsiteX65" fmla="*/ 29708 w 614317"/>
                <a:gd name="connsiteY65" fmla="*/ 65713 h 89530"/>
                <a:gd name="connsiteX66" fmla="*/ 12029 w 614317"/>
                <a:gd name="connsiteY66" fmla="*/ 71018 h 89530"/>
                <a:gd name="connsiteX67" fmla="*/ 9318 w 614317"/>
                <a:gd name="connsiteY67" fmla="*/ 71018 h 89530"/>
                <a:gd name="connsiteX68" fmla="*/ 604986 w 614317"/>
                <a:gd name="connsiteY68" fmla="*/ 89530 h 89530"/>
                <a:gd name="connsiteX69" fmla="*/ 600431 w 614317"/>
                <a:gd name="connsiteY69" fmla="*/ 88339 h 89530"/>
                <a:gd name="connsiteX70" fmla="*/ 584487 w 614317"/>
                <a:gd name="connsiteY70" fmla="*/ 79571 h 89530"/>
                <a:gd name="connsiteX71" fmla="*/ 580430 w 614317"/>
                <a:gd name="connsiteY71" fmla="*/ 66882 h 89530"/>
                <a:gd name="connsiteX72" fmla="*/ 580474 w 614317"/>
                <a:gd name="connsiteY72" fmla="*/ 66796 h 89530"/>
                <a:gd name="connsiteX73" fmla="*/ 592860 w 614317"/>
                <a:gd name="connsiteY73" fmla="*/ 62747 h 89530"/>
                <a:gd name="connsiteX74" fmla="*/ 592947 w 614317"/>
                <a:gd name="connsiteY74" fmla="*/ 62790 h 89530"/>
                <a:gd name="connsiteX75" fmla="*/ 609541 w 614317"/>
                <a:gd name="connsiteY75" fmla="*/ 71884 h 89530"/>
                <a:gd name="connsiteX76" fmla="*/ 613121 w 614317"/>
                <a:gd name="connsiteY76" fmla="*/ 84659 h 89530"/>
                <a:gd name="connsiteX77" fmla="*/ 604986 w 614317"/>
                <a:gd name="connsiteY77" fmla="*/ 89530 h 89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614317" h="89530">
                  <a:moveTo>
                    <a:pt x="300644" y="18945"/>
                  </a:moveTo>
                  <a:cubicBezTo>
                    <a:pt x="295406" y="18382"/>
                    <a:pt x="291609" y="13695"/>
                    <a:pt x="292173" y="8455"/>
                  </a:cubicBezTo>
                  <a:cubicBezTo>
                    <a:pt x="292651" y="3995"/>
                    <a:pt x="296176" y="476"/>
                    <a:pt x="300644" y="0"/>
                  </a:cubicBezTo>
                  <a:lnTo>
                    <a:pt x="319516" y="0"/>
                  </a:lnTo>
                  <a:cubicBezTo>
                    <a:pt x="324723" y="0"/>
                    <a:pt x="328953" y="4222"/>
                    <a:pt x="328953" y="9418"/>
                  </a:cubicBezTo>
                  <a:cubicBezTo>
                    <a:pt x="328953" y="14615"/>
                    <a:pt x="324723" y="18837"/>
                    <a:pt x="319516" y="18837"/>
                  </a:cubicBezTo>
                  <a:lnTo>
                    <a:pt x="317781" y="18837"/>
                  </a:lnTo>
                  <a:cubicBezTo>
                    <a:pt x="312249" y="18837"/>
                    <a:pt x="306935" y="18837"/>
                    <a:pt x="301187" y="18837"/>
                  </a:cubicBezTo>
                  <a:close/>
                  <a:moveTo>
                    <a:pt x="393378" y="22734"/>
                  </a:moveTo>
                  <a:lnTo>
                    <a:pt x="392294" y="22734"/>
                  </a:lnTo>
                  <a:cubicBezTo>
                    <a:pt x="386220" y="22085"/>
                    <a:pt x="380146" y="21435"/>
                    <a:pt x="374072" y="21002"/>
                  </a:cubicBezTo>
                  <a:cubicBezTo>
                    <a:pt x="368856" y="20580"/>
                    <a:pt x="364973" y="16022"/>
                    <a:pt x="365396" y="10826"/>
                  </a:cubicBezTo>
                  <a:cubicBezTo>
                    <a:pt x="365819" y="5630"/>
                    <a:pt x="370385" y="1743"/>
                    <a:pt x="375591" y="2165"/>
                  </a:cubicBezTo>
                  <a:cubicBezTo>
                    <a:pt x="381882" y="2706"/>
                    <a:pt x="388064" y="3248"/>
                    <a:pt x="394355" y="4006"/>
                  </a:cubicBezTo>
                  <a:cubicBezTo>
                    <a:pt x="399507" y="4763"/>
                    <a:pt x="403075" y="9548"/>
                    <a:pt x="402316" y="14691"/>
                  </a:cubicBezTo>
                  <a:cubicBezTo>
                    <a:pt x="401665" y="19173"/>
                    <a:pt x="397901" y="22540"/>
                    <a:pt x="393378" y="22734"/>
                  </a:cubicBezTo>
                  <a:moveTo>
                    <a:pt x="226457" y="23925"/>
                  </a:moveTo>
                  <a:cubicBezTo>
                    <a:pt x="221251" y="24196"/>
                    <a:pt x="216804" y="20190"/>
                    <a:pt x="216533" y="14994"/>
                  </a:cubicBezTo>
                  <a:cubicBezTo>
                    <a:pt x="216262" y="9797"/>
                    <a:pt x="220275" y="5359"/>
                    <a:pt x="225481" y="5088"/>
                  </a:cubicBezTo>
                  <a:lnTo>
                    <a:pt x="244136" y="3248"/>
                  </a:lnTo>
                  <a:cubicBezTo>
                    <a:pt x="249342" y="3129"/>
                    <a:pt x="253670" y="7243"/>
                    <a:pt x="253789" y="12450"/>
                  </a:cubicBezTo>
                  <a:cubicBezTo>
                    <a:pt x="253898" y="17192"/>
                    <a:pt x="250459" y="21273"/>
                    <a:pt x="245763" y="21977"/>
                  </a:cubicBezTo>
                  <a:lnTo>
                    <a:pt x="227541" y="23817"/>
                  </a:lnTo>
                  <a:lnTo>
                    <a:pt x="226457" y="23817"/>
                  </a:lnTo>
                  <a:moveTo>
                    <a:pt x="153029" y="34643"/>
                  </a:moveTo>
                  <a:cubicBezTo>
                    <a:pt x="147823" y="34448"/>
                    <a:pt x="143755" y="30074"/>
                    <a:pt x="143950" y="24878"/>
                  </a:cubicBezTo>
                  <a:cubicBezTo>
                    <a:pt x="144113" y="20569"/>
                    <a:pt x="147183" y="16932"/>
                    <a:pt x="151402" y="16022"/>
                  </a:cubicBezTo>
                  <a:lnTo>
                    <a:pt x="169840" y="12666"/>
                  </a:lnTo>
                  <a:cubicBezTo>
                    <a:pt x="174916" y="11768"/>
                    <a:pt x="179754" y="15156"/>
                    <a:pt x="180643" y="20223"/>
                  </a:cubicBezTo>
                  <a:cubicBezTo>
                    <a:pt x="180665" y="20299"/>
                    <a:pt x="180675" y="20374"/>
                    <a:pt x="180686" y="20461"/>
                  </a:cubicBezTo>
                  <a:cubicBezTo>
                    <a:pt x="181543" y="25538"/>
                    <a:pt x="178159" y="30356"/>
                    <a:pt x="173094" y="31287"/>
                  </a:cubicBezTo>
                  <a:lnTo>
                    <a:pt x="154981" y="34535"/>
                  </a:lnTo>
                  <a:lnTo>
                    <a:pt x="153246" y="34535"/>
                  </a:lnTo>
                  <a:moveTo>
                    <a:pt x="466698" y="35076"/>
                  </a:moveTo>
                  <a:lnTo>
                    <a:pt x="464637" y="35076"/>
                  </a:lnTo>
                  <a:lnTo>
                    <a:pt x="446741" y="31070"/>
                  </a:lnTo>
                  <a:cubicBezTo>
                    <a:pt x="441806" y="29988"/>
                    <a:pt x="438596" y="25213"/>
                    <a:pt x="439474" y="20244"/>
                  </a:cubicBezTo>
                  <a:cubicBezTo>
                    <a:pt x="440407" y="15200"/>
                    <a:pt x="445255" y="11854"/>
                    <a:pt x="450321" y="12774"/>
                  </a:cubicBezTo>
                  <a:lnTo>
                    <a:pt x="468759" y="16888"/>
                  </a:lnTo>
                  <a:cubicBezTo>
                    <a:pt x="473520" y="18166"/>
                    <a:pt x="476492" y="22875"/>
                    <a:pt x="475592" y="27714"/>
                  </a:cubicBezTo>
                  <a:cubicBezTo>
                    <a:pt x="474670" y="31947"/>
                    <a:pt x="470928" y="34968"/>
                    <a:pt x="466590" y="34968"/>
                  </a:cubicBezTo>
                  <a:moveTo>
                    <a:pt x="80902" y="51423"/>
                  </a:moveTo>
                  <a:cubicBezTo>
                    <a:pt x="75696" y="51326"/>
                    <a:pt x="71542" y="47039"/>
                    <a:pt x="71639" y="41831"/>
                  </a:cubicBezTo>
                  <a:cubicBezTo>
                    <a:pt x="71716" y="37642"/>
                    <a:pt x="74568" y="34004"/>
                    <a:pt x="78624" y="32911"/>
                  </a:cubicBezTo>
                  <a:lnTo>
                    <a:pt x="96846" y="28364"/>
                  </a:lnTo>
                  <a:cubicBezTo>
                    <a:pt x="101933" y="27195"/>
                    <a:pt x="107009" y="30378"/>
                    <a:pt x="108180" y="35455"/>
                  </a:cubicBezTo>
                  <a:cubicBezTo>
                    <a:pt x="109351" y="40532"/>
                    <a:pt x="106163" y="45599"/>
                    <a:pt x="101076" y="46768"/>
                  </a:cubicBezTo>
                  <a:lnTo>
                    <a:pt x="83180" y="51207"/>
                  </a:lnTo>
                  <a:lnTo>
                    <a:pt x="80902" y="51207"/>
                  </a:lnTo>
                  <a:moveTo>
                    <a:pt x="537849" y="57919"/>
                  </a:moveTo>
                  <a:cubicBezTo>
                    <a:pt x="536699" y="57919"/>
                    <a:pt x="535560" y="57691"/>
                    <a:pt x="534486" y="57269"/>
                  </a:cubicBezTo>
                  <a:cubicBezTo>
                    <a:pt x="528846" y="55104"/>
                    <a:pt x="523640" y="52939"/>
                    <a:pt x="517349" y="50882"/>
                  </a:cubicBezTo>
                  <a:cubicBezTo>
                    <a:pt x="512534" y="49096"/>
                    <a:pt x="509996" y="43845"/>
                    <a:pt x="511601" y="38973"/>
                  </a:cubicBezTo>
                  <a:cubicBezTo>
                    <a:pt x="513174" y="34134"/>
                    <a:pt x="518369" y="31493"/>
                    <a:pt x="523217" y="33051"/>
                  </a:cubicBezTo>
                  <a:cubicBezTo>
                    <a:pt x="523282" y="33084"/>
                    <a:pt x="523358" y="33106"/>
                    <a:pt x="523423" y="33127"/>
                  </a:cubicBezTo>
                  <a:cubicBezTo>
                    <a:pt x="529389" y="35184"/>
                    <a:pt x="535354" y="37349"/>
                    <a:pt x="541211" y="39623"/>
                  </a:cubicBezTo>
                  <a:cubicBezTo>
                    <a:pt x="546027" y="41582"/>
                    <a:pt x="548380" y="47017"/>
                    <a:pt x="546525" y="51856"/>
                  </a:cubicBezTo>
                  <a:cubicBezTo>
                    <a:pt x="545202" y="55504"/>
                    <a:pt x="541732" y="57919"/>
                    <a:pt x="537849" y="57919"/>
                  </a:cubicBezTo>
                  <a:moveTo>
                    <a:pt x="9318" y="71451"/>
                  </a:moveTo>
                  <a:cubicBezTo>
                    <a:pt x="4112" y="71386"/>
                    <a:pt x="-64" y="67121"/>
                    <a:pt x="1" y="61924"/>
                  </a:cubicBezTo>
                  <a:cubicBezTo>
                    <a:pt x="44" y="57843"/>
                    <a:pt x="2712" y="54270"/>
                    <a:pt x="6606" y="53047"/>
                  </a:cubicBezTo>
                  <a:lnTo>
                    <a:pt x="24502" y="47526"/>
                  </a:lnTo>
                  <a:cubicBezTo>
                    <a:pt x="29394" y="46108"/>
                    <a:pt x="34513" y="48901"/>
                    <a:pt x="35934" y="53783"/>
                  </a:cubicBezTo>
                  <a:cubicBezTo>
                    <a:pt x="35956" y="53859"/>
                    <a:pt x="35977" y="53946"/>
                    <a:pt x="35999" y="54021"/>
                  </a:cubicBezTo>
                  <a:cubicBezTo>
                    <a:pt x="37529" y="58936"/>
                    <a:pt x="34774" y="64144"/>
                    <a:pt x="29849" y="65670"/>
                  </a:cubicBezTo>
                  <a:cubicBezTo>
                    <a:pt x="29806" y="65681"/>
                    <a:pt x="29752" y="65702"/>
                    <a:pt x="29708" y="65713"/>
                  </a:cubicBezTo>
                  <a:lnTo>
                    <a:pt x="12029" y="71018"/>
                  </a:lnTo>
                  <a:cubicBezTo>
                    <a:pt x="11129" y="71170"/>
                    <a:pt x="10218" y="71170"/>
                    <a:pt x="9318" y="71018"/>
                  </a:cubicBezTo>
                  <a:moveTo>
                    <a:pt x="604986" y="89530"/>
                  </a:moveTo>
                  <a:cubicBezTo>
                    <a:pt x="603392" y="89498"/>
                    <a:pt x="601841" y="89086"/>
                    <a:pt x="600431" y="88339"/>
                  </a:cubicBezTo>
                  <a:cubicBezTo>
                    <a:pt x="595225" y="85308"/>
                    <a:pt x="589585" y="82385"/>
                    <a:pt x="584487" y="79571"/>
                  </a:cubicBezTo>
                  <a:cubicBezTo>
                    <a:pt x="579856" y="77189"/>
                    <a:pt x="578044" y="71505"/>
                    <a:pt x="580430" y="66882"/>
                  </a:cubicBezTo>
                  <a:cubicBezTo>
                    <a:pt x="580441" y="66850"/>
                    <a:pt x="580463" y="66828"/>
                    <a:pt x="580474" y="66796"/>
                  </a:cubicBezTo>
                  <a:cubicBezTo>
                    <a:pt x="582773" y="62260"/>
                    <a:pt x="588326" y="60452"/>
                    <a:pt x="592860" y="62747"/>
                  </a:cubicBezTo>
                  <a:cubicBezTo>
                    <a:pt x="592893" y="62758"/>
                    <a:pt x="592914" y="62779"/>
                    <a:pt x="592947" y="62790"/>
                  </a:cubicBezTo>
                  <a:cubicBezTo>
                    <a:pt x="598478" y="65713"/>
                    <a:pt x="603793" y="68745"/>
                    <a:pt x="609541" y="71884"/>
                  </a:cubicBezTo>
                  <a:cubicBezTo>
                    <a:pt x="614043" y="74439"/>
                    <a:pt x="615648" y="80144"/>
                    <a:pt x="613121" y="84659"/>
                  </a:cubicBezTo>
                  <a:cubicBezTo>
                    <a:pt x="611515" y="87657"/>
                    <a:pt x="608392" y="89530"/>
                    <a:pt x="604986" y="89530"/>
                  </a:cubicBezTo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" name="Freeform 147">
              <a:extLst>
                <a:ext uri="{FF2B5EF4-FFF2-40B4-BE49-F238E27FC236}">
                  <a16:creationId xmlns:a16="http://schemas.microsoft.com/office/drawing/2014/main" id="{A2F30FB7-C1A4-B441-91C3-351939D58943}"/>
                </a:ext>
              </a:extLst>
            </p:cNvPr>
            <p:cNvSpPr/>
            <p:nvPr/>
          </p:nvSpPr>
          <p:spPr>
            <a:xfrm>
              <a:off x="6670644" y="3422803"/>
              <a:ext cx="532845" cy="997477"/>
            </a:xfrm>
            <a:custGeom>
              <a:avLst/>
              <a:gdLst>
                <a:gd name="connsiteX0" fmla="*/ 509882 w 532845"/>
                <a:gd name="connsiteY0" fmla="*/ 23795 h 997477"/>
                <a:gd name="connsiteX1" fmla="*/ 501205 w 532845"/>
                <a:gd name="connsiteY1" fmla="*/ 17516 h 997477"/>
                <a:gd name="connsiteX2" fmla="*/ 506736 w 532845"/>
                <a:gd name="connsiteY2" fmla="*/ 5499 h 997477"/>
                <a:gd name="connsiteX3" fmla="*/ 520511 w 532845"/>
                <a:gd name="connsiteY3" fmla="*/ 519 h 997477"/>
                <a:gd name="connsiteX4" fmla="*/ 532257 w 532845"/>
                <a:gd name="connsiteY4" fmla="*/ 6160 h 997477"/>
                <a:gd name="connsiteX5" fmla="*/ 532333 w 532845"/>
                <a:gd name="connsiteY5" fmla="*/ 6365 h 997477"/>
                <a:gd name="connsiteX6" fmla="*/ 526585 w 532845"/>
                <a:gd name="connsiteY6" fmla="*/ 18382 h 997477"/>
                <a:gd name="connsiteX7" fmla="*/ 513136 w 532845"/>
                <a:gd name="connsiteY7" fmla="*/ 23254 h 997477"/>
                <a:gd name="connsiteX8" fmla="*/ 509882 w 532845"/>
                <a:gd name="connsiteY8" fmla="*/ 23795 h 997477"/>
                <a:gd name="connsiteX9" fmla="*/ 440901 w 532845"/>
                <a:gd name="connsiteY9" fmla="*/ 51509 h 997477"/>
                <a:gd name="connsiteX10" fmla="*/ 432332 w 532845"/>
                <a:gd name="connsiteY10" fmla="*/ 45772 h 997477"/>
                <a:gd name="connsiteX11" fmla="*/ 437213 w 532845"/>
                <a:gd name="connsiteY11" fmla="*/ 33430 h 997477"/>
                <a:gd name="connsiteX12" fmla="*/ 454458 w 532845"/>
                <a:gd name="connsiteY12" fmla="*/ 25960 h 997477"/>
                <a:gd name="connsiteX13" fmla="*/ 466508 w 532845"/>
                <a:gd name="connsiteY13" fmla="*/ 30918 h 997477"/>
                <a:gd name="connsiteX14" fmla="*/ 466606 w 532845"/>
                <a:gd name="connsiteY14" fmla="*/ 31157 h 997477"/>
                <a:gd name="connsiteX15" fmla="*/ 461508 w 532845"/>
                <a:gd name="connsiteY15" fmla="*/ 43498 h 997477"/>
                <a:gd name="connsiteX16" fmla="*/ 444588 w 532845"/>
                <a:gd name="connsiteY16" fmla="*/ 50752 h 997477"/>
                <a:gd name="connsiteX17" fmla="*/ 440901 w 532845"/>
                <a:gd name="connsiteY17" fmla="*/ 51509 h 997477"/>
                <a:gd name="connsiteX18" fmla="*/ 373763 w 532845"/>
                <a:gd name="connsiteY18" fmla="*/ 83987 h 997477"/>
                <a:gd name="connsiteX19" fmla="*/ 365520 w 532845"/>
                <a:gd name="connsiteY19" fmla="*/ 78899 h 997477"/>
                <a:gd name="connsiteX20" fmla="*/ 369533 w 532845"/>
                <a:gd name="connsiteY20" fmla="*/ 66124 h 997477"/>
                <a:gd name="connsiteX21" fmla="*/ 386236 w 532845"/>
                <a:gd name="connsiteY21" fmla="*/ 57572 h 997477"/>
                <a:gd name="connsiteX22" fmla="*/ 398698 w 532845"/>
                <a:gd name="connsiteY22" fmla="*/ 61881 h 997477"/>
                <a:gd name="connsiteX23" fmla="*/ 398709 w 532845"/>
                <a:gd name="connsiteY23" fmla="*/ 61902 h 997477"/>
                <a:gd name="connsiteX24" fmla="*/ 394479 w 532845"/>
                <a:gd name="connsiteY24" fmla="*/ 74568 h 997477"/>
                <a:gd name="connsiteX25" fmla="*/ 377993 w 532845"/>
                <a:gd name="connsiteY25" fmla="*/ 82905 h 997477"/>
                <a:gd name="connsiteX26" fmla="*/ 373763 w 532845"/>
                <a:gd name="connsiteY26" fmla="*/ 83987 h 997477"/>
                <a:gd name="connsiteX27" fmla="*/ 309337 w 532845"/>
                <a:gd name="connsiteY27" fmla="*/ 121120 h 997477"/>
                <a:gd name="connsiteX28" fmla="*/ 301420 w 532845"/>
                <a:gd name="connsiteY28" fmla="*/ 116681 h 997477"/>
                <a:gd name="connsiteX29" fmla="*/ 304348 w 532845"/>
                <a:gd name="connsiteY29" fmla="*/ 103798 h 997477"/>
                <a:gd name="connsiteX30" fmla="*/ 320400 w 532845"/>
                <a:gd name="connsiteY30" fmla="*/ 93839 h 997477"/>
                <a:gd name="connsiteX31" fmla="*/ 332939 w 532845"/>
                <a:gd name="connsiteY31" fmla="*/ 96826 h 997477"/>
                <a:gd name="connsiteX32" fmla="*/ 333090 w 532845"/>
                <a:gd name="connsiteY32" fmla="*/ 97086 h 997477"/>
                <a:gd name="connsiteX33" fmla="*/ 329836 w 532845"/>
                <a:gd name="connsiteY33" fmla="*/ 109969 h 997477"/>
                <a:gd name="connsiteX34" fmla="*/ 314218 w 532845"/>
                <a:gd name="connsiteY34" fmla="*/ 119713 h 997477"/>
                <a:gd name="connsiteX35" fmla="*/ 309337 w 532845"/>
                <a:gd name="connsiteY35" fmla="*/ 121120 h 997477"/>
                <a:gd name="connsiteX36" fmla="*/ 248491 w 532845"/>
                <a:gd name="connsiteY36" fmla="*/ 164424 h 997477"/>
                <a:gd name="connsiteX37" fmla="*/ 241441 w 532845"/>
                <a:gd name="connsiteY37" fmla="*/ 160635 h 997477"/>
                <a:gd name="connsiteX38" fmla="*/ 243068 w 532845"/>
                <a:gd name="connsiteY38" fmla="*/ 147427 h 997477"/>
                <a:gd name="connsiteX39" fmla="*/ 258144 w 532845"/>
                <a:gd name="connsiteY39" fmla="*/ 135951 h 997477"/>
                <a:gd name="connsiteX40" fmla="*/ 270779 w 532845"/>
                <a:gd name="connsiteY40" fmla="*/ 137532 h 997477"/>
                <a:gd name="connsiteX41" fmla="*/ 271051 w 532845"/>
                <a:gd name="connsiteY41" fmla="*/ 137900 h 997477"/>
                <a:gd name="connsiteX42" fmla="*/ 269098 w 532845"/>
                <a:gd name="connsiteY42" fmla="*/ 151108 h 997477"/>
                <a:gd name="connsiteX43" fmla="*/ 254456 w 532845"/>
                <a:gd name="connsiteY43" fmla="*/ 161934 h 997477"/>
                <a:gd name="connsiteX44" fmla="*/ 248816 w 532845"/>
                <a:gd name="connsiteY44" fmla="*/ 163991 h 997477"/>
                <a:gd name="connsiteX45" fmla="*/ 192959 w 532845"/>
                <a:gd name="connsiteY45" fmla="*/ 213357 h 997477"/>
                <a:gd name="connsiteX46" fmla="*/ 186343 w 532845"/>
                <a:gd name="connsiteY46" fmla="*/ 210542 h 997477"/>
                <a:gd name="connsiteX47" fmla="*/ 186343 w 532845"/>
                <a:gd name="connsiteY47" fmla="*/ 197226 h 997477"/>
                <a:gd name="connsiteX48" fmla="*/ 200008 w 532845"/>
                <a:gd name="connsiteY48" fmla="*/ 184019 h 997477"/>
                <a:gd name="connsiteX49" fmla="*/ 213133 w 532845"/>
                <a:gd name="connsiteY49" fmla="*/ 184560 h 997477"/>
                <a:gd name="connsiteX50" fmla="*/ 212590 w 532845"/>
                <a:gd name="connsiteY50" fmla="*/ 197876 h 997477"/>
                <a:gd name="connsiteX51" fmla="*/ 199358 w 532845"/>
                <a:gd name="connsiteY51" fmla="*/ 210650 h 997477"/>
                <a:gd name="connsiteX52" fmla="*/ 192850 w 532845"/>
                <a:gd name="connsiteY52" fmla="*/ 213357 h 997477"/>
                <a:gd name="connsiteX53" fmla="*/ 143826 w 532845"/>
                <a:gd name="connsiteY53" fmla="*/ 268894 h 997477"/>
                <a:gd name="connsiteX54" fmla="*/ 138077 w 532845"/>
                <a:gd name="connsiteY54" fmla="*/ 266837 h 997477"/>
                <a:gd name="connsiteX55" fmla="*/ 136450 w 532845"/>
                <a:gd name="connsiteY55" fmla="*/ 253629 h 997477"/>
                <a:gd name="connsiteX56" fmla="*/ 148381 w 532845"/>
                <a:gd name="connsiteY56" fmla="*/ 238689 h 997477"/>
                <a:gd name="connsiteX57" fmla="*/ 161364 w 532845"/>
                <a:gd name="connsiteY57" fmla="*/ 237466 h 997477"/>
                <a:gd name="connsiteX58" fmla="*/ 161396 w 532845"/>
                <a:gd name="connsiteY58" fmla="*/ 237499 h 997477"/>
                <a:gd name="connsiteX59" fmla="*/ 162590 w 532845"/>
                <a:gd name="connsiteY59" fmla="*/ 250814 h 997477"/>
                <a:gd name="connsiteX60" fmla="*/ 151093 w 532845"/>
                <a:gd name="connsiteY60" fmla="*/ 265213 h 997477"/>
                <a:gd name="connsiteX61" fmla="*/ 143826 w 532845"/>
                <a:gd name="connsiteY61" fmla="*/ 268894 h 997477"/>
                <a:gd name="connsiteX62" fmla="*/ 102394 w 532845"/>
                <a:gd name="connsiteY62" fmla="*/ 331251 h 997477"/>
                <a:gd name="connsiteX63" fmla="*/ 97730 w 532845"/>
                <a:gd name="connsiteY63" fmla="*/ 329952 h 997477"/>
                <a:gd name="connsiteX64" fmla="*/ 94367 w 532845"/>
                <a:gd name="connsiteY64" fmla="*/ 317069 h 997477"/>
                <a:gd name="connsiteX65" fmla="*/ 104020 w 532845"/>
                <a:gd name="connsiteY65" fmla="*/ 300614 h 997477"/>
                <a:gd name="connsiteX66" fmla="*/ 116710 w 532845"/>
                <a:gd name="connsiteY66" fmla="*/ 297626 h 997477"/>
                <a:gd name="connsiteX67" fmla="*/ 116819 w 532845"/>
                <a:gd name="connsiteY67" fmla="*/ 297691 h 997477"/>
                <a:gd name="connsiteX68" fmla="*/ 119747 w 532845"/>
                <a:gd name="connsiteY68" fmla="*/ 310682 h 997477"/>
                <a:gd name="connsiteX69" fmla="*/ 110420 w 532845"/>
                <a:gd name="connsiteY69" fmla="*/ 326488 h 997477"/>
                <a:gd name="connsiteX70" fmla="*/ 102394 w 532845"/>
                <a:gd name="connsiteY70" fmla="*/ 331251 h 997477"/>
                <a:gd name="connsiteX71" fmla="*/ 69855 w 532845"/>
                <a:gd name="connsiteY71" fmla="*/ 398696 h 997477"/>
                <a:gd name="connsiteX72" fmla="*/ 66276 w 532845"/>
                <a:gd name="connsiteY72" fmla="*/ 398047 h 997477"/>
                <a:gd name="connsiteX73" fmla="*/ 61287 w 532845"/>
                <a:gd name="connsiteY73" fmla="*/ 385705 h 997477"/>
                <a:gd name="connsiteX74" fmla="*/ 68770 w 532845"/>
                <a:gd name="connsiteY74" fmla="*/ 368167 h 997477"/>
                <a:gd name="connsiteX75" fmla="*/ 80875 w 532845"/>
                <a:gd name="connsiteY75" fmla="*/ 363339 h 997477"/>
                <a:gd name="connsiteX76" fmla="*/ 81027 w 532845"/>
                <a:gd name="connsiteY76" fmla="*/ 363404 h 997477"/>
                <a:gd name="connsiteX77" fmla="*/ 85691 w 532845"/>
                <a:gd name="connsiteY77" fmla="*/ 375854 h 997477"/>
                <a:gd name="connsiteX78" fmla="*/ 78424 w 532845"/>
                <a:gd name="connsiteY78" fmla="*/ 392850 h 997477"/>
                <a:gd name="connsiteX79" fmla="*/ 69855 w 532845"/>
                <a:gd name="connsiteY79" fmla="*/ 398696 h 997477"/>
                <a:gd name="connsiteX80" fmla="*/ 45885 w 532845"/>
                <a:gd name="connsiteY80" fmla="*/ 469931 h 997477"/>
                <a:gd name="connsiteX81" fmla="*/ 43391 w 532845"/>
                <a:gd name="connsiteY81" fmla="*/ 469931 h 997477"/>
                <a:gd name="connsiteX82" fmla="*/ 36883 w 532845"/>
                <a:gd name="connsiteY82" fmla="*/ 458347 h 997477"/>
                <a:gd name="connsiteX83" fmla="*/ 42198 w 532845"/>
                <a:gd name="connsiteY83" fmla="*/ 440051 h 997477"/>
                <a:gd name="connsiteX84" fmla="*/ 53651 w 532845"/>
                <a:gd name="connsiteY84" fmla="*/ 433837 h 997477"/>
                <a:gd name="connsiteX85" fmla="*/ 53803 w 532845"/>
                <a:gd name="connsiteY85" fmla="*/ 433880 h 997477"/>
                <a:gd name="connsiteX86" fmla="*/ 59985 w 532845"/>
                <a:gd name="connsiteY86" fmla="*/ 445681 h 997477"/>
                <a:gd name="connsiteX87" fmla="*/ 54779 w 532845"/>
                <a:gd name="connsiteY87" fmla="*/ 463435 h 997477"/>
                <a:gd name="connsiteX88" fmla="*/ 45885 w 532845"/>
                <a:gd name="connsiteY88" fmla="*/ 470364 h 997477"/>
                <a:gd name="connsiteX89" fmla="*/ 29508 w 532845"/>
                <a:gd name="connsiteY89" fmla="*/ 543872 h 997477"/>
                <a:gd name="connsiteX90" fmla="*/ 27881 w 532845"/>
                <a:gd name="connsiteY90" fmla="*/ 543872 h 997477"/>
                <a:gd name="connsiteX91" fmla="*/ 20288 w 532845"/>
                <a:gd name="connsiteY91" fmla="*/ 533046 h 997477"/>
                <a:gd name="connsiteX92" fmla="*/ 23868 w 532845"/>
                <a:gd name="connsiteY92" fmla="*/ 514209 h 997477"/>
                <a:gd name="connsiteX93" fmla="*/ 34389 w 532845"/>
                <a:gd name="connsiteY93" fmla="*/ 506782 h 997477"/>
                <a:gd name="connsiteX94" fmla="*/ 34714 w 532845"/>
                <a:gd name="connsiteY94" fmla="*/ 506847 h 997477"/>
                <a:gd name="connsiteX95" fmla="*/ 41981 w 532845"/>
                <a:gd name="connsiteY95" fmla="*/ 517673 h 997477"/>
                <a:gd name="connsiteX96" fmla="*/ 38618 w 532845"/>
                <a:gd name="connsiteY96" fmla="*/ 535969 h 997477"/>
                <a:gd name="connsiteX97" fmla="*/ 29508 w 532845"/>
                <a:gd name="connsiteY97" fmla="*/ 543764 h 997477"/>
                <a:gd name="connsiteX98" fmla="*/ 19421 w 532845"/>
                <a:gd name="connsiteY98" fmla="*/ 618571 h 997477"/>
                <a:gd name="connsiteX99" fmla="*/ 18445 w 532845"/>
                <a:gd name="connsiteY99" fmla="*/ 618571 h 997477"/>
                <a:gd name="connsiteX100" fmla="*/ 10147 w 532845"/>
                <a:gd name="connsiteY100" fmla="*/ 608134 h 997477"/>
                <a:gd name="connsiteX101" fmla="*/ 10202 w 532845"/>
                <a:gd name="connsiteY101" fmla="*/ 607745 h 997477"/>
                <a:gd name="connsiteX102" fmla="*/ 12262 w 532845"/>
                <a:gd name="connsiteY102" fmla="*/ 588799 h 997477"/>
                <a:gd name="connsiteX103" fmla="*/ 22339 w 532845"/>
                <a:gd name="connsiteY103" fmla="*/ 580550 h 997477"/>
                <a:gd name="connsiteX104" fmla="*/ 22566 w 532845"/>
                <a:gd name="connsiteY104" fmla="*/ 580572 h 997477"/>
                <a:gd name="connsiteX105" fmla="*/ 30744 w 532845"/>
                <a:gd name="connsiteY105" fmla="*/ 591094 h 997477"/>
                <a:gd name="connsiteX106" fmla="*/ 30701 w 532845"/>
                <a:gd name="connsiteY106" fmla="*/ 591398 h 997477"/>
                <a:gd name="connsiteX107" fmla="*/ 28640 w 532845"/>
                <a:gd name="connsiteY107" fmla="*/ 610126 h 997477"/>
                <a:gd name="connsiteX108" fmla="*/ 19421 w 532845"/>
                <a:gd name="connsiteY108" fmla="*/ 618571 h 997477"/>
                <a:gd name="connsiteX109" fmla="*/ 13998 w 532845"/>
                <a:gd name="connsiteY109" fmla="*/ 694352 h 997477"/>
                <a:gd name="connsiteX110" fmla="*/ 13998 w 532845"/>
                <a:gd name="connsiteY110" fmla="*/ 694352 h 997477"/>
                <a:gd name="connsiteX111" fmla="*/ 5104 w 532845"/>
                <a:gd name="connsiteY111" fmla="*/ 684501 h 997477"/>
                <a:gd name="connsiteX112" fmla="*/ 6189 w 532845"/>
                <a:gd name="connsiteY112" fmla="*/ 665447 h 997477"/>
                <a:gd name="connsiteX113" fmla="*/ 15213 w 532845"/>
                <a:gd name="connsiteY113" fmla="*/ 655844 h 997477"/>
                <a:gd name="connsiteX114" fmla="*/ 24833 w 532845"/>
                <a:gd name="connsiteY114" fmla="*/ 664841 h 997477"/>
                <a:gd name="connsiteX115" fmla="*/ 24735 w 532845"/>
                <a:gd name="connsiteY115" fmla="*/ 666530 h 997477"/>
                <a:gd name="connsiteX116" fmla="*/ 23651 w 532845"/>
                <a:gd name="connsiteY116" fmla="*/ 685367 h 997477"/>
                <a:gd name="connsiteX117" fmla="*/ 14432 w 532845"/>
                <a:gd name="connsiteY117" fmla="*/ 694352 h 997477"/>
                <a:gd name="connsiteX118" fmla="*/ 12046 w 532845"/>
                <a:gd name="connsiteY118" fmla="*/ 770133 h 997477"/>
                <a:gd name="connsiteX119" fmla="*/ 12046 w 532845"/>
                <a:gd name="connsiteY119" fmla="*/ 770133 h 997477"/>
                <a:gd name="connsiteX120" fmla="*/ 2935 w 532845"/>
                <a:gd name="connsiteY120" fmla="*/ 760834 h 997477"/>
                <a:gd name="connsiteX121" fmla="*/ 2935 w 532845"/>
                <a:gd name="connsiteY121" fmla="*/ 760607 h 997477"/>
                <a:gd name="connsiteX122" fmla="*/ 2935 w 532845"/>
                <a:gd name="connsiteY122" fmla="*/ 741553 h 997477"/>
                <a:gd name="connsiteX123" fmla="*/ 12479 w 532845"/>
                <a:gd name="connsiteY123" fmla="*/ 732351 h 997477"/>
                <a:gd name="connsiteX124" fmla="*/ 21482 w 532845"/>
                <a:gd name="connsiteY124" fmla="*/ 741975 h 997477"/>
                <a:gd name="connsiteX125" fmla="*/ 21482 w 532845"/>
                <a:gd name="connsiteY125" fmla="*/ 742094 h 997477"/>
                <a:gd name="connsiteX126" fmla="*/ 21482 w 532845"/>
                <a:gd name="connsiteY126" fmla="*/ 760932 h 997477"/>
                <a:gd name="connsiteX127" fmla="*/ 12154 w 532845"/>
                <a:gd name="connsiteY127" fmla="*/ 770133 h 997477"/>
                <a:gd name="connsiteX128" fmla="*/ 11395 w 532845"/>
                <a:gd name="connsiteY128" fmla="*/ 845915 h 997477"/>
                <a:gd name="connsiteX129" fmla="*/ 11395 w 532845"/>
                <a:gd name="connsiteY129" fmla="*/ 845915 h 997477"/>
                <a:gd name="connsiteX130" fmla="*/ 2176 w 532845"/>
                <a:gd name="connsiteY130" fmla="*/ 836496 h 997477"/>
                <a:gd name="connsiteX131" fmla="*/ 2176 w 532845"/>
                <a:gd name="connsiteY131" fmla="*/ 836388 h 997477"/>
                <a:gd name="connsiteX132" fmla="*/ 2176 w 532845"/>
                <a:gd name="connsiteY132" fmla="*/ 817443 h 997477"/>
                <a:gd name="connsiteX133" fmla="*/ 11395 w 532845"/>
                <a:gd name="connsiteY133" fmla="*/ 808132 h 997477"/>
                <a:gd name="connsiteX134" fmla="*/ 11395 w 532845"/>
                <a:gd name="connsiteY134" fmla="*/ 808132 h 997477"/>
                <a:gd name="connsiteX135" fmla="*/ 20614 w 532845"/>
                <a:gd name="connsiteY135" fmla="*/ 817659 h 997477"/>
                <a:gd name="connsiteX136" fmla="*/ 20614 w 532845"/>
                <a:gd name="connsiteY136" fmla="*/ 836496 h 997477"/>
                <a:gd name="connsiteX137" fmla="*/ 11286 w 532845"/>
                <a:gd name="connsiteY137" fmla="*/ 845915 h 997477"/>
                <a:gd name="connsiteX138" fmla="*/ 10744 w 532845"/>
                <a:gd name="connsiteY138" fmla="*/ 921696 h 997477"/>
                <a:gd name="connsiteX139" fmla="*/ 10744 w 532845"/>
                <a:gd name="connsiteY139" fmla="*/ 921696 h 997477"/>
                <a:gd name="connsiteX140" fmla="*/ 1525 w 532845"/>
                <a:gd name="connsiteY140" fmla="*/ 912278 h 997477"/>
                <a:gd name="connsiteX141" fmla="*/ 1525 w 532845"/>
                <a:gd name="connsiteY141" fmla="*/ 912170 h 997477"/>
                <a:gd name="connsiteX142" fmla="*/ 1525 w 532845"/>
                <a:gd name="connsiteY142" fmla="*/ 893332 h 997477"/>
                <a:gd name="connsiteX143" fmla="*/ 10852 w 532845"/>
                <a:gd name="connsiteY143" fmla="*/ 884022 h 997477"/>
                <a:gd name="connsiteX144" fmla="*/ 10852 w 532845"/>
                <a:gd name="connsiteY144" fmla="*/ 884022 h 997477"/>
                <a:gd name="connsiteX145" fmla="*/ 19963 w 532845"/>
                <a:gd name="connsiteY145" fmla="*/ 893549 h 997477"/>
                <a:gd name="connsiteX146" fmla="*/ 19963 w 532845"/>
                <a:gd name="connsiteY146" fmla="*/ 893549 h 997477"/>
                <a:gd name="connsiteX147" fmla="*/ 19963 w 532845"/>
                <a:gd name="connsiteY147" fmla="*/ 912386 h 997477"/>
                <a:gd name="connsiteX148" fmla="*/ 10744 w 532845"/>
                <a:gd name="connsiteY148" fmla="*/ 921696 h 997477"/>
                <a:gd name="connsiteX149" fmla="*/ 8900 w 532845"/>
                <a:gd name="connsiteY149" fmla="*/ 997477 h 997477"/>
                <a:gd name="connsiteX150" fmla="*/ 8900 w 532845"/>
                <a:gd name="connsiteY150" fmla="*/ 997477 h 997477"/>
                <a:gd name="connsiteX151" fmla="*/ 6 w 532845"/>
                <a:gd name="connsiteY151" fmla="*/ 987734 h 997477"/>
                <a:gd name="connsiteX152" fmla="*/ 657 w 532845"/>
                <a:gd name="connsiteY152" fmla="*/ 969006 h 997477"/>
                <a:gd name="connsiteX153" fmla="*/ 10310 w 532845"/>
                <a:gd name="connsiteY153" fmla="*/ 959912 h 997477"/>
                <a:gd name="connsiteX154" fmla="*/ 19204 w 532845"/>
                <a:gd name="connsiteY154" fmla="*/ 969428 h 997477"/>
                <a:gd name="connsiteX155" fmla="*/ 19204 w 532845"/>
                <a:gd name="connsiteY155" fmla="*/ 969547 h 997477"/>
                <a:gd name="connsiteX156" fmla="*/ 18553 w 532845"/>
                <a:gd name="connsiteY156" fmla="*/ 988492 h 997477"/>
                <a:gd name="connsiteX157" fmla="*/ 9334 w 532845"/>
                <a:gd name="connsiteY157" fmla="*/ 997477 h 997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</a:cxnLst>
              <a:rect l="l" t="t" r="r" b="b"/>
              <a:pathLst>
                <a:path w="532845" h="997477">
                  <a:moveTo>
                    <a:pt x="509882" y="23795"/>
                  </a:moveTo>
                  <a:cubicBezTo>
                    <a:pt x="505945" y="23762"/>
                    <a:pt x="502452" y="21240"/>
                    <a:pt x="501205" y="17516"/>
                  </a:cubicBezTo>
                  <a:cubicBezTo>
                    <a:pt x="499448" y="12677"/>
                    <a:pt x="501910" y="7318"/>
                    <a:pt x="506736" y="5499"/>
                  </a:cubicBezTo>
                  <a:lnTo>
                    <a:pt x="520511" y="519"/>
                  </a:lnTo>
                  <a:cubicBezTo>
                    <a:pt x="525316" y="-1159"/>
                    <a:pt x="530576" y="1364"/>
                    <a:pt x="532257" y="6160"/>
                  </a:cubicBezTo>
                  <a:cubicBezTo>
                    <a:pt x="532290" y="6225"/>
                    <a:pt x="532312" y="6300"/>
                    <a:pt x="532333" y="6365"/>
                  </a:cubicBezTo>
                  <a:cubicBezTo>
                    <a:pt x="534004" y="11269"/>
                    <a:pt x="531455" y="16596"/>
                    <a:pt x="526585" y="18382"/>
                  </a:cubicBezTo>
                  <a:cubicBezTo>
                    <a:pt x="522030" y="19898"/>
                    <a:pt x="517583" y="21521"/>
                    <a:pt x="513136" y="23254"/>
                  </a:cubicBezTo>
                  <a:cubicBezTo>
                    <a:pt x="512084" y="23600"/>
                    <a:pt x="510988" y="23784"/>
                    <a:pt x="509882" y="23795"/>
                  </a:cubicBezTo>
                  <a:moveTo>
                    <a:pt x="440901" y="51509"/>
                  </a:moveTo>
                  <a:cubicBezTo>
                    <a:pt x="437159" y="51466"/>
                    <a:pt x="433796" y="49214"/>
                    <a:pt x="432332" y="45772"/>
                  </a:cubicBezTo>
                  <a:cubicBezTo>
                    <a:pt x="430282" y="41019"/>
                    <a:pt x="432462" y="35509"/>
                    <a:pt x="437213" y="33430"/>
                  </a:cubicBezTo>
                  <a:lnTo>
                    <a:pt x="454458" y="25960"/>
                  </a:lnTo>
                  <a:cubicBezTo>
                    <a:pt x="459155" y="24012"/>
                    <a:pt x="464556" y="26231"/>
                    <a:pt x="466508" y="30918"/>
                  </a:cubicBezTo>
                  <a:cubicBezTo>
                    <a:pt x="466541" y="30994"/>
                    <a:pt x="466573" y="31081"/>
                    <a:pt x="466606" y="31157"/>
                  </a:cubicBezTo>
                  <a:cubicBezTo>
                    <a:pt x="468558" y="35974"/>
                    <a:pt x="466291" y="41463"/>
                    <a:pt x="461508" y="43498"/>
                  </a:cubicBezTo>
                  <a:cubicBezTo>
                    <a:pt x="455760" y="45880"/>
                    <a:pt x="450120" y="48262"/>
                    <a:pt x="444588" y="50752"/>
                  </a:cubicBezTo>
                  <a:cubicBezTo>
                    <a:pt x="443417" y="51217"/>
                    <a:pt x="442170" y="51477"/>
                    <a:pt x="440901" y="51509"/>
                  </a:cubicBezTo>
                  <a:moveTo>
                    <a:pt x="373763" y="83987"/>
                  </a:moveTo>
                  <a:cubicBezTo>
                    <a:pt x="370271" y="83987"/>
                    <a:pt x="367082" y="82017"/>
                    <a:pt x="365520" y="78899"/>
                  </a:cubicBezTo>
                  <a:cubicBezTo>
                    <a:pt x="363134" y="74265"/>
                    <a:pt x="364913" y="68571"/>
                    <a:pt x="369533" y="66124"/>
                  </a:cubicBezTo>
                  <a:lnTo>
                    <a:pt x="386236" y="57572"/>
                  </a:lnTo>
                  <a:cubicBezTo>
                    <a:pt x="390868" y="55331"/>
                    <a:pt x="396453" y="57258"/>
                    <a:pt x="398698" y="61881"/>
                  </a:cubicBezTo>
                  <a:cubicBezTo>
                    <a:pt x="398698" y="61891"/>
                    <a:pt x="398709" y="61891"/>
                    <a:pt x="398709" y="61902"/>
                  </a:cubicBezTo>
                  <a:cubicBezTo>
                    <a:pt x="400998" y="66568"/>
                    <a:pt x="399110" y="72208"/>
                    <a:pt x="394479" y="74568"/>
                  </a:cubicBezTo>
                  <a:cubicBezTo>
                    <a:pt x="388839" y="77275"/>
                    <a:pt x="383633" y="80090"/>
                    <a:pt x="377993" y="82905"/>
                  </a:cubicBezTo>
                  <a:cubicBezTo>
                    <a:pt x="376703" y="83630"/>
                    <a:pt x="375249" y="83998"/>
                    <a:pt x="373763" y="83987"/>
                  </a:cubicBezTo>
                  <a:moveTo>
                    <a:pt x="309337" y="121120"/>
                  </a:moveTo>
                  <a:cubicBezTo>
                    <a:pt x="306094" y="121152"/>
                    <a:pt x="303079" y="119463"/>
                    <a:pt x="301420" y="116681"/>
                  </a:cubicBezTo>
                  <a:cubicBezTo>
                    <a:pt x="298708" y="112308"/>
                    <a:pt x="300010" y="106570"/>
                    <a:pt x="304348" y="103798"/>
                  </a:cubicBezTo>
                  <a:cubicBezTo>
                    <a:pt x="309663" y="100442"/>
                    <a:pt x="315194" y="97086"/>
                    <a:pt x="320400" y="93839"/>
                  </a:cubicBezTo>
                  <a:cubicBezTo>
                    <a:pt x="324684" y="91208"/>
                    <a:pt x="330303" y="92539"/>
                    <a:pt x="332939" y="96826"/>
                  </a:cubicBezTo>
                  <a:cubicBezTo>
                    <a:pt x="332982" y="96913"/>
                    <a:pt x="333036" y="97000"/>
                    <a:pt x="333090" y="97086"/>
                  </a:cubicBezTo>
                  <a:cubicBezTo>
                    <a:pt x="335737" y="101547"/>
                    <a:pt x="334283" y="107295"/>
                    <a:pt x="329836" y="109969"/>
                  </a:cubicBezTo>
                  <a:lnTo>
                    <a:pt x="314218" y="119713"/>
                  </a:lnTo>
                  <a:cubicBezTo>
                    <a:pt x="312754" y="120633"/>
                    <a:pt x="311062" y="121120"/>
                    <a:pt x="309337" y="121120"/>
                  </a:cubicBezTo>
                  <a:moveTo>
                    <a:pt x="248491" y="164424"/>
                  </a:moveTo>
                  <a:cubicBezTo>
                    <a:pt x="245692" y="164283"/>
                    <a:pt x="243100" y="162886"/>
                    <a:pt x="241441" y="160635"/>
                  </a:cubicBezTo>
                  <a:cubicBezTo>
                    <a:pt x="238306" y="156521"/>
                    <a:pt x="239022" y="150664"/>
                    <a:pt x="243068" y="147427"/>
                  </a:cubicBezTo>
                  <a:cubicBezTo>
                    <a:pt x="247948" y="143530"/>
                    <a:pt x="253046" y="139741"/>
                    <a:pt x="258144" y="135951"/>
                  </a:cubicBezTo>
                  <a:cubicBezTo>
                    <a:pt x="262070" y="132909"/>
                    <a:pt x="267721" y="133613"/>
                    <a:pt x="270779" y="137532"/>
                  </a:cubicBezTo>
                  <a:cubicBezTo>
                    <a:pt x="270866" y="137651"/>
                    <a:pt x="270964" y="137770"/>
                    <a:pt x="271051" y="137900"/>
                  </a:cubicBezTo>
                  <a:cubicBezTo>
                    <a:pt x="274120" y="142101"/>
                    <a:pt x="273253" y="147968"/>
                    <a:pt x="269098" y="151108"/>
                  </a:cubicBezTo>
                  <a:cubicBezTo>
                    <a:pt x="264109" y="154788"/>
                    <a:pt x="259228" y="158578"/>
                    <a:pt x="254456" y="161934"/>
                  </a:cubicBezTo>
                  <a:cubicBezTo>
                    <a:pt x="252883" y="163265"/>
                    <a:pt x="250877" y="164001"/>
                    <a:pt x="248816" y="163991"/>
                  </a:cubicBezTo>
                  <a:moveTo>
                    <a:pt x="192959" y="213357"/>
                  </a:moveTo>
                  <a:cubicBezTo>
                    <a:pt x="190453" y="213378"/>
                    <a:pt x="188056" y="212361"/>
                    <a:pt x="186343" y="210542"/>
                  </a:cubicBezTo>
                  <a:cubicBezTo>
                    <a:pt x="182720" y="206840"/>
                    <a:pt x="182720" y="200928"/>
                    <a:pt x="186343" y="197226"/>
                  </a:cubicBezTo>
                  <a:cubicBezTo>
                    <a:pt x="190789" y="192788"/>
                    <a:pt x="195345" y="188457"/>
                    <a:pt x="200008" y="184019"/>
                  </a:cubicBezTo>
                  <a:cubicBezTo>
                    <a:pt x="203794" y="180576"/>
                    <a:pt x="209651" y="180814"/>
                    <a:pt x="213133" y="184560"/>
                  </a:cubicBezTo>
                  <a:cubicBezTo>
                    <a:pt x="216549" y="188424"/>
                    <a:pt x="216310" y="194292"/>
                    <a:pt x="212590" y="197876"/>
                  </a:cubicBezTo>
                  <a:cubicBezTo>
                    <a:pt x="208035" y="202098"/>
                    <a:pt x="203588" y="206428"/>
                    <a:pt x="199358" y="210650"/>
                  </a:cubicBezTo>
                  <a:cubicBezTo>
                    <a:pt x="197633" y="212382"/>
                    <a:pt x="195290" y="213346"/>
                    <a:pt x="192850" y="213357"/>
                  </a:cubicBezTo>
                  <a:moveTo>
                    <a:pt x="143826" y="268894"/>
                  </a:moveTo>
                  <a:cubicBezTo>
                    <a:pt x="141722" y="268905"/>
                    <a:pt x="139693" y="268179"/>
                    <a:pt x="138077" y="266837"/>
                  </a:cubicBezTo>
                  <a:cubicBezTo>
                    <a:pt x="134032" y="263600"/>
                    <a:pt x="133316" y="257743"/>
                    <a:pt x="136450" y="253629"/>
                  </a:cubicBezTo>
                  <a:cubicBezTo>
                    <a:pt x="140355" y="248649"/>
                    <a:pt x="144260" y="243669"/>
                    <a:pt x="148381" y="238689"/>
                  </a:cubicBezTo>
                  <a:cubicBezTo>
                    <a:pt x="151624" y="234770"/>
                    <a:pt x="157438" y="234229"/>
                    <a:pt x="161364" y="237466"/>
                  </a:cubicBezTo>
                  <a:cubicBezTo>
                    <a:pt x="161375" y="237477"/>
                    <a:pt x="161385" y="237488"/>
                    <a:pt x="161396" y="237499"/>
                  </a:cubicBezTo>
                  <a:cubicBezTo>
                    <a:pt x="165312" y="240898"/>
                    <a:pt x="165843" y="246776"/>
                    <a:pt x="162590" y="250814"/>
                  </a:cubicBezTo>
                  <a:cubicBezTo>
                    <a:pt x="158685" y="255578"/>
                    <a:pt x="154889" y="260449"/>
                    <a:pt x="151093" y="265213"/>
                  </a:cubicBezTo>
                  <a:cubicBezTo>
                    <a:pt x="149379" y="267497"/>
                    <a:pt x="146689" y="268861"/>
                    <a:pt x="143826" y="268894"/>
                  </a:cubicBezTo>
                  <a:moveTo>
                    <a:pt x="102394" y="331251"/>
                  </a:moveTo>
                  <a:cubicBezTo>
                    <a:pt x="100745" y="331262"/>
                    <a:pt x="99129" y="330807"/>
                    <a:pt x="97730" y="329952"/>
                  </a:cubicBezTo>
                  <a:cubicBezTo>
                    <a:pt x="93294" y="327278"/>
                    <a:pt x="91797" y="321562"/>
                    <a:pt x="94367" y="317069"/>
                  </a:cubicBezTo>
                  <a:cubicBezTo>
                    <a:pt x="97404" y="311548"/>
                    <a:pt x="100658" y="306243"/>
                    <a:pt x="104020" y="300614"/>
                  </a:cubicBezTo>
                  <a:cubicBezTo>
                    <a:pt x="106699" y="296294"/>
                    <a:pt x="112372" y="294952"/>
                    <a:pt x="116710" y="297626"/>
                  </a:cubicBezTo>
                  <a:cubicBezTo>
                    <a:pt x="116743" y="297647"/>
                    <a:pt x="116786" y="297669"/>
                    <a:pt x="116819" y="297691"/>
                  </a:cubicBezTo>
                  <a:cubicBezTo>
                    <a:pt x="121168" y="300505"/>
                    <a:pt x="122470" y="306276"/>
                    <a:pt x="119747" y="310682"/>
                  </a:cubicBezTo>
                  <a:cubicBezTo>
                    <a:pt x="116602" y="315878"/>
                    <a:pt x="113457" y="321507"/>
                    <a:pt x="110420" y="326488"/>
                  </a:cubicBezTo>
                  <a:cubicBezTo>
                    <a:pt x="108793" y="329389"/>
                    <a:pt x="105734" y="331208"/>
                    <a:pt x="102394" y="331251"/>
                  </a:cubicBezTo>
                  <a:moveTo>
                    <a:pt x="69855" y="398696"/>
                  </a:moveTo>
                  <a:cubicBezTo>
                    <a:pt x="68629" y="398686"/>
                    <a:pt x="67426" y="398458"/>
                    <a:pt x="66276" y="398047"/>
                  </a:cubicBezTo>
                  <a:cubicBezTo>
                    <a:pt x="61580" y="395925"/>
                    <a:pt x="59378" y="390490"/>
                    <a:pt x="61287" y="385705"/>
                  </a:cubicBezTo>
                  <a:cubicBezTo>
                    <a:pt x="63673" y="379859"/>
                    <a:pt x="66168" y="374013"/>
                    <a:pt x="68770" y="368167"/>
                  </a:cubicBezTo>
                  <a:cubicBezTo>
                    <a:pt x="70777" y="363501"/>
                    <a:pt x="76200" y="361336"/>
                    <a:pt x="80875" y="363339"/>
                  </a:cubicBezTo>
                  <a:cubicBezTo>
                    <a:pt x="80929" y="363361"/>
                    <a:pt x="80972" y="363382"/>
                    <a:pt x="81027" y="363404"/>
                  </a:cubicBezTo>
                  <a:cubicBezTo>
                    <a:pt x="85701" y="365612"/>
                    <a:pt x="87773" y="371123"/>
                    <a:pt x="85691" y="375854"/>
                  </a:cubicBezTo>
                  <a:cubicBezTo>
                    <a:pt x="83196" y="381483"/>
                    <a:pt x="80810" y="387221"/>
                    <a:pt x="78424" y="392850"/>
                  </a:cubicBezTo>
                  <a:cubicBezTo>
                    <a:pt x="77068" y="396391"/>
                    <a:pt x="73651" y="398718"/>
                    <a:pt x="69855" y="398696"/>
                  </a:cubicBezTo>
                  <a:moveTo>
                    <a:pt x="45885" y="469931"/>
                  </a:moveTo>
                  <a:cubicBezTo>
                    <a:pt x="45061" y="470093"/>
                    <a:pt x="44215" y="470093"/>
                    <a:pt x="43391" y="469931"/>
                  </a:cubicBezTo>
                  <a:cubicBezTo>
                    <a:pt x="38402" y="468513"/>
                    <a:pt x="35495" y="463338"/>
                    <a:pt x="36883" y="458347"/>
                  </a:cubicBezTo>
                  <a:cubicBezTo>
                    <a:pt x="38618" y="452176"/>
                    <a:pt x="40354" y="446114"/>
                    <a:pt x="42198" y="440051"/>
                  </a:cubicBezTo>
                  <a:cubicBezTo>
                    <a:pt x="43640" y="435180"/>
                    <a:pt x="48770" y="432397"/>
                    <a:pt x="53651" y="433837"/>
                  </a:cubicBezTo>
                  <a:cubicBezTo>
                    <a:pt x="53706" y="433848"/>
                    <a:pt x="53749" y="433870"/>
                    <a:pt x="53803" y="433880"/>
                  </a:cubicBezTo>
                  <a:cubicBezTo>
                    <a:pt x="58738" y="435483"/>
                    <a:pt x="61482" y="440723"/>
                    <a:pt x="59985" y="445681"/>
                  </a:cubicBezTo>
                  <a:cubicBezTo>
                    <a:pt x="58142" y="451527"/>
                    <a:pt x="56406" y="457481"/>
                    <a:pt x="54779" y="463435"/>
                  </a:cubicBezTo>
                  <a:cubicBezTo>
                    <a:pt x="53673" y="467452"/>
                    <a:pt x="50061" y="470277"/>
                    <a:pt x="45885" y="470364"/>
                  </a:cubicBezTo>
                  <a:moveTo>
                    <a:pt x="29508" y="543872"/>
                  </a:moveTo>
                  <a:lnTo>
                    <a:pt x="27881" y="543872"/>
                  </a:lnTo>
                  <a:cubicBezTo>
                    <a:pt x="22848" y="542887"/>
                    <a:pt x="19497" y="538102"/>
                    <a:pt x="20288" y="533046"/>
                  </a:cubicBezTo>
                  <a:cubicBezTo>
                    <a:pt x="21482" y="526767"/>
                    <a:pt x="22566" y="520488"/>
                    <a:pt x="23868" y="514209"/>
                  </a:cubicBezTo>
                  <a:cubicBezTo>
                    <a:pt x="24725" y="509261"/>
                    <a:pt x="29432" y="505938"/>
                    <a:pt x="34389" y="506782"/>
                  </a:cubicBezTo>
                  <a:cubicBezTo>
                    <a:pt x="34497" y="506804"/>
                    <a:pt x="34605" y="506826"/>
                    <a:pt x="34714" y="506847"/>
                  </a:cubicBezTo>
                  <a:cubicBezTo>
                    <a:pt x="39681" y="507876"/>
                    <a:pt x="42914" y="512693"/>
                    <a:pt x="41981" y="517673"/>
                  </a:cubicBezTo>
                  <a:cubicBezTo>
                    <a:pt x="40788" y="523736"/>
                    <a:pt x="39703" y="529798"/>
                    <a:pt x="38618" y="535969"/>
                  </a:cubicBezTo>
                  <a:cubicBezTo>
                    <a:pt x="37881" y="540429"/>
                    <a:pt x="34041" y="543720"/>
                    <a:pt x="29508" y="543764"/>
                  </a:cubicBezTo>
                  <a:moveTo>
                    <a:pt x="19421" y="618571"/>
                  </a:moveTo>
                  <a:lnTo>
                    <a:pt x="18445" y="618571"/>
                  </a:lnTo>
                  <a:cubicBezTo>
                    <a:pt x="13271" y="617975"/>
                    <a:pt x="9551" y="613309"/>
                    <a:pt x="10147" y="608134"/>
                  </a:cubicBezTo>
                  <a:cubicBezTo>
                    <a:pt x="10158" y="608005"/>
                    <a:pt x="10180" y="607875"/>
                    <a:pt x="10202" y="607745"/>
                  </a:cubicBezTo>
                  <a:cubicBezTo>
                    <a:pt x="10852" y="601466"/>
                    <a:pt x="11503" y="595078"/>
                    <a:pt x="12262" y="588799"/>
                  </a:cubicBezTo>
                  <a:cubicBezTo>
                    <a:pt x="12761" y="583744"/>
                    <a:pt x="17273" y="580052"/>
                    <a:pt x="22339" y="580550"/>
                  </a:cubicBezTo>
                  <a:cubicBezTo>
                    <a:pt x="22414" y="580550"/>
                    <a:pt x="22490" y="580561"/>
                    <a:pt x="22566" y="580572"/>
                  </a:cubicBezTo>
                  <a:cubicBezTo>
                    <a:pt x="27740" y="581221"/>
                    <a:pt x="31395" y="585941"/>
                    <a:pt x="30744" y="591094"/>
                  </a:cubicBezTo>
                  <a:cubicBezTo>
                    <a:pt x="30733" y="591203"/>
                    <a:pt x="30712" y="591300"/>
                    <a:pt x="30701" y="591398"/>
                  </a:cubicBezTo>
                  <a:cubicBezTo>
                    <a:pt x="29942" y="597677"/>
                    <a:pt x="29291" y="603847"/>
                    <a:pt x="28640" y="610126"/>
                  </a:cubicBezTo>
                  <a:cubicBezTo>
                    <a:pt x="28195" y="614890"/>
                    <a:pt x="24215" y="618538"/>
                    <a:pt x="19421" y="618571"/>
                  </a:cubicBezTo>
                  <a:moveTo>
                    <a:pt x="13998" y="694352"/>
                  </a:moveTo>
                  <a:lnTo>
                    <a:pt x="13998" y="694352"/>
                  </a:lnTo>
                  <a:cubicBezTo>
                    <a:pt x="8824" y="694060"/>
                    <a:pt x="4855" y="689664"/>
                    <a:pt x="5104" y="684501"/>
                  </a:cubicBezTo>
                  <a:cubicBezTo>
                    <a:pt x="5104" y="678113"/>
                    <a:pt x="5755" y="671726"/>
                    <a:pt x="6189" y="665447"/>
                  </a:cubicBezTo>
                  <a:cubicBezTo>
                    <a:pt x="6026" y="660305"/>
                    <a:pt x="10061" y="656007"/>
                    <a:pt x="15213" y="655844"/>
                  </a:cubicBezTo>
                  <a:cubicBezTo>
                    <a:pt x="20354" y="655671"/>
                    <a:pt x="24670" y="659709"/>
                    <a:pt x="24833" y="664841"/>
                  </a:cubicBezTo>
                  <a:cubicBezTo>
                    <a:pt x="24855" y="665404"/>
                    <a:pt x="24822" y="665967"/>
                    <a:pt x="24735" y="666530"/>
                  </a:cubicBezTo>
                  <a:cubicBezTo>
                    <a:pt x="24735" y="672808"/>
                    <a:pt x="23976" y="679088"/>
                    <a:pt x="23651" y="685367"/>
                  </a:cubicBezTo>
                  <a:cubicBezTo>
                    <a:pt x="23477" y="690335"/>
                    <a:pt x="19421" y="694298"/>
                    <a:pt x="14432" y="694352"/>
                  </a:cubicBezTo>
                  <a:moveTo>
                    <a:pt x="12046" y="770133"/>
                  </a:moveTo>
                  <a:lnTo>
                    <a:pt x="12046" y="770133"/>
                  </a:lnTo>
                  <a:cubicBezTo>
                    <a:pt x="6959" y="770079"/>
                    <a:pt x="2870" y="765911"/>
                    <a:pt x="2935" y="760834"/>
                  </a:cubicBezTo>
                  <a:cubicBezTo>
                    <a:pt x="2935" y="760758"/>
                    <a:pt x="2935" y="760682"/>
                    <a:pt x="2935" y="760607"/>
                  </a:cubicBezTo>
                  <a:lnTo>
                    <a:pt x="2935" y="741553"/>
                  </a:lnTo>
                  <a:cubicBezTo>
                    <a:pt x="3217" y="736465"/>
                    <a:pt x="7382" y="732459"/>
                    <a:pt x="12479" y="732351"/>
                  </a:cubicBezTo>
                  <a:cubicBezTo>
                    <a:pt x="17631" y="732524"/>
                    <a:pt x="21666" y="736833"/>
                    <a:pt x="21482" y="741975"/>
                  </a:cubicBezTo>
                  <a:cubicBezTo>
                    <a:pt x="21482" y="742008"/>
                    <a:pt x="21482" y="742051"/>
                    <a:pt x="21482" y="742094"/>
                  </a:cubicBezTo>
                  <a:lnTo>
                    <a:pt x="21482" y="760932"/>
                  </a:lnTo>
                  <a:cubicBezTo>
                    <a:pt x="21427" y="766030"/>
                    <a:pt x="17262" y="770133"/>
                    <a:pt x="12154" y="770133"/>
                  </a:cubicBezTo>
                  <a:moveTo>
                    <a:pt x="11395" y="845915"/>
                  </a:moveTo>
                  <a:lnTo>
                    <a:pt x="11395" y="845915"/>
                  </a:lnTo>
                  <a:cubicBezTo>
                    <a:pt x="6243" y="845861"/>
                    <a:pt x="2110" y="841639"/>
                    <a:pt x="2176" y="836496"/>
                  </a:cubicBezTo>
                  <a:cubicBezTo>
                    <a:pt x="2176" y="836464"/>
                    <a:pt x="2176" y="836421"/>
                    <a:pt x="2176" y="836388"/>
                  </a:cubicBezTo>
                  <a:lnTo>
                    <a:pt x="2176" y="817443"/>
                  </a:lnTo>
                  <a:cubicBezTo>
                    <a:pt x="2176" y="812344"/>
                    <a:pt x="6286" y="808187"/>
                    <a:pt x="11395" y="808132"/>
                  </a:cubicBezTo>
                  <a:lnTo>
                    <a:pt x="11395" y="808132"/>
                  </a:lnTo>
                  <a:cubicBezTo>
                    <a:pt x="16568" y="808252"/>
                    <a:pt x="20679" y="812495"/>
                    <a:pt x="20614" y="817659"/>
                  </a:cubicBezTo>
                  <a:lnTo>
                    <a:pt x="20614" y="836496"/>
                  </a:lnTo>
                  <a:cubicBezTo>
                    <a:pt x="20614" y="841660"/>
                    <a:pt x="16460" y="845861"/>
                    <a:pt x="11286" y="845915"/>
                  </a:cubicBezTo>
                  <a:moveTo>
                    <a:pt x="10744" y="921696"/>
                  </a:moveTo>
                  <a:lnTo>
                    <a:pt x="10744" y="921696"/>
                  </a:lnTo>
                  <a:cubicBezTo>
                    <a:pt x="5592" y="921642"/>
                    <a:pt x="1460" y="917420"/>
                    <a:pt x="1525" y="912278"/>
                  </a:cubicBezTo>
                  <a:cubicBezTo>
                    <a:pt x="1525" y="912245"/>
                    <a:pt x="1525" y="912202"/>
                    <a:pt x="1525" y="912170"/>
                  </a:cubicBezTo>
                  <a:lnTo>
                    <a:pt x="1525" y="893332"/>
                  </a:lnTo>
                  <a:cubicBezTo>
                    <a:pt x="1579" y="888212"/>
                    <a:pt x="5722" y="884076"/>
                    <a:pt x="10852" y="884022"/>
                  </a:cubicBezTo>
                  <a:lnTo>
                    <a:pt x="10852" y="884022"/>
                  </a:lnTo>
                  <a:cubicBezTo>
                    <a:pt x="16004" y="884141"/>
                    <a:pt x="20082" y="888407"/>
                    <a:pt x="19963" y="893549"/>
                  </a:cubicBezTo>
                  <a:cubicBezTo>
                    <a:pt x="19963" y="893549"/>
                    <a:pt x="19963" y="893549"/>
                    <a:pt x="19963" y="893549"/>
                  </a:cubicBezTo>
                  <a:lnTo>
                    <a:pt x="19963" y="912386"/>
                  </a:lnTo>
                  <a:cubicBezTo>
                    <a:pt x="19963" y="917485"/>
                    <a:pt x="15852" y="921642"/>
                    <a:pt x="10744" y="921696"/>
                  </a:cubicBezTo>
                  <a:moveTo>
                    <a:pt x="8900" y="997477"/>
                  </a:moveTo>
                  <a:lnTo>
                    <a:pt x="8900" y="997477"/>
                  </a:lnTo>
                  <a:cubicBezTo>
                    <a:pt x="3770" y="997185"/>
                    <a:pt x="-178" y="992855"/>
                    <a:pt x="6" y="987734"/>
                  </a:cubicBezTo>
                  <a:cubicBezTo>
                    <a:pt x="6" y="981455"/>
                    <a:pt x="549" y="975284"/>
                    <a:pt x="657" y="969006"/>
                  </a:cubicBezTo>
                  <a:cubicBezTo>
                    <a:pt x="896" y="963874"/>
                    <a:pt x="5158" y="959847"/>
                    <a:pt x="10310" y="959912"/>
                  </a:cubicBezTo>
                  <a:cubicBezTo>
                    <a:pt x="15397" y="960085"/>
                    <a:pt x="19388" y="964340"/>
                    <a:pt x="19204" y="969428"/>
                  </a:cubicBezTo>
                  <a:cubicBezTo>
                    <a:pt x="19204" y="969460"/>
                    <a:pt x="19204" y="969503"/>
                    <a:pt x="19204" y="969547"/>
                  </a:cubicBezTo>
                  <a:cubicBezTo>
                    <a:pt x="19204" y="975934"/>
                    <a:pt x="19204" y="982213"/>
                    <a:pt x="18553" y="988492"/>
                  </a:cubicBezTo>
                  <a:cubicBezTo>
                    <a:pt x="18434" y="993494"/>
                    <a:pt x="14345" y="997477"/>
                    <a:pt x="9334" y="997477"/>
                  </a:cubicBezTo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" name="Freeform 148">
              <a:extLst>
                <a:ext uri="{FF2B5EF4-FFF2-40B4-BE49-F238E27FC236}">
                  <a16:creationId xmlns:a16="http://schemas.microsoft.com/office/drawing/2014/main" id="{C81E5CEF-1E41-EA44-85A5-CE1A512363B6}"/>
                </a:ext>
              </a:extLst>
            </p:cNvPr>
            <p:cNvSpPr/>
            <p:nvPr/>
          </p:nvSpPr>
          <p:spPr>
            <a:xfrm>
              <a:off x="4967054" y="3925716"/>
              <a:ext cx="204552" cy="157228"/>
            </a:xfrm>
            <a:custGeom>
              <a:avLst/>
              <a:gdLst>
                <a:gd name="connsiteX0" fmla="*/ 175596 w 204552"/>
                <a:gd name="connsiteY0" fmla="*/ 5558 h 157228"/>
                <a:gd name="connsiteX1" fmla="*/ 68653 w 204552"/>
                <a:gd name="connsiteY1" fmla="*/ 115549 h 157228"/>
                <a:gd name="connsiteX2" fmla="*/ 29173 w 204552"/>
                <a:gd name="connsiteY2" fmla="*/ 76034 h 157228"/>
                <a:gd name="connsiteX3" fmla="*/ 5247 w 204552"/>
                <a:gd name="connsiteY3" fmla="*/ 75774 h 157228"/>
                <a:gd name="connsiteX4" fmla="*/ 4987 w 204552"/>
                <a:gd name="connsiteY4" fmla="*/ 76034 h 157228"/>
                <a:gd name="connsiteX5" fmla="*/ 4987 w 204552"/>
                <a:gd name="connsiteY5" fmla="*/ 100609 h 157228"/>
                <a:gd name="connsiteX6" fmla="*/ 56614 w 204552"/>
                <a:gd name="connsiteY6" fmla="*/ 152249 h 157228"/>
                <a:gd name="connsiteX7" fmla="*/ 68762 w 204552"/>
                <a:gd name="connsiteY7" fmla="*/ 157229 h 157228"/>
                <a:gd name="connsiteX8" fmla="*/ 80801 w 204552"/>
                <a:gd name="connsiteY8" fmla="*/ 152032 h 157228"/>
                <a:gd name="connsiteX9" fmla="*/ 199566 w 204552"/>
                <a:gd name="connsiteY9" fmla="*/ 29699 h 157228"/>
                <a:gd name="connsiteX10" fmla="*/ 199566 w 204552"/>
                <a:gd name="connsiteY10" fmla="*/ 5125 h 157228"/>
                <a:gd name="connsiteX11" fmla="*/ 175791 w 204552"/>
                <a:gd name="connsiteY11" fmla="*/ 4713 h 157228"/>
                <a:gd name="connsiteX12" fmla="*/ 175379 w 204552"/>
                <a:gd name="connsiteY12" fmla="*/ 5125 h 157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4552" h="157228">
                  <a:moveTo>
                    <a:pt x="175596" y="5558"/>
                  </a:moveTo>
                  <a:lnTo>
                    <a:pt x="68653" y="115549"/>
                  </a:lnTo>
                  <a:lnTo>
                    <a:pt x="29173" y="76034"/>
                  </a:lnTo>
                  <a:cubicBezTo>
                    <a:pt x="22633" y="69365"/>
                    <a:pt x="11928" y="69246"/>
                    <a:pt x="5247" y="75774"/>
                  </a:cubicBezTo>
                  <a:cubicBezTo>
                    <a:pt x="5160" y="75861"/>
                    <a:pt x="5073" y="75948"/>
                    <a:pt x="4987" y="76034"/>
                  </a:cubicBezTo>
                  <a:cubicBezTo>
                    <a:pt x="-1662" y="82876"/>
                    <a:pt x="-1662" y="93767"/>
                    <a:pt x="4987" y="100609"/>
                  </a:cubicBezTo>
                  <a:lnTo>
                    <a:pt x="56614" y="152249"/>
                  </a:lnTo>
                  <a:cubicBezTo>
                    <a:pt x="59835" y="155453"/>
                    <a:pt x="64206" y="157239"/>
                    <a:pt x="68762" y="157229"/>
                  </a:cubicBezTo>
                  <a:cubicBezTo>
                    <a:pt x="73317" y="157207"/>
                    <a:pt x="77666" y="155334"/>
                    <a:pt x="80801" y="152032"/>
                  </a:cubicBezTo>
                  <a:lnTo>
                    <a:pt x="199566" y="29699"/>
                  </a:lnTo>
                  <a:cubicBezTo>
                    <a:pt x="206214" y="22857"/>
                    <a:pt x="206214" y="11966"/>
                    <a:pt x="199566" y="5125"/>
                  </a:cubicBezTo>
                  <a:cubicBezTo>
                    <a:pt x="193112" y="-1544"/>
                    <a:pt x="182472" y="-1728"/>
                    <a:pt x="175791" y="4713"/>
                  </a:cubicBezTo>
                  <a:cubicBezTo>
                    <a:pt x="175650" y="4843"/>
                    <a:pt x="175520" y="4984"/>
                    <a:pt x="175379" y="5125"/>
                  </a:cubicBezTo>
                </a:path>
              </a:pathLst>
            </a:custGeom>
            <a:solidFill>
              <a:srgbClr val="00000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" name="Freeform 149">
              <a:extLst>
                <a:ext uri="{FF2B5EF4-FFF2-40B4-BE49-F238E27FC236}">
                  <a16:creationId xmlns:a16="http://schemas.microsoft.com/office/drawing/2014/main" id="{07049552-C7DA-EC46-B294-3BEE17DD3187}"/>
                </a:ext>
              </a:extLst>
            </p:cNvPr>
            <p:cNvSpPr/>
            <p:nvPr/>
          </p:nvSpPr>
          <p:spPr>
            <a:xfrm>
              <a:off x="4641452" y="3390823"/>
              <a:ext cx="301961" cy="301391"/>
            </a:xfrm>
            <a:custGeom>
              <a:avLst/>
              <a:gdLst>
                <a:gd name="connsiteX0" fmla="*/ 153472 w 301961"/>
                <a:gd name="connsiteY0" fmla="*/ 21 h 301391"/>
                <a:gd name="connsiteX1" fmla="*/ 21 w 301961"/>
                <a:gd name="connsiteY1" fmla="*/ 148206 h 301391"/>
                <a:gd name="connsiteX2" fmla="*/ 148483 w 301961"/>
                <a:gd name="connsiteY2" fmla="*/ 301371 h 301391"/>
                <a:gd name="connsiteX3" fmla="*/ 301933 w 301961"/>
                <a:gd name="connsiteY3" fmla="*/ 153186 h 301391"/>
                <a:gd name="connsiteX4" fmla="*/ 301955 w 301961"/>
                <a:gd name="connsiteY4" fmla="*/ 150718 h 301391"/>
                <a:gd name="connsiteX5" fmla="*/ 153591 w 301961"/>
                <a:gd name="connsiteY5" fmla="*/ 21 h 301391"/>
                <a:gd name="connsiteX6" fmla="*/ 153472 w 301961"/>
                <a:gd name="connsiteY6" fmla="*/ 21 h 301391"/>
                <a:gd name="connsiteX7" fmla="*/ 153472 w 301961"/>
                <a:gd name="connsiteY7" fmla="*/ 281495 h 301391"/>
                <a:gd name="connsiteX8" fmla="*/ 25846 w 301961"/>
                <a:gd name="connsiteY8" fmla="*/ 146571 h 301391"/>
                <a:gd name="connsiteX9" fmla="*/ 153472 w 301961"/>
                <a:gd name="connsiteY9" fmla="*/ 19183 h 301391"/>
                <a:gd name="connsiteX10" fmla="*/ 222345 w 301961"/>
                <a:gd name="connsiteY10" fmla="*/ 39427 h 301391"/>
                <a:gd name="connsiteX11" fmla="*/ 225707 w 301961"/>
                <a:gd name="connsiteY11" fmla="*/ 44299 h 301391"/>
                <a:gd name="connsiteX12" fmla="*/ 224731 w 301961"/>
                <a:gd name="connsiteY12" fmla="*/ 50037 h 301391"/>
                <a:gd name="connsiteX13" fmla="*/ 167247 w 301961"/>
                <a:gd name="connsiteY13" fmla="*/ 142707 h 301391"/>
                <a:gd name="connsiteX14" fmla="*/ 274948 w 301961"/>
                <a:gd name="connsiteY14" fmla="*/ 142707 h 301391"/>
                <a:gd name="connsiteX15" fmla="*/ 282541 w 301961"/>
                <a:gd name="connsiteY15" fmla="*/ 150285 h 301391"/>
                <a:gd name="connsiteX16" fmla="*/ 282541 w 301961"/>
                <a:gd name="connsiteY16" fmla="*/ 150393 h 301391"/>
                <a:gd name="connsiteX17" fmla="*/ 153917 w 301961"/>
                <a:gd name="connsiteY17" fmla="*/ 281819 h 301391"/>
                <a:gd name="connsiteX18" fmla="*/ 153472 w 301961"/>
                <a:gd name="connsiteY18" fmla="*/ 281819 h 301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01961" h="301391">
                  <a:moveTo>
                    <a:pt x="153472" y="21"/>
                  </a:moveTo>
                  <a:cubicBezTo>
                    <a:pt x="70098" y="-1354"/>
                    <a:pt x="1399" y="64987"/>
                    <a:pt x="21" y="148206"/>
                  </a:cubicBezTo>
                  <a:cubicBezTo>
                    <a:pt x="-1356" y="231425"/>
                    <a:pt x="65109" y="299996"/>
                    <a:pt x="148483" y="301371"/>
                  </a:cubicBezTo>
                  <a:cubicBezTo>
                    <a:pt x="231857" y="302746"/>
                    <a:pt x="300556" y="236405"/>
                    <a:pt x="301933" y="153186"/>
                  </a:cubicBezTo>
                  <a:cubicBezTo>
                    <a:pt x="301944" y="152363"/>
                    <a:pt x="301955" y="151540"/>
                    <a:pt x="301955" y="150718"/>
                  </a:cubicBezTo>
                  <a:cubicBezTo>
                    <a:pt x="302682" y="68213"/>
                    <a:pt x="236249" y="746"/>
                    <a:pt x="153591" y="21"/>
                  </a:cubicBezTo>
                  <a:cubicBezTo>
                    <a:pt x="153548" y="21"/>
                    <a:pt x="153515" y="21"/>
                    <a:pt x="153472" y="21"/>
                  </a:cubicBezTo>
                  <a:close/>
                  <a:moveTo>
                    <a:pt x="153472" y="281495"/>
                  </a:moveTo>
                  <a:cubicBezTo>
                    <a:pt x="80900" y="279416"/>
                    <a:pt x="23763" y="219007"/>
                    <a:pt x="25846" y="146571"/>
                  </a:cubicBezTo>
                  <a:cubicBezTo>
                    <a:pt x="27852" y="77058"/>
                    <a:pt x="83829" y="21175"/>
                    <a:pt x="153472" y="19183"/>
                  </a:cubicBezTo>
                  <a:cubicBezTo>
                    <a:pt x="177897" y="19204"/>
                    <a:pt x="201802" y="26230"/>
                    <a:pt x="222345" y="39427"/>
                  </a:cubicBezTo>
                  <a:cubicBezTo>
                    <a:pt x="224091" y="40521"/>
                    <a:pt x="225306" y="42285"/>
                    <a:pt x="225707" y="44299"/>
                  </a:cubicBezTo>
                  <a:cubicBezTo>
                    <a:pt x="226152" y="46269"/>
                    <a:pt x="225794" y="48326"/>
                    <a:pt x="224731" y="50037"/>
                  </a:cubicBezTo>
                  <a:lnTo>
                    <a:pt x="167247" y="142707"/>
                  </a:lnTo>
                  <a:lnTo>
                    <a:pt x="274948" y="142707"/>
                  </a:lnTo>
                  <a:cubicBezTo>
                    <a:pt x="279146" y="142707"/>
                    <a:pt x="282541" y="146095"/>
                    <a:pt x="282541" y="150285"/>
                  </a:cubicBezTo>
                  <a:cubicBezTo>
                    <a:pt x="282541" y="150317"/>
                    <a:pt x="282541" y="150360"/>
                    <a:pt x="282541" y="150393"/>
                  </a:cubicBezTo>
                  <a:cubicBezTo>
                    <a:pt x="283387" y="222136"/>
                    <a:pt x="225794" y="280975"/>
                    <a:pt x="153917" y="281819"/>
                  </a:cubicBezTo>
                  <a:cubicBezTo>
                    <a:pt x="153765" y="281819"/>
                    <a:pt x="153624" y="281819"/>
                    <a:pt x="153472" y="281819"/>
                  </a:cubicBezTo>
                  <a:close/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" name="Freeform 150">
              <a:extLst>
                <a:ext uri="{FF2B5EF4-FFF2-40B4-BE49-F238E27FC236}">
                  <a16:creationId xmlns:a16="http://schemas.microsoft.com/office/drawing/2014/main" id="{C7888A92-3C14-4B41-A38A-9AA38100298B}"/>
                </a:ext>
              </a:extLst>
            </p:cNvPr>
            <p:cNvSpPr/>
            <p:nvPr/>
          </p:nvSpPr>
          <p:spPr>
            <a:xfrm>
              <a:off x="4641452" y="3750135"/>
              <a:ext cx="301961" cy="301392"/>
            </a:xfrm>
            <a:custGeom>
              <a:avLst/>
              <a:gdLst>
                <a:gd name="connsiteX0" fmla="*/ 153472 w 301961"/>
                <a:gd name="connsiteY0" fmla="*/ 21 h 301392"/>
                <a:gd name="connsiteX1" fmla="*/ 21 w 301961"/>
                <a:gd name="connsiteY1" fmla="*/ 148206 h 301392"/>
                <a:gd name="connsiteX2" fmla="*/ 148483 w 301961"/>
                <a:gd name="connsiteY2" fmla="*/ 301371 h 301392"/>
                <a:gd name="connsiteX3" fmla="*/ 301933 w 301961"/>
                <a:gd name="connsiteY3" fmla="*/ 153186 h 301392"/>
                <a:gd name="connsiteX4" fmla="*/ 301955 w 301961"/>
                <a:gd name="connsiteY4" fmla="*/ 150718 h 301392"/>
                <a:gd name="connsiteX5" fmla="*/ 153591 w 301961"/>
                <a:gd name="connsiteY5" fmla="*/ 21 h 301392"/>
                <a:gd name="connsiteX6" fmla="*/ 153472 w 301961"/>
                <a:gd name="connsiteY6" fmla="*/ 21 h 301392"/>
                <a:gd name="connsiteX7" fmla="*/ 224731 w 301961"/>
                <a:gd name="connsiteY7" fmla="*/ 50361 h 301392"/>
                <a:gd name="connsiteX8" fmla="*/ 162366 w 301961"/>
                <a:gd name="connsiteY8" fmla="*/ 150934 h 301392"/>
                <a:gd name="connsiteX9" fmla="*/ 219308 w 301961"/>
                <a:gd name="connsiteY9" fmla="*/ 254755 h 301392"/>
                <a:gd name="connsiteX10" fmla="*/ 220067 w 301961"/>
                <a:gd name="connsiteY10" fmla="*/ 260601 h 301392"/>
                <a:gd name="connsiteX11" fmla="*/ 216379 w 301961"/>
                <a:gd name="connsiteY11" fmla="*/ 265256 h 301392"/>
                <a:gd name="connsiteX12" fmla="*/ 153472 w 301961"/>
                <a:gd name="connsiteY12" fmla="*/ 281928 h 301392"/>
                <a:gd name="connsiteX13" fmla="*/ 25846 w 301961"/>
                <a:gd name="connsiteY13" fmla="*/ 147004 h 301392"/>
                <a:gd name="connsiteX14" fmla="*/ 153472 w 301961"/>
                <a:gd name="connsiteY14" fmla="*/ 19616 h 301392"/>
                <a:gd name="connsiteX15" fmla="*/ 222345 w 301961"/>
                <a:gd name="connsiteY15" fmla="*/ 39752 h 301392"/>
                <a:gd name="connsiteX16" fmla="*/ 225707 w 301961"/>
                <a:gd name="connsiteY16" fmla="*/ 44624 h 301392"/>
                <a:gd name="connsiteX17" fmla="*/ 224731 w 301961"/>
                <a:gd name="connsiteY17" fmla="*/ 50361 h 301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1961" h="301392">
                  <a:moveTo>
                    <a:pt x="153472" y="21"/>
                  </a:moveTo>
                  <a:cubicBezTo>
                    <a:pt x="70098" y="-1354"/>
                    <a:pt x="1399" y="64987"/>
                    <a:pt x="21" y="148206"/>
                  </a:cubicBezTo>
                  <a:cubicBezTo>
                    <a:pt x="-1356" y="231425"/>
                    <a:pt x="65109" y="299996"/>
                    <a:pt x="148483" y="301371"/>
                  </a:cubicBezTo>
                  <a:cubicBezTo>
                    <a:pt x="231857" y="302746"/>
                    <a:pt x="300556" y="236405"/>
                    <a:pt x="301933" y="153186"/>
                  </a:cubicBezTo>
                  <a:cubicBezTo>
                    <a:pt x="301944" y="152363"/>
                    <a:pt x="301955" y="151540"/>
                    <a:pt x="301955" y="150718"/>
                  </a:cubicBezTo>
                  <a:cubicBezTo>
                    <a:pt x="302682" y="68214"/>
                    <a:pt x="236249" y="747"/>
                    <a:pt x="153591" y="21"/>
                  </a:cubicBezTo>
                  <a:cubicBezTo>
                    <a:pt x="153548" y="21"/>
                    <a:pt x="153515" y="21"/>
                    <a:pt x="153472" y="21"/>
                  </a:cubicBezTo>
                  <a:close/>
                  <a:moveTo>
                    <a:pt x="224731" y="50361"/>
                  </a:moveTo>
                  <a:lnTo>
                    <a:pt x="162366" y="150934"/>
                  </a:lnTo>
                  <a:lnTo>
                    <a:pt x="219308" y="254755"/>
                  </a:lnTo>
                  <a:cubicBezTo>
                    <a:pt x="220306" y="256530"/>
                    <a:pt x="220577" y="258630"/>
                    <a:pt x="220067" y="260601"/>
                  </a:cubicBezTo>
                  <a:cubicBezTo>
                    <a:pt x="219525" y="262593"/>
                    <a:pt x="218191" y="264271"/>
                    <a:pt x="216379" y="265256"/>
                  </a:cubicBezTo>
                  <a:cubicBezTo>
                    <a:pt x="197214" y="276168"/>
                    <a:pt x="175533" y="281917"/>
                    <a:pt x="153472" y="281928"/>
                  </a:cubicBezTo>
                  <a:cubicBezTo>
                    <a:pt x="80900" y="279849"/>
                    <a:pt x="23763" y="219441"/>
                    <a:pt x="25846" y="147004"/>
                  </a:cubicBezTo>
                  <a:cubicBezTo>
                    <a:pt x="27852" y="77491"/>
                    <a:pt x="83829" y="21619"/>
                    <a:pt x="153472" y="19616"/>
                  </a:cubicBezTo>
                  <a:cubicBezTo>
                    <a:pt x="177886" y="19594"/>
                    <a:pt x="201791" y="26588"/>
                    <a:pt x="222345" y="39752"/>
                  </a:cubicBezTo>
                  <a:cubicBezTo>
                    <a:pt x="224091" y="40845"/>
                    <a:pt x="225306" y="42610"/>
                    <a:pt x="225707" y="44624"/>
                  </a:cubicBezTo>
                  <a:cubicBezTo>
                    <a:pt x="226152" y="46594"/>
                    <a:pt x="225794" y="48651"/>
                    <a:pt x="224731" y="50361"/>
                  </a:cubicBezTo>
                  <a:close/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" name="Freeform 151">
              <a:extLst>
                <a:ext uri="{FF2B5EF4-FFF2-40B4-BE49-F238E27FC236}">
                  <a16:creationId xmlns:a16="http://schemas.microsoft.com/office/drawing/2014/main" id="{61EE7667-F559-B340-B9EA-4CE63D1B18E1}"/>
                </a:ext>
              </a:extLst>
            </p:cNvPr>
            <p:cNvSpPr/>
            <p:nvPr/>
          </p:nvSpPr>
          <p:spPr>
            <a:xfrm>
              <a:off x="4585269" y="4096369"/>
              <a:ext cx="393496" cy="28363"/>
            </a:xfrm>
            <a:custGeom>
              <a:avLst/>
              <a:gdLst>
                <a:gd name="connsiteX0" fmla="*/ 379288 w 393496"/>
                <a:gd name="connsiteY0" fmla="*/ 28364 h 28363"/>
                <a:gd name="connsiteX1" fmla="*/ 14208 w 393496"/>
                <a:gd name="connsiteY1" fmla="*/ 28364 h 28363"/>
                <a:gd name="connsiteX2" fmla="*/ 0 w 393496"/>
                <a:gd name="connsiteY2" fmla="*/ 14182 h 28363"/>
                <a:gd name="connsiteX3" fmla="*/ 14208 w 393496"/>
                <a:gd name="connsiteY3" fmla="*/ 0 h 28363"/>
                <a:gd name="connsiteX4" fmla="*/ 379288 w 393496"/>
                <a:gd name="connsiteY4" fmla="*/ 0 h 28363"/>
                <a:gd name="connsiteX5" fmla="*/ 393497 w 393496"/>
                <a:gd name="connsiteY5" fmla="*/ 14182 h 28363"/>
                <a:gd name="connsiteX6" fmla="*/ 379288 w 393496"/>
                <a:gd name="connsiteY6" fmla="*/ 28364 h 28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496" h="28363">
                  <a:moveTo>
                    <a:pt x="379288" y="28364"/>
                  </a:moveTo>
                  <a:lnTo>
                    <a:pt x="14208" y="28364"/>
                  </a:lnTo>
                  <a:cubicBezTo>
                    <a:pt x="6367" y="28364"/>
                    <a:pt x="0" y="22009"/>
                    <a:pt x="0" y="14182"/>
                  </a:cubicBezTo>
                  <a:cubicBezTo>
                    <a:pt x="0" y="6355"/>
                    <a:pt x="6367" y="0"/>
                    <a:pt x="14208" y="0"/>
                  </a:cubicBezTo>
                  <a:lnTo>
                    <a:pt x="379288" y="0"/>
                  </a:lnTo>
                  <a:cubicBezTo>
                    <a:pt x="387130" y="0"/>
                    <a:pt x="393497" y="6355"/>
                    <a:pt x="393497" y="14182"/>
                  </a:cubicBezTo>
                  <a:cubicBezTo>
                    <a:pt x="393497" y="22009"/>
                    <a:pt x="387130" y="28364"/>
                    <a:pt x="379288" y="28364"/>
                  </a:cubicBezTo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" name="Freeform 152">
              <a:extLst>
                <a:ext uri="{FF2B5EF4-FFF2-40B4-BE49-F238E27FC236}">
                  <a16:creationId xmlns:a16="http://schemas.microsoft.com/office/drawing/2014/main" id="{9090C4D7-2EB6-564A-ABFB-7A0360B4F7A0}"/>
                </a:ext>
              </a:extLst>
            </p:cNvPr>
            <p:cNvSpPr/>
            <p:nvPr/>
          </p:nvSpPr>
          <p:spPr>
            <a:xfrm>
              <a:off x="4586504" y="4167171"/>
              <a:ext cx="391025" cy="28255"/>
            </a:xfrm>
            <a:custGeom>
              <a:avLst/>
              <a:gdLst>
                <a:gd name="connsiteX0" fmla="*/ 378053 w 391025"/>
                <a:gd name="connsiteY0" fmla="*/ 28255 h 28255"/>
                <a:gd name="connsiteX1" fmla="*/ 12973 w 391025"/>
                <a:gd name="connsiteY1" fmla="*/ 28255 h 28255"/>
                <a:gd name="connsiteX2" fmla="*/ 55 w 391025"/>
                <a:gd name="connsiteY2" fmla="*/ 12893 h 28255"/>
                <a:gd name="connsiteX3" fmla="*/ 12973 w 391025"/>
                <a:gd name="connsiteY3" fmla="*/ 0 h 28255"/>
                <a:gd name="connsiteX4" fmla="*/ 378053 w 391025"/>
                <a:gd name="connsiteY4" fmla="*/ 0 h 28255"/>
                <a:gd name="connsiteX5" fmla="*/ 390970 w 391025"/>
                <a:gd name="connsiteY5" fmla="*/ 15362 h 28255"/>
                <a:gd name="connsiteX6" fmla="*/ 378053 w 391025"/>
                <a:gd name="connsiteY6" fmla="*/ 28255 h 28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1025" h="28255">
                  <a:moveTo>
                    <a:pt x="378053" y="28255"/>
                  </a:moveTo>
                  <a:lnTo>
                    <a:pt x="12973" y="28255"/>
                  </a:lnTo>
                  <a:cubicBezTo>
                    <a:pt x="5153" y="27574"/>
                    <a:pt x="-628" y="20688"/>
                    <a:pt x="55" y="12893"/>
                  </a:cubicBezTo>
                  <a:cubicBezTo>
                    <a:pt x="662" y="6030"/>
                    <a:pt x="6107" y="595"/>
                    <a:pt x="12973" y="0"/>
                  </a:cubicBezTo>
                  <a:lnTo>
                    <a:pt x="378053" y="0"/>
                  </a:lnTo>
                  <a:cubicBezTo>
                    <a:pt x="385873" y="682"/>
                    <a:pt x="391654" y="7567"/>
                    <a:pt x="390970" y="15362"/>
                  </a:cubicBezTo>
                  <a:cubicBezTo>
                    <a:pt x="390363" y="22225"/>
                    <a:pt x="384918" y="27660"/>
                    <a:pt x="378053" y="28255"/>
                  </a:cubicBezTo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4" name="Freeform 153">
              <a:extLst>
                <a:ext uri="{FF2B5EF4-FFF2-40B4-BE49-F238E27FC236}">
                  <a16:creationId xmlns:a16="http://schemas.microsoft.com/office/drawing/2014/main" id="{A6E5A95E-1238-6A48-81BA-82B7210F5F22}"/>
                </a:ext>
              </a:extLst>
            </p:cNvPr>
            <p:cNvSpPr/>
            <p:nvPr/>
          </p:nvSpPr>
          <p:spPr>
            <a:xfrm>
              <a:off x="4586504" y="4237214"/>
              <a:ext cx="391025" cy="28255"/>
            </a:xfrm>
            <a:custGeom>
              <a:avLst/>
              <a:gdLst>
                <a:gd name="connsiteX0" fmla="*/ 378053 w 391025"/>
                <a:gd name="connsiteY0" fmla="*/ 28255 h 28255"/>
                <a:gd name="connsiteX1" fmla="*/ 12973 w 391025"/>
                <a:gd name="connsiteY1" fmla="*/ 28255 h 28255"/>
                <a:gd name="connsiteX2" fmla="*/ 55 w 391025"/>
                <a:gd name="connsiteY2" fmla="*/ 12893 h 28255"/>
                <a:gd name="connsiteX3" fmla="*/ 12973 w 391025"/>
                <a:gd name="connsiteY3" fmla="*/ 0 h 28255"/>
                <a:gd name="connsiteX4" fmla="*/ 378053 w 391025"/>
                <a:gd name="connsiteY4" fmla="*/ 0 h 28255"/>
                <a:gd name="connsiteX5" fmla="*/ 390970 w 391025"/>
                <a:gd name="connsiteY5" fmla="*/ 15362 h 28255"/>
                <a:gd name="connsiteX6" fmla="*/ 378053 w 391025"/>
                <a:gd name="connsiteY6" fmla="*/ 28255 h 28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1025" h="28255">
                  <a:moveTo>
                    <a:pt x="378053" y="28255"/>
                  </a:moveTo>
                  <a:lnTo>
                    <a:pt x="12973" y="28255"/>
                  </a:lnTo>
                  <a:cubicBezTo>
                    <a:pt x="5153" y="27574"/>
                    <a:pt x="-628" y="20688"/>
                    <a:pt x="55" y="12893"/>
                  </a:cubicBezTo>
                  <a:cubicBezTo>
                    <a:pt x="662" y="6030"/>
                    <a:pt x="6107" y="595"/>
                    <a:pt x="12973" y="0"/>
                  </a:cubicBezTo>
                  <a:lnTo>
                    <a:pt x="378053" y="0"/>
                  </a:lnTo>
                  <a:cubicBezTo>
                    <a:pt x="385873" y="682"/>
                    <a:pt x="391654" y="7567"/>
                    <a:pt x="390970" y="15362"/>
                  </a:cubicBezTo>
                  <a:cubicBezTo>
                    <a:pt x="390363" y="22225"/>
                    <a:pt x="384918" y="27660"/>
                    <a:pt x="378053" y="28255"/>
                  </a:cubicBezTo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5" name="Freeform 154">
              <a:extLst>
                <a:ext uri="{FF2B5EF4-FFF2-40B4-BE49-F238E27FC236}">
                  <a16:creationId xmlns:a16="http://schemas.microsoft.com/office/drawing/2014/main" id="{EA1AB55A-30EC-BA4A-8152-7D66BA33DE39}"/>
                </a:ext>
              </a:extLst>
            </p:cNvPr>
            <p:cNvSpPr/>
            <p:nvPr/>
          </p:nvSpPr>
          <p:spPr>
            <a:xfrm>
              <a:off x="4790954" y="4308124"/>
              <a:ext cx="186575" cy="28255"/>
            </a:xfrm>
            <a:custGeom>
              <a:avLst/>
              <a:gdLst>
                <a:gd name="connsiteX0" fmla="*/ 173604 w 186575"/>
                <a:gd name="connsiteY0" fmla="*/ 28255 h 28255"/>
                <a:gd name="connsiteX1" fmla="*/ 12973 w 186575"/>
                <a:gd name="connsiteY1" fmla="*/ 28255 h 28255"/>
                <a:gd name="connsiteX2" fmla="*/ 55 w 186575"/>
                <a:gd name="connsiteY2" fmla="*/ 12894 h 28255"/>
                <a:gd name="connsiteX3" fmla="*/ 12973 w 186575"/>
                <a:gd name="connsiteY3" fmla="*/ 0 h 28255"/>
                <a:gd name="connsiteX4" fmla="*/ 173604 w 186575"/>
                <a:gd name="connsiteY4" fmla="*/ 0 h 28255"/>
                <a:gd name="connsiteX5" fmla="*/ 186521 w 186575"/>
                <a:gd name="connsiteY5" fmla="*/ 15362 h 28255"/>
                <a:gd name="connsiteX6" fmla="*/ 173604 w 186575"/>
                <a:gd name="connsiteY6" fmla="*/ 28255 h 28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6575" h="28255">
                  <a:moveTo>
                    <a:pt x="173604" y="28255"/>
                  </a:moveTo>
                  <a:lnTo>
                    <a:pt x="12973" y="28255"/>
                  </a:lnTo>
                  <a:cubicBezTo>
                    <a:pt x="5153" y="27574"/>
                    <a:pt x="-628" y="20688"/>
                    <a:pt x="55" y="12894"/>
                  </a:cubicBezTo>
                  <a:cubicBezTo>
                    <a:pt x="662" y="6030"/>
                    <a:pt x="6107" y="595"/>
                    <a:pt x="12973" y="0"/>
                  </a:cubicBezTo>
                  <a:lnTo>
                    <a:pt x="173604" y="0"/>
                  </a:lnTo>
                  <a:cubicBezTo>
                    <a:pt x="181423" y="682"/>
                    <a:pt x="187205" y="7567"/>
                    <a:pt x="186521" y="15362"/>
                  </a:cubicBezTo>
                  <a:cubicBezTo>
                    <a:pt x="185914" y="22226"/>
                    <a:pt x="180469" y="27660"/>
                    <a:pt x="173604" y="28255"/>
                  </a:cubicBezTo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" name="Freeform 155">
              <a:extLst>
                <a:ext uri="{FF2B5EF4-FFF2-40B4-BE49-F238E27FC236}">
                  <a16:creationId xmlns:a16="http://schemas.microsoft.com/office/drawing/2014/main" id="{768AFAFB-E655-4246-A5F7-B5D88BFBC1D8}"/>
                </a:ext>
              </a:extLst>
            </p:cNvPr>
            <p:cNvSpPr/>
            <p:nvPr/>
          </p:nvSpPr>
          <p:spPr>
            <a:xfrm>
              <a:off x="4586504" y="4308124"/>
              <a:ext cx="117160" cy="28255"/>
            </a:xfrm>
            <a:custGeom>
              <a:avLst/>
              <a:gdLst>
                <a:gd name="connsiteX0" fmla="*/ 104188 w 117160"/>
                <a:gd name="connsiteY0" fmla="*/ 28255 h 28255"/>
                <a:gd name="connsiteX1" fmla="*/ 12973 w 117160"/>
                <a:gd name="connsiteY1" fmla="*/ 28255 h 28255"/>
                <a:gd name="connsiteX2" fmla="*/ 55 w 117160"/>
                <a:gd name="connsiteY2" fmla="*/ 12894 h 28255"/>
                <a:gd name="connsiteX3" fmla="*/ 12973 w 117160"/>
                <a:gd name="connsiteY3" fmla="*/ 0 h 28255"/>
                <a:gd name="connsiteX4" fmla="*/ 104188 w 117160"/>
                <a:gd name="connsiteY4" fmla="*/ 0 h 28255"/>
                <a:gd name="connsiteX5" fmla="*/ 117106 w 117160"/>
                <a:gd name="connsiteY5" fmla="*/ 15362 h 28255"/>
                <a:gd name="connsiteX6" fmla="*/ 104188 w 117160"/>
                <a:gd name="connsiteY6" fmla="*/ 28255 h 28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7160" h="28255">
                  <a:moveTo>
                    <a:pt x="104188" y="28255"/>
                  </a:moveTo>
                  <a:lnTo>
                    <a:pt x="12973" y="28255"/>
                  </a:lnTo>
                  <a:cubicBezTo>
                    <a:pt x="5153" y="27574"/>
                    <a:pt x="-628" y="20688"/>
                    <a:pt x="55" y="12894"/>
                  </a:cubicBezTo>
                  <a:cubicBezTo>
                    <a:pt x="662" y="6030"/>
                    <a:pt x="6107" y="595"/>
                    <a:pt x="12973" y="0"/>
                  </a:cubicBezTo>
                  <a:lnTo>
                    <a:pt x="104188" y="0"/>
                  </a:lnTo>
                  <a:cubicBezTo>
                    <a:pt x="112008" y="682"/>
                    <a:pt x="117789" y="7567"/>
                    <a:pt x="117106" y="15362"/>
                  </a:cubicBezTo>
                  <a:cubicBezTo>
                    <a:pt x="116499" y="22226"/>
                    <a:pt x="111054" y="27660"/>
                    <a:pt x="104188" y="28255"/>
                  </a:cubicBezTo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" name="Freeform 156">
              <a:extLst>
                <a:ext uri="{FF2B5EF4-FFF2-40B4-BE49-F238E27FC236}">
                  <a16:creationId xmlns:a16="http://schemas.microsoft.com/office/drawing/2014/main" id="{ED4A9D12-A761-E845-A66F-DC44E8B25FBE}"/>
                </a:ext>
              </a:extLst>
            </p:cNvPr>
            <p:cNvSpPr/>
            <p:nvPr/>
          </p:nvSpPr>
          <p:spPr>
            <a:xfrm>
              <a:off x="8512845" y="1985966"/>
              <a:ext cx="402515" cy="570742"/>
            </a:xfrm>
            <a:custGeom>
              <a:avLst/>
              <a:gdLst>
                <a:gd name="connsiteX0" fmla="*/ 27782 w 402515"/>
                <a:gd name="connsiteY0" fmla="*/ 18837 h 570742"/>
                <a:gd name="connsiteX1" fmla="*/ 27782 w 402515"/>
                <a:gd name="connsiteY1" fmla="*/ 18837 h 570742"/>
                <a:gd name="connsiteX2" fmla="*/ 9995 w 402515"/>
                <a:gd name="connsiteY2" fmla="*/ 18837 h 570742"/>
                <a:gd name="connsiteX3" fmla="*/ 16 w 402515"/>
                <a:gd name="connsiteY3" fmla="*/ 9960 h 570742"/>
                <a:gd name="connsiteX4" fmla="*/ 8910 w 402515"/>
                <a:gd name="connsiteY4" fmla="*/ 0 h 570742"/>
                <a:gd name="connsiteX5" fmla="*/ 28325 w 402515"/>
                <a:gd name="connsiteY5" fmla="*/ 0 h 570742"/>
                <a:gd name="connsiteX6" fmla="*/ 37761 w 402515"/>
                <a:gd name="connsiteY6" fmla="*/ 9418 h 570742"/>
                <a:gd name="connsiteX7" fmla="*/ 28325 w 402515"/>
                <a:gd name="connsiteY7" fmla="*/ 18837 h 570742"/>
                <a:gd name="connsiteX8" fmla="*/ 102078 w 402515"/>
                <a:gd name="connsiteY8" fmla="*/ 29013 h 570742"/>
                <a:gd name="connsiteX9" fmla="*/ 99909 w 402515"/>
                <a:gd name="connsiteY9" fmla="*/ 29013 h 570742"/>
                <a:gd name="connsiteX10" fmla="*/ 82121 w 402515"/>
                <a:gd name="connsiteY10" fmla="*/ 25224 h 570742"/>
                <a:gd name="connsiteX11" fmla="*/ 74746 w 402515"/>
                <a:gd name="connsiteY11" fmla="*/ 14398 h 570742"/>
                <a:gd name="connsiteX12" fmla="*/ 85093 w 402515"/>
                <a:gd name="connsiteY12" fmla="*/ 6734 h 570742"/>
                <a:gd name="connsiteX13" fmla="*/ 85592 w 402515"/>
                <a:gd name="connsiteY13" fmla="*/ 6820 h 570742"/>
                <a:gd name="connsiteX14" fmla="*/ 104248 w 402515"/>
                <a:gd name="connsiteY14" fmla="*/ 10718 h 570742"/>
                <a:gd name="connsiteX15" fmla="*/ 111189 w 402515"/>
                <a:gd name="connsiteY15" fmla="*/ 21544 h 570742"/>
                <a:gd name="connsiteX16" fmla="*/ 102187 w 402515"/>
                <a:gd name="connsiteY16" fmla="*/ 28797 h 570742"/>
                <a:gd name="connsiteX17" fmla="*/ 172578 w 402515"/>
                <a:gd name="connsiteY17" fmla="*/ 52830 h 570742"/>
                <a:gd name="connsiteX18" fmla="*/ 168782 w 402515"/>
                <a:gd name="connsiteY18" fmla="*/ 51964 h 570742"/>
                <a:gd name="connsiteX19" fmla="*/ 152079 w 402515"/>
                <a:gd name="connsiteY19" fmla="*/ 44819 h 570742"/>
                <a:gd name="connsiteX20" fmla="*/ 146753 w 402515"/>
                <a:gd name="connsiteY20" fmla="*/ 32608 h 570742"/>
                <a:gd name="connsiteX21" fmla="*/ 146764 w 402515"/>
                <a:gd name="connsiteY21" fmla="*/ 32586 h 570742"/>
                <a:gd name="connsiteX22" fmla="*/ 158641 w 402515"/>
                <a:gd name="connsiteY22" fmla="*/ 27216 h 570742"/>
                <a:gd name="connsiteX23" fmla="*/ 158803 w 402515"/>
                <a:gd name="connsiteY23" fmla="*/ 27281 h 570742"/>
                <a:gd name="connsiteX24" fmla="*/ 176374 w 402515"/>
                <a:gd name="connsiteY24" fmla="*/ 34751 h 570742"/>
                <a:gd name="connsiteX25" fmla="*/ 181038 w 402515"/>
                <a:gd name="connsiteY25" fmla="*/ 47201 h 570742"/>
                <a:gd name="connsiteX26" fmla="*/ 172578 w 402515"/>
                <a:gd name="connsiteY26" fmla="*/ 52830 h 570742"/>
                <a:gd name="connsiteX27" fmla="*/ 236570 w 402515"/>
                <a:gd name="connsiteY27" fmla="*/ 90721 h 570742"/>
                <a:gd name="connsiteX28" fmla="*/ 231039 w 402515"/>
                <a:gd name="connsiteY28" fmla="*/ 88881 h 570742"/>
                <a:gd name="connsiteX29" fmla="*/ 216288 w 402515"/>
                <a:gd name="connsiteY29" fmla="*/ 78055 h 570742"/>
                <a:gd name="connsiteX30" fmla="*/ 213576 w 402515"/>
                <a:gd name="connsiteY30" fmla="*/ 65064 h 570742"/>
                <a:gd name="connsiteX31" fmla="*/ 226114 w 402515"/>
                <a:gd name="connsiteY31" fmla="*/ 62119 h 570742"/>
                <a:gd name="connsiteX32" fmla="*/ 226483 w 402515"/>
                <a:gd name="connsiteY32" fmla="*/ 62357 h 570742"/>
                <a:gd name="connsiteX33" fmla="*/ 242101 w 402515"/>
                <a:gd name="connsiteY33" fmla="*/ 73183 h 570742"/>
                <a:gd name="connsiteX34" fmla="*/ 244054 w 402515"/>
                <a:gd name="connsiteY34" fmla="*/ 86391 h 570742"/>
                <a:gd name="connsiteX35" fmla="*/ 236570 w 402515"/>
                <a:gd name="connsiteY35" fmla="*/ 90180 h 570742"/>
                <a:gd name="connsiteX36" fmla="*/ 290801 w 402515"/>
                <a:gd name="connsiteY36" fmla="*/ 141278 h 570742"/>
                <a:gd name="connsiteX37" fmla="*/ 283751 w 402515"/>
                <a:gd name="connsiteY37" fmla="*/ 138030 h 570742"/>
                <a:gd name="connsiteX38" fmla="*/ 271603 w 402515"/>
                <a:gd name="connsiteY38" fmla="*/ 124498 h 570742"/>
                <a:gd name="connsiteX39" fmla="*/ 271603 w 402515"/>
                <a:gd name="connsiteY39" fmla="*/ 111182 h 570742"/>
                <a:gd name="connsiteX40" fmla="*/ 284488 w 402515"/>
                <a:gd name="connsiteY40" fmla="*/ 110944 h 570742"/>
                <a:gd name="connsiteX41" fmla="*/ 284727 w 402515"/>
                <a:gd name="connsiteY41" fmla="*/ 111182 h 570742"/>
                <a:gd name="connsiteX42" fmla="*/ 297634 w 402515"/>
                <a:gd name="connsiteY42" fmla="*/ 125472 h 570742"/>
                <a:gd name="connsiteX43" fmla="*/ 296657 w 402515"/>
                <a:gd name="connsiteY43" fmla="*/ 138788 h 570742"/>
                <a:gd name="connsiteX44" fmla="*/ 290584 w 402515"/>
                <a:gd name="connsiteY44" fmla="*/ 141062 h 570742"/>
                <a:gd name="connsiteX45" fmla="*/ 332884 w 402515"/>
                <a:gd name="connsiteY45" fmla="*/ 202769 h 570742"/>
                <a:gd name="connsiteX46" fmla="*/ 324749 w 402515"/>
                <a:gd name="connsiteY46" fmla="*/ 197898 h 570742"/>
                <a:gd name="connsiteX47" fmla="*/ 315638 w 402515"/>
                <a:gd name="connsiteY47" fmla="*/ 182092 h 570742"/>
                <a:gd name="connsiteX48" fmla="*/ 318567 w 402515"/>
                <a:gd name="connsiteY48" fmla="*/ 169101 h 570742"/>
                <a:gd name="connsiteX49" fmla="*/ 331278 w 402515"/>
                <a:gd name="connsiteY49" fmla="*/ 171991 h 570742"/>
                <a:gd name="connsiteX50" fmla="*/ 331365 w 402515"/>
                <a:gd name="connsiteY50" fmla="*/ 172132 h 570742"/>
                <a:gd name="connsiteX51" fmla="*/ 341018 w 402515"/>
                <a:gd name="connsiteY51" fmla="*/ 188804 h 570742"/>
                <a:gd name="connsiteX52" fmla="*/ 337330 w 402515"/>
                <a:gd name="connsiteY52" fmla="*/ 201687 h 570742"/>
                <a:gd name="connsiteX53" fmla="*/ 332884 w 402515"/>
                <a:gd name="connsiteY53" fmla="*/ 202769 h 570742"/>
                <a:gd name="connsiteX54" fmla="*/ 362710 w 402515"/>
                <a:gd name="connsiteY54" fmla="*/ 271622 h 570742"/>
                <a:gd name="connsiteX55" fmla="*/ 353925 w 402515"/>
                <a:gd name="connsiteY55" fmla="*/ 265235 h 570742"/>
                <a:gd name="connsiteX56" fmla="*/ 347743 w 402515"/>
                <a:gd name="connsiteY56" fmla="*/ 247913 h 570742"/>
                <a:gd name="connsiteX57" fmla="*/ 353057 w 402515"/>
                <a:gd name="connsiteY57" fmla="*/ 235680 h 570742"/>
                <a:gd name="connsiteX58" fmla="*/ 364955 w 402515"/>
                <a:gd name="connsiteY58" fmla="*/ 241006 h 570742"/>
                <a:gd name="connsiteX59" fmla="*/ 364988 w 402515"/>
                <a:gd name="connsiteY59" fmla="*/ 241093 h 570742"/>
                <a:gd name="connsiteX60" fmla="*/ 371496 w 402515"/>
                <a:gd name="connsiteY60" fmla="*/ 259172 h 570742"/>
                <a:gd name="connsiteX61" fmla="*/ 365812 w 402515"/>
                <a:gd name="connsiteY61" fmla="*/ 271059 h 570742"/>
                <a:gd name="connsiteX62" fmla="*/ 365747 w 402515"/>
                <a:gd name="connsiteY62" fmla="*/ 271081 h 570742"/>
                <a:gd name="connsiteX63" fmla="*/ 362710 w 402515"/>
                <a:gd name="connsiteY63" fmla="*/ 271622 h 570742"/>
                <a:gd name="connsiteX64" fmla="*/ 381583 w 402515"/>
                <a:gd name="connsiteY64" fmla="*/ 344372 h 570742"/>
                <a:gd name="connsiteX65" fmla="*/ 372472 w 402515"/>
                <a:gd name="connsiteY65" fmla="*/ 336794 h 570742"/>
                <a:gd name="connsiteX66" fmla="*/ 368676 w 402515"/>
                <a:gd name="connsiteY66" fmla="*/ 318607 h 570742"/>
                <a:gd name="connsiteX67" fmla="*/ 375725 w 402515"/>
                <a:gd name="connsiteY67" fmla="*/ 307781 h 570742"/>
                <a:gd name="connsiteX68" fmla="*/ 386571 w 402515"/>
                <a:gd name="connsiteY68" fmla="*/ 314926 h 570742"/>
                <a:gd name="connsiteX69" fmla="*/ 390477 w 402515"/>
                <a:gd name="connsiteY69" fmla="*/ 333655 h 570742"/>
                <a:gd name="connsiteX70" fmla="*/ 383101 w 402515"/>
                <a:gd name="connsiteY70" fmla="*/ 344480 h 570742"/>
                <a:gd name="connsiteX71" fmla="*/ 381365 w 402515"/>
                <a:gd name="connsiteY71" fmla="*/ 344480 h 570742"/>
                <a:gd name="connsiteX72" fmla="*/ 390910 w 402515"/>
                <a:gd name="connsiteY72" fmla="*/ 419179 h 570742"/>
                <a:gd name="connsiteX73" fmla="*/ 381691 w 402515"/>
                <a:gd name="connsiteY73" fmla="*/ 410410 h 570742"/>
                <a:gd name="connsiteX74" fmla="*/ 380064 w 402515"/>
                <a:gd name="connsiteY74" fmla="*/ 391898 h 570742"/>
                <a:gd name="connsiteX75" fmla="*/ 388318 w 402515"/>
                <a:gd name="connsiteY75" fmla="*/ 381624 h 570742"/>
                <a:gd name="connsiteX76" fmla="*/ 388416 w 402515"/>
                <a:gd name="connsiteY76" fmla="*/ 381613 h 570742"/>
                <a:gd name="connsiteX77" fmla="*/ 398481 w 402515"/>
                <a:gd name="connsiteY77" fmla="*/ 389874 h 570742"/>
                <a:gd name="connsiteX78" fmla="*/ 398503 w 402515"/>
                <a:gd name="connsiteY78" fmla="*/ 390058 h 570742"/>
                <a:gd name="connsiteX79" fmla="*/ 400238 w 402515"/>
                <a:gd name="connsiteY79" fmla="*/ 409003 h 570742"/>
                <a:gd name="connsiteX80" fmla="*/ 391669 w 402515"/>
                <a:gd name="connsiteY80" fmla="*/ 419179 h 570742"/>
                <a:gd name="connsiteX81" fmla="*/ 390910 w 402515"/>
                <a:gd name="connsiteY81" fmla="*/ 419179 h 570742"/>
                <a:gd name="connsiteX82" fmla="*/ 393188 w 402515"/>
                <a:gd name="connsiteY82" fmla="*/ 494961 h 570742"/>
                <a:gd name="connsiteX83" fmla="*/ 393188 w 402515"/>
                <a:gd name="connsiteY83" fmla="*/ 494961 h 570742"/>
                <a:gd name="connsiteX84" fmla="*/ 383968 w 402515"/>
                <a:gd name="connsiteY84" fmla="*/ 485434 h 570742"/>
                <a:gd name="connsiteX85" fmla="*/ 383968 w 402515"/>
                <a:gd name="connsiteY85" fmla="*/ 473742 h 570742"/>
                <a:gd name="connsiteX86" fmla="*/ 383968 w 402515"/>
                <a:gd name="connsiteY86" fmla="*/ 466705 h 570742"/>
                <a:gd name="connsiteX87" fmla="*/ 393188 w 402515"/>
                <a:gd name="connsiteY87" fmla="*/ 457178 h 570742"/>
                <a:gd name="connsiteX88" fmla="*/ 393188 w 402515"/>
                <a:gd name="connsiteY88" fmla="*/ 457178 h 570742"/>
                <a:gd name="connsiteX89" fmla="*/ 402516 w 402515"/>
                <a:gd name="connsiteY89" fmla="*/ 466489 h 570742"/>
                <a:gd name="connsiteX90" fmla="*/ 402516 w 402515"/>
                <a:gd name="connsiteY90" fmla="*/ 466597 h 570742"/>
                <a:gd name="connsiteX91" fmla="*/ 402516 w 402515"/>
                <a:gd name="connsiteY91" fmla="*/ 485650 h 570742"/>
                <a:gd name="connsiteX92" fmla="*/ 393188 w 402515"/>
                <a:gd name="connsiteY92" fmla="*/ 494961 h 570742"/>
                <a:gd name="connsiteX93" fmla="*/ 389500 w 402515"/>
                <a:gd name="connsiteY93" fmla="*/ 570742 h 570742"/>
                <a:gd name="connsiteX94" fmla="*/ 388741 w 402515"/>
                <a:gd name="connsiteY94" fmla="*/ 570742 h 570742"/>
                <a:gd name="connsiteX95" fmla="*/ 380270 w 402515"/>
                <a:gd name="connsiteY95" fmla="*/ 560642 h 570742"/>
                <a:gd name="connsiteX96" fmla="*/ 380281 w 402515"/>
                <a:gd name="connsiteY96" fmla="*/ 560566 h 570742"/>
                <a:gd name="connsiteX97" fmla="*/ 381691 w 402515"/>
                <a:gd name="connsiteY97" fmla="*/ 541945 h 570742"/>
                <a:gd name="connsiteX98" fmla="*/ 390802 w 402515"/>
                <a:gd name="connsiteY98" fmla="*/ 532429 h 570742"/>
                <a:gd name="connsiteX99" fmla="*/ 400346 w 402515"/>
                <a:gd name="connsiteY99" fmla="*/ 541523 h 570742"/>
                <a:gd name="connsiteX100" fmla="*/ 400238 w 402515"/>
                <a:gd name="connsiteY100" fmla="*/ 543136 h 570742"/>
                <a:gd name="connsiteX101" fmla="*/ 398828 w 402515"/>
                <a:gd name="connsiteY101" fmla="*/ 562081 h 570742"/>
                <a:gd name="connsiteX102" fmla="*/ 389500 w 402515"/>
                <a:gd name="connsiteY102" fmla="*/ 570742 h 570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402515" h="570742">
                  <a:moveTo>
                    <a:pt x="27782" y="18837"/>
                  </a:moveTo>
                  <a:lnTo>
                    <a:pt x="27782" y="18837"/>
                  </a:lnTo>
                  <a:cubicBezTo>
                    <a:pt x="16936" y="18837"/>
                    <a:pt x="10212" y="18837"/>
                    <a:pt x="9995" y="18837"/>
                  </a:cubicBezTo>
                  <a:cubicBezTo>
                    <a:pt x="4789" y="19140"/>
                    <a:pt x="320" y="15156"/>
                    <a:pt x="16" y="9960"/>
                  </a:cubicBezTo>
                  <a:cubicBezTo>
                    <a:pt x="-287" y="4763"/>
                    <a:pt x="3704" y="303"/>
                    <a:pt x="8910" y="0"/>
                  </a:cubicBezTo>
                  <a:cubicBezTo>
                    <a:pt x="8910" y="0"/>
                    <a:pt x="15960" y="0"/>
                    <a:pt x="28325" y="0"/>
                  </a:cubicBezTo>
                  <a:cubicBezTo>
                    <a:pt x="33542" y="0"/>
                    <a:pt x="37761" y="4222"/>
                    <a:pt x="37761" y="9418"/>
                  </a:cubicBezTo>
                  <a:cubicBezTo>
                    <a:pt x="37761" y="14615"/>
                    <a:pt x="33531" y="18837"/>
                    <a:pt x="28325" y="18837"/>
                  </a:cubicBezTo>
                  <a:moveTo>
                    <a:pt x="102078" y="29013"/>
                  </a:moveTo>
                  <a:lnTo>
                    <a:pt x="99909" y="29013"/>
                  </a:lnTo>
                  <a:cubicBezTo>
                    <a:pt x="93835" y="27498"/>
                    <a:pt x="87870" y="26307"/>
                    <a:pt x="82121" y="25224"/>
                  </a:cubicBezTo>
                  <a:cubicBezTo>
                    <a:pt x="77110" y="24239"/>
                    <a:pt x="73813" y="19411"/>
                    <a:pt x="74746" y="14398"/>
                  </a:cubicBezTo>
                  <a:cubicBezTo>
                    <a:pt x="75484" y="9429"/>
                    <a:pt x="80115" y="5998"/>
                    <a:pt x="85093" y="6734"/>
                  </a:cubicBezTo>
                  <a:cubicBezTo>
                    <a:pt x="85256" y="6755"/>
                    <a:pt x="85429" y="6788"/>
                    <a:pt x="85592" y="6820"/>
                  </a:cubicBezTo>
                  <a:cubicBezTo>
                    <a:pt x="91666" y="7903"/>
                    <a:pt x="97848" y="9202"/>
                    <a:pt x="104248" y="10718"/>
                  </a:cubicBezTo>
                  <a:cubicBezTo>
                    <a:pt x="109052" y="11941"/>
                    <a:pt x="112089" y="16672"/>
                    <a:pt x="111189" y="21544"/>
                  </a:cubicBezTo>
                  <a:cubicBezTo>
                    <a:pt x="110267" y="25776"/>
                    <a:pt x="106525" y="28797"/>
                    <a:pt x="102187" y="28797"/>
                  </a:cubicBezTo>
                  <a:moveTo>
                    <a:pt x="172578" y="52830"/>
                  </a:moveTo>
                  <a:cubicBezTo>
                    <a:pt x="171265" y="52820"/>
                    <a:pt x="169975" y="52516"/>
                    <a:pt x="168782" y="51964"/>
                  </a:cubicBezTo>
                  <a:cubicBezTo>
                    <a:pt x="163142" y="49366"/>
                    <a:pt x="157936" y="47093"/>
                    <a:pt x="152079" y="44819"/>
                  </a:cubicBezTo>
                  <a:cubicBezTo>
                    <a:pt x="147230" y="42914"/>
                    <a:pt x="144844" y="37447"/>
                    <a:pt x="146753" y="32608"/>
                  </a:cubicBezTo>
                  <a:cubicBezTo>
                    <a:pt x="146764" y="32597"/>
                    <a:pt x="146764" y="32597"/>
                    <a:pt x="146764" y="32586"/>
                  </a:cubicBezTo>
                  <a:cubicBezTo>
                    <a:pt x="148554" y="27833"/>
                    <a:pt x="153879" y="25430"/>
                    <a:pt x="158641" y="27216"/>
                  </a:cubicBezTo>
                  <a:cubicBezTo>
                    <a:pt x="158695" y="27238"/>
                    <a:pt x="158749" y="27260"/>
                    <a:pt x="158803" y="27281"/>
                  </a:cubicBezTo>
                  <a:cubicBezTo>
                    <a:pt x="164519" y="29522"/>
                    <a:pt x="170376" y="32012"/>
                    <a:pt x="176374" y="34751"/>
                  </a:cubicBezTo>
                  <a:cubicBezTo>
                    <a:pt x="181049" y="36960"/>
                    <a:pt x="183120" y="42470"/>
                    <a:pt x="181038" y="47201"/>
                  </a:cubicBezTo>
                  <a:cubicBezTo>
                    <a:pt x="179606" y="50600"/>
                    <a:pt x="176276" y="52820"/>
                    <a:pt x="172578" y="52830"/>
                  </a:cubicBezTo>
                  <a:moveTo>
                    <a:pt x="236570" y="90721"/>
                  </a:moveTo>
                  <a:cubicBezTo>
                    <a:pt x="234585" y="90667"/>
                    <a:pt x="232654" y="90028"/>
                    <a:pt x="231039" y="88881"/>
                  </a:cubicBezTo>
                  <a:cubicBezTo>
                    <a:pt x="226158" y="85200"/>
                    <a:pt x="221277" y="81736"/>
                    <a:pt x="216288" y="78055"/>
                  </a:cubicBezTo>
                  <a:cubicBezTo>
                    <a:pt x="211960" y="75208"/>
                    <a:pt x="210756" y="69405"/>
                    <a:pt x="213576" y="65064"/>
                  </a:cubicBezTo>
                  <a:cubicBezTo>
                    <a:pt x="216222" y="60798"/>
                    <a:pt x="221841" y="59478"/>
                    <a:pt x="226114" y="62119"/>
                  </a:cubicBezTo>
                  <a:cubicBezTo>
                    <a:pt x="226244" y="62195"/>
                    <a:pt x="226364" y="62271"/>
                    <a:pt x="226483" y="62357"/>
                  </a:cubicBezTo>
                  <a:cubicBezTo>
                    <a:pt x="231689" y="65821"/>
                    <a:pt x="236895" y="69427"/>
                    <a:pt x="242101" y="73183"/>
                  </a:cubicBezTo>
                  <a:cubicBezTo>
                    <a:pt x="246255" y="76323"/>
                    <a:pt x="247123" y="82190"/>
                    <a:pt x="244054" y="86391"/>
                  </a:cubicBezTo>
                  <a:cubicBezTo>
                    <a:pt x="242297" y="88762"/>
                    <a:pt x="239520" y="90169"/>
                    <a:pt x="236570" y="90180"/>
                  </a:cubicBezTo>
                  <a:moveTo>
                    <a:pt x="290801" y="141278"/>
                  </a:moveTo>
                  <a:cubicBezTo>
                    <a:pt x="288089" y="141289"/>
                    <a:pt x="285507" y="140098"/>
                    <a:pt x="283751" y="138030"/>
                  </a:cubicBezTo>
                  <a:cubicBezTo>
                    <a:pt x="279846" y="133375"/>
                    <a:pt x="275724" y="128828"/>
                    <a:pt x="271603" y="124498"/>
                  </a:cubicBezTo>
                  <a:cubicBezTo>
                    <a:pt x="268034" y="120774"/>
                    <a:pt x="268034" y="114906"/>
                    <a:pt x="271603" y="111182"/>
                  </a:cubicBezTo>
                  <a:cubicBezTo>
                    <a:pt x="275095" y="107566"/>
                    <a:pt x="280866" y="107458"/>
                    <a:pt x="284488" y="110944"/>
                  </a:cubicBezTo>
                  <a:cubicBezTo>
                    <a:pt x="284564" y="111020"/>
                    <a:pt x="284651" y="111096"/>
                    <a:pt x="284727" y="111182"/>
                  </a:cubicBezTo>
                  <a:cubicBezTo>
                    <a:pt x="289174" y="115729"/>
                    <a:pt x="293404" y="120492"/>
                    <a:pt x="297634" y="125472"/>
                  </a:cubicBezTo>
                  <a:cubicBezTo>
                    <a:pt x="300996" y="129435"/>
                    <a:pt x="300562" y="135356"/>
                    <a:pt x="296657" y="138788"/>
                  </a:cubicBezTo>
                  <a:cubicBezTo>
                    <a:pt x="294976" y="140260"/>
                    <a:pt x="292818" y="141062"/>
                    <a:pt x="290584" y="141062"/>
                  </a:cubicBezTo>
                  <a:moveTo>
                    <a:pt x="332884" y="202769"/>
                  </a:moveTo>
                  <a:cubicBezTo>
                    <a:pt x="329478" y="202769"/>
                    <a:pt x="326354" y="200896"/>
                    <a:pt x="324749" y="197898"/>
                  </a:cubicBezTo>
                  <a:cubicBezTo>
                    <a:pt x="321820" y="192485"/>
                    <a:pt x="318783" y="187072"/>
                    <a:pt x="315638" y="182092"/>
                  </a:cubicBezTo>
                  <a:cubicBezTo>
                    <a:pt x="312916" y="177686"/>
                    <a:pt x="314217" y="171916"/>
                    <a:pt x="318567" y="169101"/>
                  </a:cubicBezTo>
                  <a:cubicBezTo>
                    <a:pt x="322872" y="166394"/>
                    <a:pt x="328567" y="167693"/>
                    <a:pt x="331278" y="171991"/>
                  </a:cubicBezTo>
                  <a:cubicBezTo>
                    <a:pt x="331311" y="172034"/>
                    <a:pt x="331333" y="172089"/>
                    <a:pt x="331365" y="172132"/>
                  </a:cubicBezTo>
                  <a:cubicBezTo>
                    <a:pt x="334619" y="177545"/>
                    <a:pt x="337872" y="182958"/>
                    <a:pt x="341018" y="188804"/>
                  </a:cubicBezTo>
                  <a:cubicBezTo>
                    <a:pt x="343535" y="193383"/>
                    <a:pt x="341885" y="199121"/>
                    <a:pt x="337330" y="201687"/>
                  </a:cubicBezTo>
                  <a:cubicBezTo>
                    <a:pt x="335964" y="202412"/>
                    <a:pt x="334434" y="202780"/>
                    <a:pt x="332884" y="202769"/>
                  </a:cubicBezTo>
                  <a:moveTo>
                    <a:pt x="362710" y="271622"/>
                  </a:moveTo>
                  <a:cubicBezTo>
                    <a:pt x="358708" y="271590"/>
                    <a:pt x="355183" y="269024"/>
                    <a:pt x="353925" y="265235"/>
                  </a:cubicBezTo>
                  <a:cubicBezTo>
                    <a:pt x="351972" y="259389"/>
                    <a:pt x="349912" y="253543"/>
                    <a:pt x="347743" y="247913"/>
                  </a:cubicBezTo>
                  <a:cubicBezTo>
                    <a:pt x="345888" y="243074"/>
                    <a:pt x="348241" y="237640"/>
                    <a:pt x="353057" y="235680"/>
                  </a:cubicBezTo>
                  <a:cubicBezTo>
                    <a:pt x="357818" y="233872"/>
                    <a:pt x="363144" y="236254"/>
                    <a:pt x="364955" y="241006"/>
                  </a:cubicBezTo>
                  <a:cubicBezTo>
                    <a:pt x="364966" y="241028"/>
                    <a:pt x="364977" y="241061"/>
                    <a:pt x="364988" y="241093"/>
                  </a:cubicBezTo>
                  <a:cubicBezTo>
                    <a:pt x="367266" y="246939"/>
                    <a:pt x="369435" y="253002"/>
                    <a:pt x="371496" y="259172"/>
                  </a:cubicBezTo>
                  <a:cubicBezTo>
                    <a:pt x="373220" y="264022"/>
                    <a:pt x="370671" y="269338"/>
                    <a:pt x="365812" y="271059"/>
                  </a:cubicBezTo>
                  <a:cubicBezTo>
                    <a:pt x="365791" y="271070"/>
                    <a:pt x="365769" y="271070"/>
                    <a:pt x="365747" y="271081"/>
                  </a:cubicBezTo>
                  <a:cubicBezTo>
                    <a:pt x="364782" y="271471"/>
                    <a:pt x="363751" y="271655"/>
                    <a:pt x="362710" y="271622"/>
                  </a:cubicBezTo>
                  <a:moveTo>
                    <a:pt x="381583" y="344372"/>
                  </a:moveTo>
                  <a:cubicBezTo>
                    <a:pt x="377092" y="344437"/>
                    <a:pt x="373220" y="341222"/>
                    <a:pt x="372472" y="336794"/>
                  </a:cubicBezTo>
                  <a:cubicBezTo>
                    <a:pt x="371279" y="330623"/>
                    <a:pt x="369977" y="324561"/>
                    <a:pt x="368676" y="318607"/>
                  </a:cubicBezTo>
                  <a:cubicBezTo>
                    <a:pt x="367840" y="313713"/>
                    <a:pt x="370910" y="309004"/>
                    <a:pt x="375725" y="307781"/>
                  </a:cubicBezTo>
                  <a:cubicBezTo>
                    <a:pt x="380693" y="306785"/>
                    <a:pt x="385541" y="309978"/>
                    <a:pt x="386571" y="314926"/>
                  </a:cubicBezTo>
                  <a:cubicBezTo>
                    <a:pt x="387981" y="321097"/>
                    <a:pt x="389283" y="327267"/>
                    <a:pt x="390477" y="333655"/>
                  </a:cubicBezTo>
                  <a:cubicBezTo>
                    <a:pt x="391344" y="338656"/>
                    <a:pt x="388079" y="343441"/>
                    <a:pt x="383101" y="344480"/>
                  </a:cubicBezTo>
                  <a:lnTo>
                    <a:pt x="381365" y="344480"/>
                  </a:lnTo>
                  <a:moveTo>
                    <a:pt x="390910" y="419179"/>
                  </a:moveTo>
                  <a:cubicBezTo>
                    <a:pt x="386029" y="419082"/>
                    <a:pt x="382027" y="415271"/>
                    <a:pt x="381691" y="410410"/>
                  </a:cubicBezTo>
                  <a:cubicBezTo>
                    <a:pt x="381691" y="404240"/>
                    <a:pt x="380715" y="397960"/>
                    <a:pt x="380064" y="391898"/>
                  </a:cubicBezTo>
                  <a:cubicBezTo>
                    <a:pt x="379500" y="386788"/>
                    <a:pt x="383199" y="382187"/>
                    <a:pt x="388318" y="381624"/>
                  </a:cubicBezTo>
                  <a:cubicBezTo>
                    <a:pt x="388350" y="381624"/>
                    <a:pt x="388383" y="381613"/>
                    <a:pt x="388416" y="381613"/>
                  </a:cubicBezTo>
                  <a:cubicBezTo>
                    <a:pt x="393481" y="381115"/>
                    <a:pt x="397993" y="384818"/>
                    <a:pt x="398481" y="389874"/>
                  </a:cubicBezTo>
                  <a:cubicBezTo>
                    <a:pt x="398491" y="389939"/>
                    <a:pt x="398503" y="389993"/>
                    <a:pt x="398503" y="390058"/>
                  </a:cubicBezTo>
                  <a:cubicBezTo>
                    <a:pt x="399153" y="396228"/>
                    <a:pt x="399695" y="402616"/>
                    <a:pt x="400238" y="409003"/>
                  </a:cubicBezTo>
                  <a:cubicBezTo>
                    <a:pt x="400618" y="414156"/>
                    <a:pt x="396821" y="418671"/>
                    <a:pt x="391669" y="419179"/>
                  </a:cubicBezTo>
                  <a:lnTo>
                    <a:pt x="390910" y="419179"/>
                  </a:lnTo>
                  <a:moveTo>
                    <a:pt x="393188" y="494961"/>
                  </a:moveTo>
                  <a:lnTo>
                    <a:pt x="393188" y="494961"/>
                  </a:lnTo>
                  <a:cubicBezTo>
                    <a:pt x="388047" y="494787"/>
                    <a:pt x="383968" y="490576"/>
                    <a:pt x="383968" y="485434"/>
                  </a:cubicBezTo>
                  <a:cubicBezTo>
                    <a:pt x="383968" y="481537"/>
                    <a:pt x="383968" y="477639"/>
                    <a:pt x="383968" y="473742"/>
                  </a:cubicBezTo>
                  <a:lnTo>
                    <a:pt x="383968" y="466705"/>
                  </a:lnTo>
                  <a:cubicBezTo>
                    <a:pt x="383904" y="461541"/>
                    <a:pt x="388014" y="457297"/>
                    <a:pt x="393188" y="457178"/>
                  </a:cubicBezTo>
                  <a:lnTo>
                    <a:pt x="393188" y="457178"/>
                  </a:lnTo>
                  <a:cubicBezTo>
                    <a:pt x="398340" y="457178"/>
                    <a:pt x="402516" y="461346"/>
                    <a:pt x="402516" y="466489"/>
                  </a:cubicBezTo>
                  <a:cubicBezTo>
                    <a:pt x="402516" y="466521"/>
                    <a:pt x="402516" y="466564"/>
                    <a:pt x="402516" y="466597"/>
                  </a:cubicBezTo>
                  <a:lnTo>
                    <a:pt x="402516" y="485650"/>
                  </a:lnTo>
                  <a:cubicBezTo>
                    <a:pt x="402461" y="490771"/>
                    <a:pt x="398318" y="494907"/>
                    <a:pt x="393188" y="494961"/>
                  </a:cubicBezTo>
                  <a:moveTo>
                    <a:pt x="389500" y="570742"/>
                  </a:moveTo>
                  <a:lnTo>
                    <a:pt x="388741" y="570742"/>
                  </a:lnTo>
                  <a:cubicBezTo>
                    <a:pt x="383610" y="570287"/>
                    <a:pt x="379814" y="565773"/>
                    <a:pt x="380270" y="560642"/>
                  </a:cubicBezTo>
                  <a:cubicBezTo>
                    <a:pt x="380281" y="560620"/>
                    <a:pt x="380281" y="560587"/>
                    <a:pt x="380281" y="560566"/>
                  </a:cubicBezTo>
                  <a:cubicBezTo>
                    <a:pt x="380823" y="554287"/>
                    <a:pt x="381257" y="548008"/>
                    <a:pt x="381691" y="541945"/>
                  </a:cubicBezTo>
                  <a:cubicBezTo>
                    <a:pt x="381571" y="536803"/>
                    <a:pt x="385661" y="532548"/>
                    <a:pt x="390802" y="532429"/>
                  </a:cubicBezTo>
                  <a:cubicBezTo>
                    <a:pt x="395953" y="532310"/>
                    <a:pt x="400227" y="536381"/>
                    <a:pt x="400346" y="541523"/>
                  </a:cubicBezTo>
                  <a:cubicBezTo>
                    <a:pt x="400357" y="542064"/>
                    <a:pt x="400324" y="542606"/>
                    <a:pt x="400238" y="543136"/>
                  </a:cubicBezTo>
                  <a:cubicBezTo>
                    <a:pt x="400238" y="549415"/>
                    <a:pt x="399262" y="555694"/>
                    <a:pt x="398828" y="562081"/>
                  </a:cubicBezTo>
                  <a:cubicBezTo>
                    <a:pt x="398437" y="566942"/>
                    <a:pt x="394392" y="570699"/>
                    <a:pt x="389500" y="570742"/>
                  </a:cubicBezTo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" name="Freeform 157">
              <a:extLst>
                <a:ext uri="{FF2B5EF4-FFF2-40B4-BE49-F238E27FC236}">
                  <a16:creationId xmlns:a16="http://schemas.microsoft.com/office/drawing/2014/main" id="{509DE2A8-DEBF-DA43-A6B8-0B5C15C01002}"/>
                </a:ext>
              </a:extLst>
            </p:cNvPr>
            <p:cNvSpPr/>
            <p:nvPr/>
          </p:nvSpPr>
          <p:spPr>
            <a:xfrm>
              <a:off x="7848683" y="1793875"/>
              <a:ext cx="300183" cy="283027"/>
            </a:xfrm>
            <a:custGeom>
              <a:avLst/>
              <a:gdLst>
                <a:gd name="connsiteX0" fmla="*/ 201158 w 300183"/>
                <a:gd name="connsiteY0" fmla="*/ 109489 h 283027"/>
                <a:gd name="connsiteX1" fmla="*/ 193349 w 300183"/>
                <a:gd name="connsiteY1" fmla="*/ 112520 h 283027"/>
                <a:gd name="connsiteX2" fmla="*/ 129574 w 300183"/>
                <a:gd name="connsiteY2" fmla="*/ 27212 h 283027"/>
                <a:gd name="connsiteX3" fmla="*/ 109292 w 300183"/>
                <a:gd name="connsiteY3" fmla="*/ 580 h 283027"/>
                <a:gd name="connsiteX4" fmla="*/ 84997 w 300183"/>
                <a:gd name="connsiteY4" fmla="*/ 9241 h 283027"/>
                <a:gd name="connsiteX5" fmla="*/ 82285 w 300183"/>
                <a:gd name="connsiteY5" fmla="*/ 95198 h 283027"/>
                <a:gd name="connsiteX6" fmla="*/ 25234 w 300183"/>
                <a:gd name="connsiteY6" fmla="*/ 98987 h 283027"/>
                <a:gd name="connsiteX7" fmla="*/ 71 w 300183"/>
                <a:gd name="connsiteY7" fmla="*/ 128759 h 283027"/>
                <a:gd name="connsiteX8" fmla="*/ 10267 w 300183"/>
                <a:gd name="connsiteY8" fmla="*/ 157014 h 283027"/>
                <a:gd name="connsiteX9" fmla="*/ 7447 w 300183"/>
                <a:gd name="connsiteY9" fmla="*/ 182347 h 283027"/>
                <a:gd name="connsiteX10" fmla="*/ 16449 w 300183"/>
                <a:gd name="connsiteY10" fmla="*/ 199019 h 283027"/>
                <a:gd name="connsiteX11" fmla="*/ 13955 w 300183"/>
                <a:gd name="connsiteY11" fmla="*/ 213526 h 283027"/>
                <a:gd name="connsiteX12" fmla="*/ 27187 w 300183"/>
                <a:gd name="connsiteY12" fmla="*/ 242106 h 283027"/>
                <a:gd name="connsiteX13" fmla="*/ 25994 w 300183"/>
                <a:gd name="connsiteY13" fmla="*/ 254015 h 283027"/>
                <a:gd name="connsiteX14" fmla="*/ 58532 w 300183"/>
                <a:gd name="connsiteY14" fmla="*/ 281621 h 283027"/>
                <a:gd name="connsiteX15" fmla="*/ 119921 w 300183"/>
                <a:gd name="connsiteY15" fmla="*/ 283028 h 283027"/>
                <a:gd name="connsiteX16" fmla="*/ 120897 w 300183"/>
                <a:gd name="connsiteY16" fmla="*/ 283028 h 283027"/>
                <a:gd name="connsiteX17" fmla="*/ 179575 w 300183"/>
                <a:gd name="connsiteY17" fmla="*/ 271011 h 283027"/>
                <a:gd name="connsiteX18" fmla="*/ 210161 w 300183"/>
                <a:gd name="connsiteY18" fmla="*/ 261809 h 283027"/>
                <a:gd name="connsiteX19" fmla="*/ 211896 w 300183"/>
                <a:gd name="connsiteY19" fmla="*/ 273176 h 283027"/>
                <a:gd name="connsiteX20" fmla="*/ 223285 w 300183"/>
                <a:gd name="connsiteY20" fmla="*/ 283028 h 283027"/>
                <a:gd name="connsiteX21" fmla="*/ 300183 w 300183"/>
                <a:gd name="connsiteY21" fmla="*/ 283028 h 283027"/>
                <a:gd name="connsiteX22" fmla="*/ 274261 w 300183"/>
                <a:gd name="connsiteY22" fmla="*/ 109813 h 283027"/>
                <a:gd name="connsiteX23" fmla="*/ 168620 w 300183"/>
                <a:gd name="connsiteY23" fmla="*/ 251308 h 283027"/>
                <a:gd name="connsiteX24" fmla="*/ 121765 w 300183"/>
                <a:gd name="connsiteY24" fmla="*/ 260077 h 283027"/>
                <a:gd name="connsiteX25" fmla="*/ 120897 w 300183"/>
                <a:gd name="connsiteY25" fmla="*/ 260077 h 283027"/>
                <a:gd name="connsiteX26" fmla="*/ 60376 w 300183"/>
                <a:gd name="connsiteY26" fmla="*/ 258778 h 283027"/>
                <a:gd name="connsiteX27" fmla="*/ 49530 w 300183"/>
                <a:gd name="connsiteY27" fmla="*/ 251416 h 283027"/>
                <a:gd name="connsiteX28" fmla="*/ 49530 w 300183"/>
                <a:gd name="connsiteY28" fmla="*/ 249684 h 283027"/>
                <a:gd name="connsiteX29" fmla="*/ 56070 w 300183"/>
                <a:gd name="connsiteY29" fmla="*/ 234831 h 283027"/>
                <a:gd name="connsiteX30" fmla="*/ 48771 w 300183"/>
                <a:gd name="connsiteY30" fmla="*/ 228032 h 283027"/>
                <a:gd name="connsiteX31" fmla="*/ 37925 w 300183"/>
                <a:gd name="connsiteY31" fmla="*/ 213526 h 283027"/>
                <a:gd name="connsiteX32" fmla="*/ 39226 w 300183"/>
                <a:gd name="connsiteY32" fmla="*/ 207247 h 283027"/>
                <a:gd name="connsiteX33" fmla="*/ 45571 w 300183"/>
                <a:gd name="connsiteY33" fmla="*/ 192307 h 283027"/>
                <a:gd name="connsiteX34" fmla="*/ 38141 w 300183"/>
                <a:gd name="connsiteY34" fmla="*/ 185595 h 283027"/>
                <a:gd name="connsiteX35" fmla="*/ 30875 w 300183"/>
                <a:gd name="connsiteY35" fmla="*/ 178341 h 283027"/>
                <a:gd name="connsiteX36" fmla="*/ 34996 w 300183"/>
                <a:gd name="connsiteY36" fmla="*/ 162969 h 283027"/>
                <a:gd name="connsiteX37" fmla="*/ 39009 w 300183"/>
                <a:gd name="connsiteY37" fmla="*/ 150844 h 283027"/>
                <a:gd name="connsiteX38" fmla="*/ 29247 w 300183"/>
                <a:gd name="connsiteY38" fmla="*/ 142508 h 283027"/>
                <a:gd name="connsiteX39" fmla="*/ 24042 w 300183"/>
                <a:gd name="connsiteY39" fmla="*/ 130274 h 283027"/>
                <a:gd name="connsiteX40" fmla="*/ 27295 w 300183"/>
                <a:gd name="connsiteY40" fmla="*/ 122588 h 283027"/>
                <a:gd name="connsiteX41" fmla="*/ 98229 w 300183"/>
                <a:gd name="connsiteY41" fmla="*/ 117933 h 283027"/>
                <a:gd name="connsiteX42" fmla="*/ 106689 w 300183"/>
                <a:gd name="connsiteY42" fmla="*/ 113386 h 283027"/>
                <a:gd name="connsiteX43" fmla="*/ 108532 w 300183"/>
                <a:gd name="connsiteY43" fmla="*/ 103967 h 283027"/>
                <a:gd name="connsiteX44" fmla="*/ 103977 w 300183"/>
                <a:gd name="connsiteY44" fmla="*/ 24289 h 283027"/>
                <a:gd name="connsiteX45" fmla="*/ 104628 w 300183"/>
                <a:gd name="connsiteY45" fmla="*/ 23639 h 283027"/>
                <a:gd name="connsiteX46" fmla="*/ 108316 w 300183"/>
                <a:gd name="connsiteY46" fmla="*/ 33707 h 283027"/>
                <a:gd name="connsiteX47" fmla="*/ 192807 w 300183"/>
                <a:gd name="connsiteY47" fmla="*/ 136878 h 283027"/>
                <a:gd name="connsiteX48" fmla="*/ 208208 w 300183"/>
                <a:gd name="connsiteY48" fmla="*/ 239941 h 283027"/>
                <a:gd name="connsiteX49" fmla="*/ 168186 w 300183"/>
                <a:gd name="connsiteY49" fmla="*/ 251308 h 283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300183" h="283027">
                  <a:moveTo>
                    <a:pt x="201158" y="109489"/>
                  </a:moveTo>
                  <a:cubicBezTo>
                    <a:pt x="198273" y="109489"/>
                    <a:pt x="195486" y="110571"/>
                    <a:pt x="193349" y="112520"/>
                  </a:cubicBezTo>
                  <a:cubicBezTo>
                    <a:pt x="172525" y="105375"/>
                    <a:pt x="145410" y="87620"/>
                    <a:pt x="129574" y="27212"/>
                  </a:cubicBezTo>
                  <a:cubicBezTo>
                    <a:pt x="127730" y="20067"/>
                    <a:pt x="123392" y="3503"/>
                    <a:pt x="109292" y="580"/>
                  </a:cubicBezTo>
                  <a:cubicBezTo>
                    <a:pt x="100203" y="-1444"/>
                    <a:pt x="90745" y="1923"/>
                    <a:pt x="84997" y="9241"/>
                  </a:cubicBezTo>
                  <a:cubicBezTo>
                    <a:pt x="74151" y="22990"/>
                    <a:pt x="73174" y="51137"/>
                    <a:pt x="82285" y="95198"/>
                  </a:cubicBezTo>
                  <a:lnTo>
                    <a:pt x="25234" y="98987"/>
                  </a:lnTo>
                  <a:cubicBezTo>
                    <a:pt x="10159" y="100471"/>
                    <a:pt x="-1002" y="113667"/>
                    <a:pt x="71" y="128759"/>
                  </a:cubicBezTo>
                  <a:cubicBezTo>
                    <a:pt x="-438" y="139152"/>
                    <a:pt x="3239" y="149328"/>
                    <a:pt x="10267" y="157014"/>
                  </a:cubicBezTo>
                  <a:cubicBezTo>
                    <a:pt x="6763" y="164971"/>
                    <a:pt x="5776" y="173816"/>
                    <a:pt x="7447" y="182347"/>
                  </a:cubicBezTo>
                  <a:cubicBezTo>
                    <a:pt x="8662" y="188702"/>
                    <a:pt x="11796" y="194515"/>
                    <a:pt x="16449" y="199019"/>
                  </a:cubicBezTo>
                  <a:cubicBezTo>
                    <a:pt x="14659" y="203642"/>
                    <a:pt x="13803" y="208567"/>
                    <a:pt x="13955" y="213526"/>
                  </a:cubicBezTo>
                  <a:cubicBezTo>
                    <a:pt x="14139" y="224481"/>
                    <a:pt x="18944" y="234863"/>
                    <a:pt x="27187" y="242106"/>
                  </a:cubicBezTo>
                  <a:cubicBezTo>
                    <a:pt x="25972" y="245949"/>
                    <a:pt x="25560" y="250009"/>
                    <a:pt x="25994" y="254015"/>
                  </a:cubicBezTo>
                  <a:cubicBezTo>
                    <a:pt x="28423" y="270026"/>
                    <a:pt x="42306" y="281805"/>
                    <a:pt x="58532" y="281621"/>
                  </a:cubicBezTo>
                  <a:cubicBezTo>
                    <a:pt x="85431" y="282811"/>
                    <a:pt x="100290" y="282920"/>
                    <a:pt x="119921" y="283028"/>
                  </a:cubicBezTo>
                  <a:lnTo>
                    <a:pt x="120897" y="283028"/>
                  </a:lnTo>
                  <a:cubicBezTo>
                    <a:pt x="159509" y="283028"/>
                    <a:pt x="169163" y="277182"/>
                    <a:pt x="179575" y="271011"/>
                  </a:cubicBezTo>
                  <a:cubicBezTo>
                    <a:pt x="188772" y="265284"/>
                    <a:pt x="199325" y="262101"/>
                    <a:pt x="210161" y="261809"/>
                  </a:cubicBezTo>
                  <a:lnTo>
                    <a:pt x="211896" y="273176"/>
                  </a:lnTo>
                  <a:cubicBezTo>
                    <a:pt x="212753" y="278806"/>
                    <a:pt x="217579" y="282985"/>
                    <a:pt x="223285" y="283028"/>
                  </a:cubicBezTo>
                  <a:lnTo>
                    <a:pt x="300183" y="283028"/>
                  </a:lnTo>
                  <a:lnTo>
                    <a:pt x="274261" y="109813"/>
                  </a:lnTo>
                  <a:close/>
                  <a:moveTo>
                    <a:pt x="168620" y="251308"/>
                  </a:moveTo>
                  <a:cubicBezTo>
                    <a:pt x="161028" y="255855"/>
                    <a:pt x="153978" y="260077"/>
                    <a:pt x="121765" y="260077"/>
                  </a:cubicBezTo>
                  <a:lnTo>
                    <a:pt x="120897" y="260077"/>
                  </a:lnTo>
                  <a:cubicBezTo>
                    <a:pt x="101483" y="260077"/>
                    <a:pt x="86732" y="260077"/>
                    <a:pt x="60376" y="258778"/>
                  </a:cubicBezTo>
                  <a:cubicBezTo>
                    <a:pt x="51374" y="258778"/>
                    <a:pt x="49530" y="254015"/>
                    <a:pt x="49530" y="251416"/>
                  </a:cubicBezTo>
                  <a:cubicBezTo>
                    <a:pt x="49421" y="250843"/>
                    <a:pt x="49421" y="250258"/>
                    <a:pt x="49530" y="249684"/>
                  </a:cubicBezTo>
                  <a:cubicBezTo>
                    <a:pt x="55452" y="247389"/>
                    <a:pt x="58380" y="240731"/>
                    <a:pt x="56070" y="234831"/>
                  </a:cubicBezTo>
                  <a:cubicBezTo>
                    <a:pt x="54801" y="231572"/>
                    <a:pt x="52111" y="229072"/>
                    <a:pt x="48771" y="228032"/>
                  </a:cubicBezTo>
                  <a:cubicBezTo>
                    <a:pt x="42209" y="226322"/>
                    <a:pt x="37707" y="220292"/>
                    <a:pt x="37925" y="213526"/>
                  </a:cubicBezTo>
                  <a:cubicBezTo>
                    <a:pt x="37718" y="211350"/>
                    <a:pt x="38163" y="209163"/>
                    <a:pt x="39226" y="207247"/>
                  </a:cubicBezTo>
                  <a:cubicBezTo>
                    <a:pt x="45115" y="204865"/>
                    <a:pt x="47957" y="198185"/>
                    <a:pt x="45571" y="192307"/>
                  </a:cubicBezTo>
                  <a:cubicBezTo>
                    <a:pt x="44248" y="189048"/>
                    <a:pt x="41515" y="186580"/>
                    <a:pt x="38141" y="185595"/>
                  </a:cubicBezTo>
                  <a:cubicBezTo>
                    <a:pt x="34410" y="184988"/>
                    <a:pt x="31482" y="182066"/>
                    <a:pt x="30875" y="178341"/>
                  </a:cubicBezTo>
                  <a:cubicBezTo>
                    <a:pt x="29790" y="172853"/>
                    <a:pt x="31319" y="167180"/>
                    <a:pt x="34996" y="162969"/>
                  </a:cubicBezTo>
                  <a:cubicBezTo>
                    <a:pt x="38835" y="160230"/>
                    <a:pt x="40452" y="155326"/>
                    <a:pt x="39009" y="150844"/>
                  </a:cubicBezTo>
                  <a:cubicBezTo>
                    <a:pt x="37762" y="146340"/>
                    <a:pt x="33901" y="143038"/>
                    <a:pt x="29247" y="142508"/>
                  </a:cubicBezTo>
                  <a:cubicBezTo>
                    <a:pt x="26753" y="142508"/>
                    <a:pt x="23824" y="136770"/>
                    <a:pt x="24042" y="130274"/>
                  </a:cubicBezTo>
                  <a:cubicBezTo>
                    <a:pt x="24042" y="128651"/>
                    <a:pt x="24801" y="122696"/>
                    <a:pt x="27295" y="122588"/>
                  </a:cubicBezTo>
                  <a:cubicBezTo>
                    <a:pt x="36514" y="122588"/>
                    <a:pt x="97578" y="118041"/>
                    <a:pt x="98229" y="117933"/>
                  </a:cubicBezTo>
                  <a:cubicBezTo>
                    <a:pt x="101580" y="117727"/>
                    <a:pt x="104671" y="116060"/>
                    <a:pt x="106689" y="113386"/>
                  </a:cubicBezTo>
                  <a:cubicBezTo>
                    <a:pt x="108739" y="110701"/>
                    <a:pt x="109422" y="107226"/>
                    <a:pt x="108532" y="103967"/>
                  </a:cubicBezTo>
                  <a:cubicBezTo>
                    <a:pt x="93565" y="39770"/>
                    <a:pt x="102893" y="25696"/>
                    <a:pt x="103977" y="24289"/>
                  </a:cubicBezTo>
                  <a:cubicBezTo>
                    <a:pt x="104162" y="24040"/>
                    <a:pt x="104378" y="23823"/>
                    <a:pt x="104628" y="23639"/>
                  </a:cubicBezTo>
                  <a:cubicBezTo>
                    <a:pt x="106363" y="26789"/>
                    <a:pt x="107611" y="30178"/>
                    <a:pt x="108316" y="33707"/>
                  </a:cubicBezTo>
                  <a:cubicBezTo>
                    <a:pt x="123609" y="92059"/>
                    <a:pt x="150507" y="124970"/>
                    <a:pt x="192807" y="136878"/>
                  </a:cubicBezTo>
                  <a:lnTo>
                    <a:pt x="208208" y="239941"/>
                  </a:lnTo>
                  <a:cubicBezTo>
                    <a:pt x="194108" y="240222"/>
                    <a:pt x="180323" y="244141"/>
                    <a:pt x="168186" y="251308"/>
                  </a:cubicBezTo>
                  <a:close/>
                </a:path>
              </a:pathLst>
            </a:custGeom>
            <a:solidFill>
              <a:srgbClr val="231F2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9" name="Freeform 158">
              <a:extLst>
                <a:ext uri="{FF2B5EF4-FFF2-40B4-BE49-F238E27FC236}">
                  <a16:creationId xmlns:a16="http://schemas.microsoft.com/office/drawing/2014/main" id="{EED03DB9-FFA1-4547-BA8D-549DAE673AE4}"/>
                </a:ext>
              </a:extLst>
            </p:cNvPr>
            <p:cNvSpPr/>
            <p:nvPr/>
          </p:nvSpPr>
          <p:spPr>
            <a:xfrm>
              <a:off x="8823817" y="5332687"/>
              <a:ext cx="24311" cy="38771"/>
            </a:xfrm>
            <a:custGeom>
              <a:avLst/>
              <a:gdLst>
                <a:gd name="connsiteX0" fmla="*/ 24189 w 24311"/>
                <a:gd name="connsiteY0" fmla="*/ 1409 h 38771"/>
                <a:gd name="connsiteX1" fmla="*/ 24189 w 24311"/>
                <a:gd name="connsiteY1" fmla="*/ 2491 h 38771"/>
                <a:gd name="connsiteX2" fmla="*/ 24189 w 24311"/>
                <a:gd name="connsiteY2" fmla="*/ 37567 h 38771"/>
                <a:gd name="connsiteX3" fmla="*/ 24189 w 24311"/>
                <a:gd name="connsiteY3" fmla="*/ 38650 h 38771"/>
                <a:gd name="connsiteX4" fmla="*/ 23105 w 24311"/>
                <a:gd name="connsiteY4" fmla="*/ 38650 h 38771"/>
                <a:gd name="connsiteX5" fmla="*/ 21586 w 24311"/>
                <a:gd name="connsiteY5" fmla="*/ 37134 h 38771"/>
                <a:gd name="connsiteX6" fmla="*/ 21586 w 24311"/>
                <a:gd name="connsiteY6" fmla="*/ 21653 h 38771"/>
                <a:gd name="connsiteX7" fmla="*/ 17790 w 24311"/>
                <a:gd name="connsiteY7" fmla="*/ 25659 h 38771"/>
                <a:gd name="connsiteX8" fmla="*/ 12150 w 24311"/>
                <a:gd name="connsiteY8" fmla="*/ 27391 h 38771"/>
                <a:gd name="connsiteX9" fmla="*/ 5968 w 24311"/>
                <a:gd name="connsiteY9" fmla="*/ 25551 h 38771"/>
                <a:gd name="connsiteX10" fmla="*/ 1629 w 24311"/>
                <a:gd name="connsiteY10" fmla="*/ 20679 h 38771"/>
                <a:gd name="connsiteX11" fmla="*/ 2 w 24311"/>
                <a:gd name="connsiteY11" fmla="*/ 13642 h 38771"/>
                <a:gd name="connsiteX12" fmla="*/ 1629 w 24311"/>
                <a:gd name="connsiteY12" fmla="*/ 6605 h 38771"/>
                <a:gd name="connsiteX13" fmla="*/ 5968 w 24311"/>
                <a:gd name="connsiteY13" fmla="*/ 1733 h 38771"/>
                <a:gd name="connsiteX14" fmla="*/ 12041 w 24311"/>
                <a:gd name="connsiteY14" fmla="*/ 1 h 38771"/>
                <a:gd name="connsiteX15" fmla="*/ 17682 w 24311"/>
                <a:gd name="connsiteY15" fmla="*/ 1517 h 38771"/>
                <a:gd name="connsiteX16" fmla="*/ 21586 w 24311"/>
                <a:gd name="connsiteY16" fmla="*/ 5414 h 38771"/>
                <a:gd name="connsiteX17" fmla="*/ 21586 w 24311"/>
                <a:gd name="connsiteY17" fmla="*/ 2058 h 38771"/>
                <a:gd name="connsiteX18" fmla="*/ 21586 w 24311"/>
                <a:gd name="connsiteY18" fmla="*/ 976 h 38771"/>
                <a:gd name="connsiteX19" fmla="*/ 22670 w 24311"/>
                <a:gd name="connsiteY19" fmla="*/ 976 h 38771"/>
                <a:gd name="connsiteX20" fmla="*/ 24189 w 24311"/>
                <a:gd name="connsiteY20" fmla="*/ 1409 h 38771"/>
                <a:gd name="connsiteX21" fmla="*/ 17247 w 24311"/>
                <a:gd name="connsiteY21" fmla="*/ 23061 h 38771"/>
                <a:gd name="connsiteX22" fmla="*/ 20610 w 24311"/>
                <a:gd name="connsiteY22" fmla="*/ 19163 h 38771"/>
                <a:gd name="connsiteX23" fmla="*/ 20610 w 24311"/>
                <a:gd name="connsiteY23" fmla="*/ 8337 h 38771"/>
                <a:gd name="connsiteX24" fmla="*/ 17247 w 24311"/>
                <a:gd name="connsiteY24" fmla="*/ 4440 h 38771"/>
                <a:gd name="connsiteX25" fmla="*/ 12367 w 24311"/>
                <a:gd name="connsiteY25" fmla="*/ 3032 h 38771"/>
                <a:gd name="connsiteX26" fmla="*/ 7595 w 24311"/>
                <a:gd name="connsiteY26" fmla="*/ 4440 h 38771"/>
                <a:gd name="connsiteX27" fmla="*/ 4233 w 24311"/>
                <a:gd name="connsiteY27" fmla="*/ 8337 h 38771"/>
                <a:gd name="connsiteX28" fmla="*/ 4233 w 24311"/>
                <a:gd name="connsiteY28" fmla="*/ 19163 h 38771"/>
                <a:gd name="connsiteX29" fmla="*/ 7595 w 24311"/>
                <a:gd name="connsiteY29" fmla="*/ 23061 h 38771"/>
                <a:gd name="connsiteX30" fmla="*/ 12367 w 24311"/>
                <a:gd name="connsiteY30" fmla="*/ 24468 h 38771"/>
                <a:gd name="connsiteX31" fmla="*/ 17247 w 24311"/>
                <a:gd name="connsiteY31" fmla="*/ 23494 h 38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4311" h="38771">
                  <a:moveTo>
                    <a:pt x="24189" y="1409"/>
                  </a:moveTo>
                  <a:cubicBezTo>
                    <a:pt x="24352" y="1755"/>
                    <a:pt x="24352" y="2145"/>
                    <a:pt x="24189" y="2491"/>
                  </a:cubicBezTo>
                  <a:lnTo>
                    <a:pt x="24189" y="37567"/>
                  </a:lnTo>
                  <a:cubicBezTo>
                    <a:pt x="24330" y="37914"/>
                    <a:pt x="24330" y="38304"/>
                    <a:pt x="24189" y="38650"/>
                  </a:cubicBezTo>
                  <a:cubicBezTo>
                    <a:pt x="23842" y="38812"/>
                    <a:pt x="23452" y="38812"/>
                    <a:pt x="23105" y="38650"/>
                  </a:cubicBezTo>
                  <a:cubicBezTo>
                    <a:pt x="22269" y="38650"/>
                    <a:pt x="21586" y="37968"/>
                    <a:pt x="21586" y="37134"/>
                  </a:cubicBezTo>
                  <a:lnTo>
                    <a:pt x="21586" y="21653"/>
                  </a:lnTo>
                  <a:cubicBezTo>
                    <a:pt x="20686" y="23288"/>
                    <a:pt x="19384" y="24674"/>
                    <a:pt x="17790" y="25659"/>
                  </a:cubicBezTo>
                  <a:cubicBezTo>
                    <a:pt x="16109" y="26741"/>
                    <a:pt x="14156" y="27348"/>
                    <a:pt x="12150" y="27391"/>
                  </a:cubicBezTo>
                  <a:cubicBezTo>
                    <a:pt x="9948" y="27413"/>
                    <a:pt x="7790" y="26774"/>
                    <a:pt x="5968" y="25551"/>
                  </a:cubicBezTo>
                  <a:cubicBezTo>
                    <a:pt x="4124" y="24327"/>
                    <a:pt x="2627" y="22649"/>
                    <a:pt x="1629" y="20679"/>
                  </a:cubicBezTo>
                  <a:cubicBezTo>
                    <a:pt x="523" y="18503"/>
                    <a:pt x="-41" y="16089"/>
                    <a:pt x="2" y="13642"/>
                  </a:cubicBezTo>
                  <a:cubicBezTo>
                    <a:pt x="-30" y="11196"/>
                    <a:pt x="534" y="8792"/>
                    <a:pt x="1629" y="6605"/>
                  </a:cubicBezTo>
                  <a:cubicBezTo>
                    <a:pt x="2627" y="4635"/>
                    <a:pt x="4124" y="2957"/>
                    <a:pt x="5968" y="1733"/>
                  </a:cubicBezTo>
                  <a:cubicBezTo>
                    <a:pt x="7779" y="564"/>
                    <a:pt x="9894" y="-31"/>
                    <a:pt x="12041" y="1"/>
                  </a:cubicBezTo>
                  <a:cubicBezTo>
                    <a:pt x="14026" y="-20"/>
                    <a:pt x="15978" y="510"/>
                    <a:pt x="17682" y="1517"/>
                  </a:cubicBezTo>
                  <a:cubicBezTo>
                    <a:pt x="19330" y="2405"/>
                    <a:pt x="20697" y="3758"/>
                    <a:pt x="21586" y="5414"/>
                  </a:cubicBezTo>
                  <a:lnTo>
                    <a:pt x="21586" y="2058"/>
                  </a:lnTo>
                  <a:cubicBezTo>
                    <a:pt x="21423" y="1712"/>
                    <a:pt x="21423" y="1322"/>
                    <a:pt x="21586" y="976"/>
                  </a:cubicBezTo>
                  <a:cubicBezTo>
                    <a:pt x="21933" y="846"/>
                    <a:pt x="22323" y="846"/>
                    <a:pt x="22670" y="976"/>
                  </a:cubicBezTo>
                  <a:cubicBezTo>
                    <a:pt x="23213" y="759"/>
                    <a:pt x="23842" y="943"/>
                    <a:pt x="24189" y="1409"/>
                  </a:cubicBezTo>
                  <a:close/>
                  <a:moveTo>
                    <a:pt x="17247" y="23061"/>
                  </a:moveTo>
                  <a:cubicBezTo>
                    <a:pt x="18712" y="22108"/>
                    <a:pt x="19883" y="20755"/>
                    <a:pt x="20610" y="19163"/>
                  </a:cubicBezTo>
                  <a:cubicBezTo>
                    <a:pt x="22128" y="15710"/>
                    <a:pt x="22128" y="11791"/>
                    <a:pt x="20610" y="8337"/>
                  </a:cubicBezTo>
                  <a:cubicBezTo>
                    <a:pt x="19818" y="6789"/>
                    <a:pt x="18669" y="5447"/>
                    <a:pt x="17247" y="4440"/>
                  </a:cubicBezTo>
                  <a:cubicBezTo>
                    <a:pt x="15805" y="3477"/>
                    <a:pt x="14102" y="2989"/>
                    <a:pt x="12367" y="3032"/>
                  </a:cubicBezTo>
                  <a:cubicBezTo>
                    <a:pt x="10664" y="3000"/>
                    <a:pt x="9005" y="3487"/>
                    <a:pt x="7595" y="4440"/>
                  </a:cubicBezTo>
                  <a:cubicBezTo>
                    <a:pt x="6173" y="5447"/>
                    <a:pt x="5024" y="6789"/>
                    <a:pt x="4233" y="8337"/>
                  </a:cubicBezTo>
                  <a:cubicBezTo>
                    <a:pt x="2714" y="11791"/>
                    <a:pt x="2714" y="15710"/>
                    <a:pt x="4233" y="19163"/>
                  </a:cubicBezTo>
                  <a:cubicBezTo>
                    <a:pt x="5024" y="20711"/>
                    <a:pt x="6173" y="22054"/>
                    <a:pt x="7595" y="23061"/>
                  </a:cubicBezTo>
                  <a:cubicBezTo>
                    <a:pt x="9005" y="24013"/>
                    <a:pt x="10664" y="24500"/>
                    <a:pt x="12367" y="24468"/>
                  </a:cubicBezTo>
                  <a:cubicBezTo>
                    <a:pt x="14059" y="24641"/>
                    <a:pt x="15762" y="24306"/>
                    <a:pt x="17247" y="23494"/>
                  </a:cubicBezTo>
                  <a:close/>
                </a:path>
              </a:pathLst>
            </a:custGeom>
            <a:solidFill>
              <a:srgbClr val="00000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0" name="Freeform 159">
              <a:extLst>
                <a:ext uri="{FF2B5EF4-FFF2-40B4-BE49-F238E27FC236}">
                  <a16:creationId xmlns:a16="http://schemas.microsoft.com/office/drawing/2014/main" id="{7DD7FDDE-5327-BD41-A068-B758A5F7A148}"/>
                </a:ext>
              </a:extLst>
            </p:cNvPr>
            <p:cNvSpPr/>
            <p:nvPr/>
          </p:nvSpPr>
          <p:spPr>
            <a:xfrm>
              <a:off x="8856019" y="5333692"/>
              <a:ext cx="21394" cy="26592"/>
            </a:xfrm>
            <a:custGeom>
              <a:avLst/>
              <a:gdLst>
                <a:gd name="connsiteX0" fmla="*/ 21272 w 21394"/>
                <a:gd name="connsiteY0" fmla="*/ 621 h 26592"/>
                <a:gd name="connsiteX1" fmla="*/ 21272 w 21394"/>
                <a:gd name="connsiteY1" fmla="*/ 1703 h 26592"/>
                <a:gd name="connsiteX2" fmla="*/ 21272 w 21394"/>
                <a:gd name="connsiteY2" fmla="*/ 16210 h 26592"/>
                <a:gd name="connsiteX3" fmla="*/ 18452 w 21394"/>
                <a:gd name="connsiteY3" fmla="*/ 23896 h 26592"/>
                <a:gd name="connsiteX4" fmla="*/ 2942 w 21394"/>
                <a:gd name="connsiteY4" fmla="*/ 23896 h 26592"/>
                <a:gd name="connsiteX5" fmla="*/ 122 w 21394"/>
                <a:gd name="connsiteY5" fmla="*/ 16210 h 26592"/>
                <a:gd name="connsiteX6" fmla="*/ 122 w 21394"/>
                <a:gd name="connsiteY6" fmla="*/ 1703 h 26592"/>
                <a:gd name="connsiteX7" fmla="*/ 122 w 21394"/>
                <a:gd name="connsiteY7" fmla="*/ 621 h 26592"/>
                <a:gd name="connsiteX8" fmla="*/ 1207 w 21394"/>
                <a:gd name="connsiteY8" fmla="*/ 621 h 26592"/>
                <a:gd name="connsiteX9" fmla="*/ 2725 w 21394"/>
                <a:gd name="connsiteY9" fmla="*/ 2136 h 26592"/>
                <a:gd name="connsiteX10" fmla="*/ 2725 w 21394"/>
                <a:gd name="connsiteY10" fmla="*/ 16643 h 26592"/>
                <a:gd name="connsiteX11" fmla="*/ 4677 w 21394"/>
                <a:gd name="connsiteY11" fmla="*/ 22273 h 26592"/>
                <a:gd name="connsiteX12" fmla="*/ 10209 w 21394"/>
                <a:gd name="connsiteY12" fmla="*/ 24221 h 26592"/>
                <a:gd name="connsiteX13" fmla="*/ 15849 w 21394"/>
                <a:gd name="connsiteY13" fmla="*/ 22273 h 26592"/>
                <a:gd name="connsiteX14" fmla="*/ 17801 w 21394"/>
                <a:gd name="connsiteY14" fmla="*/ 16643 h 26592"/>
                <a:gd name="connsiteX15" fmla="*/ 17801 w 21394"/>
                <a:gd name="connsiteY15" fmla="*/ 2136 h 26592"/>
                <a:gd name="connsiteX16" fmla="*/ 17801 w 21394"/>
                <a:gd name="connsiteY16" fmla="*/ 1054 h 26592"/>
                <a:gd name="connsiteX17" fmla="*/ 18886 w 21394"/>
                <a:gd name="connsiteY17" fmla="*/ 1054 h 26592"/>
                <a:gd name="connsiteX18" fmla="*/ 20416 w 21394"/>
                <a:gd name="connsiteY18" fmla="*/ 25 h 26592"/>
                <a:gd name="connsiteX19" fmla="*/ 21272 w 21394"/>
                <a:gd name="connsiteY19" fmla="*/ 621 h 26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1394" h="26592">
                  <a:moveTo>
                    <a:pt x="21272" y="621"/>
                  </a:moveTo>
                  <a:cubicBezTo>
                    <a:pt x="21435" y="967"/>
                    <a:pt x="21435" y="1357"/>
                    <a:pt x="21272" y="1703"/>
                  </a:cubicBezTo>
                  <a:lnTo>
                    <a:pt x="21272" y="16210"/>
                  </a:lnTo>
                  <a:cubicBezTo>
                    <a:pt x="21511" y="19057"/>
                    <a:pt x="20480" y="21872"/>
                    <a:pt x="18452" y="23896"/>
                  </a:cubicBezTo>
                  <a:cubicBezTo>
                    <a:pt x="13908" y="27491"/>
                    <a:pt x="7487" y="27491"/>
                    <a:pt x="2942" y="23896"/>
                  </a:cubicBezTo>
                  <a:cubicBezTo>
                    <a:pt x="914" y="21872"/>
                    <a:pt x="-116" y="19057"/>
                    <a:pt x="122" y="16210"/>
                  </a:cubicBezTo>
                  <a:lnTo>
                    <a:pt x="122" y="1703"/>
                  </a:lnTo>
                  <a:cubicBezTo>
                    <a:pt x="-41" y="1357"/>
                    <a:pt x="-41" y="967"/>
                    <a:pt x="122" y="621"/>
                  </a:cubicBezTo>
                  <a:cubicBezTo>
                    <a:pt x="469" y="480"/>
                    <a:pt x="860" y="480"/>
                    <a:pt x="1207" y="621"/>
                  </a:cubicBezTo>
                  <a:cubicBezTo>
                    <a:pt x="2042" y="621"/>
                    <a:pt x="2725" y="1303"/>
                    <a:pt x="2725" y="2136"/>
                  </a:cubicBezTo>
                  <a:lnTo>
                    <a:pt x="2725" y="16643"/>
                  </a:lnTo>
                  <a:cubicBezTo>
                    <a:pt x="2574" y="18711"/>
                    <a:pt x="3279" y="20746"/>
                    <a:pt x="4677" y="22273"/>
                  </a:cubicBezTo>
                  <a:cubicBezTo>
                    <a:pt x="6174" y="23647"/>
                    <a:pt x="8181" y="24351"/>
                    <a:pt x="10209" y="24221"/>
                  </a:cubicBezTo>
                  <a:cubicBezTo>
                    <a:pt x="12270" y="24351"/>
                    <a:pt x="14309" y="23647"/>
                    <a:pt x="15849" y="22273"/>
                  </a:cubicBezTo>
                  <a:cubicBezTo>
                    <a:pt x="17237" y="20746"/>
                    <a:pt x="17942" y="18711"/>
                    <a:pt x="17801" y="16643"/>
                  </a:cubicBezTo>
                  <a:lnTo>
                    <a:pt x="17801" y="2136"/>
                  </a:lnTo>
                  <a:cubicBezTo>
                    <a:pt x="17638" y="1790"/>
                    <a:pt x="17638" y="1400"/>
                    <a:pt x="17801" y="1054"/>
                  </a:cubicBezTo>
                  <a:cubicBezTo>
                    <a:pt x="18148" y="913"/>
                    <a:pt x="18539" y="913"/>
                    <a:pt x="18886" y="1054"/>
                  </a:cubicBezTo>
                  <a:cubicBezTo>
                    <a:pt x="19027" y="350"/>
                    <a:pt x="19711" y="-116"/>
                    <a:pt x="20416" y="25"/>
                  </a:cubicBezTo>
                  <a:cubicBezTo>
                    <a:pt x="20773" y="90"/>
                    <a:pt x="21077" y="307"/>
                    <a:pt x="21272" y="621"/>
                  </a:cubicBezTo>
                  <a:close/>
                </a:path>
              </a:pathLst>
            </a:custGeom>
            <a:solidFill>
              <a:srgbClr val="00000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1" name="Freeform 160">
              <a:extLst>
                <a:ext uri="{FF2B5EF4-FFF2-40B4-BE49-F238E27FC236}">
                  <a16:creationId xmlns:a16="http://schemas.microsoft.com/office/drawing/2014/main" id="{B315E336-F8DF-184A-8C13-C888B9F54D9A}"/>
                </a:ext>
              </a:extLst>
            </p:cNvPr>
            <p:cNvSpPr/>
            <p:nvPr/>
          </p:nvSpPr>
          <p:spPr>
            <a:xfrm>
              <a:off x="8884555" y="5333550"/>
              <a:ext cx="23877" cy="27394"/>
            </a:xfrm>
            <a:custGeom>
              <a:avLst/>
              <a:gdLst>
                <a:gd name="connsiteX0" fmla="*/ 23755 w 23877"/>
                <a:gd name="connsiteY0" fmla="*/ 654 h 27394"/>
                <a:gd name="connsiteX1" fmla="*/ 23755 w 23877"/>
                <a:gd name="connsiteY1" fmla="*/ 1736 h 27394"/>
                <a:gd name="connsiteX2" fmla="*/ 23755 w 23877"/>
                <a:gd name="connsiteY2" fmla="*/ 25337 h 27394"/>
                <a:gd name="connsiteX3" fmla="*/ 23755 w 23877"/>
                <a:gd name="connsiteY3" fmla="*/ 26419 h 27394"/>
                <a:gd name="connsiteX4" fmla="*/ 22671 w 23877"/>
                <a:gd name="connsiteY4" fmla="*/ 26419 h 27394"/>
                <a:gd name="connsiteX5" fmla="*/ 21586 w 23877"/>
                <a:gd name="connsiteY5" fmla="*/ 26419 h 27394"/>
                <a:gd name="connsiteX6" fmla="*/ 21586 w 23877"/>
                <a:gd name="connsiteY6" fmla="*/ 25337 h 27394"/>
                <a:gd name="connsiteX7" fmla="*/ 21586 w 23877"/>
                <a:gd name="connsiteY7" fmla="*/ 21872 h 27394"/>
                <a:gd name="connsiteX8" fmla="*/ 17682 w 23877"/>
                <a:gd name="connsiteY8" fmla="*/ 25770 h 27394"/>
                <a:gd name="connsiteX9" fmla="*/ 12041 w 23877"/>
                <a:gd name="connsiteY9" fmla="*/ 27394 h 27394"/>
                <a:gd name="connsiteX10" fmla="*/ 5860 w 23877"/>
                <a:gd name="connsiteY10" fmla="*/ 25553 h 27394"/>
                <a:gd name="connsiteX11" fmla="*/ 1521 w 23877"/>
                <a:gd name="connsiteY11" fmla="*/ 20573 h 27394"/>
                <a:gd name="connsiteX12" fmla="*/ 2 w 23877"/>
                <a:gd name="connsiteY12" fmla="*/ 13536 h 27394"/>
                <a:gd name="connsiteX13" fmla="*/ 1629 w 23877"/>
                <a:gd name="connsiteY13" fmla="*/ 6608 h 27394"/>
                <a:gd name="connsiteX14" fmla="*/ 5968 w 23877"/>
                <a:gd name="connsiteY14" fmla="*/ 1736 h 27394"/>
                <a:gd name="connsiteX15" fmla="*/ 12041 w 23877"/>
                <a:gd name="connsiteY15" fmla="*/ 4 h 27394"/>
                <a:gd name="connsiteX16" fmla="*/ 17682 w 23877"/>
                <a:gd name="connsiteY16" fmla="*/ 1411 h 27394"/>
                <a:gd name="connsiteX17" fmla="*/ 21586 w 23877"/>
                <a:gd name="connsiteY17" fmla="*/ 5309 h 27394"/>
                <a:gd name="connsiteX18" fmla="*/ 21586 w 23877"/>
                <a:gd name="connsiteY18" fmla="*/ 2169 h 27394"/>
                <a:gd name="connsiteX19" fmla="*/ 21586 w 23877"/>
                <a:gd name="connsiteY19" fmla="*/ 1087 h 27394"/>
                <a:gd name="connsiteX20" fmla="*/ 22671 w 23877"/>
                <a:gd name="connsiteY20" fmla="*/ 545 h 27394"/>
                <a:gd name="connsiteX21" fmla="*/ 23755 w 23877"/>
                <a:gd name="connsiteY21" fmla="*/ 654 h 27394"/>
                <a:gd name="connsiteX22" fmla="*/ 16814 w 23877"/>
                <a:gd name="connsiteY22" fmla="*/ 22305 h 27394"/>
                <a:gd name="connsiteX23" fmla="*/ 20068 w 23877"/>
                <a:gd name="connsiteY23" fmla="*/ 18408 h 27394"/>
                <a:gd name="connsiteX24" fmla="*/ 21369 w 23877"/>
                <a:gd name="connsiteY24" fmla="*/ 12779 h 27394"/>
                <a:gd name="connsiteX25" fmla="*/ 20068 w 23877"/>
                <a:gd name="connsiteY25" fmla="*/ 7366 h 27394"/>
                <a:gd name="connsiteX26" fmla="*/ 16814 w 23877"/>
                <a:gd name="connsiteY26" fmla="*/ 3468 h 27394"/>
                <a:gd name="connsiteX27" fmla="*/ 11933 w 23877"/>
                <a:gd name="connsiteY27" fmla="*/ 2061 h 27394"/>
                <a:gd name="connsiteX28" fmla="*/ 7161 w 23877"/>
                <a:gd name="connsiteY28" fmla="*/ 3468 h 27394"/>
                <a:gd name="connsiteX29" fmla="*/ 3799 w 23877"/>
                <a:gd name="connsiteY29" fmla="*/ 7257 h 27394"/>
                <a:gd name="connsiteX30" fmla="*/ 2605 w 23877"/>
                <a:gd name="connsiteY30" fmla="*/ 12779 h 27394"/>
                <a:gd name="connsiteX31" fmla="*/ 3799 w 23877"/>
                <a:gd name="connsiteY31" fmla="*/ 18408 h 27394"/>
                <a:gd name="connsiteX32" fmla="*/ 7053 w 23877"/>
                <a:gd name="connsiteY32" fmla="*/ 22305 h 27394"/>
                <a:gd name="connsiteX33" fmla="*/ 11933 w 23877"/>
                <a:gd name="connsiteY33" fmla="*/ 23713 h 27394"/>
                <a:gd name="connsiteX34" fmla="*/ 16814 w 23877"/>
                <a:gd name="connsiteY34" fmla="*/ 22630 h 27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3877" h="27394">
                  <a:moveTo>
                    <a:pt x="23755" y="654"/>
                  </a:moveTo>
                  <a:cubicBezTo>
                    <a:pt x="23918" y="1000"/>
                    <a:pt x="23918" y="1390"/>
                    <a:pt x="23755" y="1736"/>
                  </a:cubicBezTo>
                  <a:lnTo>
                    <a:pt x="23755" y="25337"/>
                  </a:lnTo>
                  <a:cubicBezTo>
                    <a:pt x="23896" y="25683"/>
                    <a:pt x="23896" y="26073"/>
                    <a:pt x="23755" y="26419"/>
                  </a:cubicBezTo>
                  <a:cubicBezTo>
                    <a:pt x="23398" y="26517"/>
                    <a:pt x="23028" y="26517"/>
                    <a:pt x="22671" y="26419"/>
                  </a:cubicBezTo>
                  <a:cubicBezTo>
                    <a:pt x="22324" y="26538"/>
                    <a:pt x="21933" y="26538"/>
                    <a:pt x="21586" y="26419"/>
                  </a:cubicBezTo>
                  <a:cubicBezTo>
                    <a:pt x="21445" y="26073"/>
                    <a:pt x="21445" y="25683"/>
                    <a:pt x="21586" y="25337"/>
                  </a:cubicBezTo>
                  <a:lnTo>
                    <a:pt x="21586" y="21872"/>
                  </a:lnTo>
                  <a:cubicBezTo>
                    <a:pt x="20643" y="23486"/>
                    <a:pt x="19297" y="24828"/>
                    <a:pt x="17682" y="25770"/>
                  </a:cubicBezTo>
                  <a:cubicBezTo>
                    <a:pt x="15989" y="26820"/>
                    <a:pt x="14037" y="27383"/>
                    <a:pt x="12041" y="27394"/>
                  </a:cubicBezTo>
                  <a:cubicBezTo>
                    <a:pt x="9840" y="27415"/>
                    <a:pt x="7681" y="26776"/>
                    <a:pt x="5860" y="25553"/>
                  </a:cubicBezTo>
                  <a:cubicBezTo>
                    <a:pt x="3983" y="24319"/>
                    <a:pt x="2486" y="22598"/>
                    <a:pt x="1521" y="20573"/>
                  </a:cubicBezTo>
                  <a:cubicBezTo>
                    <a:pt x="501" y="18365"/>
                    <a:pt x="-20" y="15961"/>
                    <a:pt x="2" y="13536"/>
                  </a:cubicBezTo>
                  <a:cubicBezTo>
                    <a:pt x="-41" y="11133"/>
                    <a:pt x="523" y="8751"/>
                    <a:pt x="1629" y="6608"/>
                  </a:cubicBezTo>
                  <a:cubicBezTo>
                    <a:pt x="2540" y="4573"/>
                    <a:pt x="4059" y="2873"/>
                    <a:pt x="5968" y="1736"/>
                  </a:cubicBezTo>
                  <a:cubicBezTo>
                    <a:pt x="7779" y="567"/>
                    <a:pt x="9894" y="-28"/>
                    <a:pt x="12041" y="4"/>
                  </a:cubicBezTo>
                  <a:cubicBezTo>
                    <a:pt x="14015" y="-50"/>
                    <a:pt x="15968" y="437"/>
                    <a:pt x="17682" y="1411"/>
                  </a:cubicBezTo>
                  <a:cubicBezTo>
                    <a:pt x="19297" y="2353"/>
                    <a:pt x="20643" y="3696"/>
                    <a:pt x="21586" y="5309"/>
                  </a:cubicBezTo>
                  <a:lnTo>
                    <a:pt x="21586" y="2169"/>
                  </a:lnTo>
                  <a:cubicBezTo>
                    <a:pt x="21424" y="1823"/>
                    <a:pt x="21424" y="1433"/>
                    <a:pt x="21586" y="1087"/>
                  </a:cubicBezTo>
                  <a:cubicBezTo>
                    <a:pt x="21836" y="740"/>
                    <a:pt x="22237" y="535"/>
                    <a:pt x="22671" y="545"/>
                  </a:cubicBezTo>
                  <a:cubicBezTo>
                    <a:pt x="23028" y="448"/>
                    <a:pt x="23419" y="480"/>
                    <a:pt x="23755" y="654"/>
                  </a:cubicBezTo>
                  <a:close/>
                  <a:moveTo>
                    <a:pt x="16814" y="22305"/>
                  </a:moveTo>
                  <a:cubicBezTo>
                    <a:pt x="18235" y="21320"/>
                    <a:pt x="19352" y="19978"/>
                    <a:pt x="20068" y="18408"/>
                  </a:cubicBezTo>
                  <a:cubicBezTo>
                    <a:pt x="20946" y="16665"/>
                    <a:pt x="21391" y="14727"/>
                    <a:pt x="21369" y="12779"/>
                  </a:cubicBezTo>
                  <a:cubicBezTo>
                    <a:pt x="21391" y="10895"/>
                    <a:pt x="20935" y="9033"/>
                    <a:pt x="20068" y="7366"/>
                  </a:cubicBezTo>
                  <a:cubicBezTo>
                    <a:pt x="19352" y="5796"/>
                    <a:pt x="18235" y="4454"/>
                    <a:pt x="16814" y="3468"/>
                  </a:cubicBezTo>
                  <a:cubicBezTo>
                    <a:pt x="15371" y="2516"/>
                    <a:pt x="13668" y="2028"/>
                    <a:pt x="11933" y="2061"/>
                  </a:cubicBezTo>
                  <a:cubicBezTo>
                    <a:pt x="10230" y="2028"/>
                    <a:pt x="8571" y="2516"/>
                    <a:pt x="7161" y="3468"/>
                  </a:cubicBezTo>
                  <a:cubicBezTo>
                    <a:pt x="5686" y="4378"/>
                    <a:pt x="4525" y="5688"/>
                    <a:pt x="3799" y="7257"/>
                  </a:cubicBezTo>
                  <a:cubicBezTo>
                    <a:pt x="2996" y="8989"/>
                    <a:pt x="2584" y="10873"/>
                    <a:pt x="2605" y="12779"/>
                  </a:cubicBezTo>
                  <a:cubicBezTo>
                    <a:pt x="2551" y="14727"/>
                    <a:pt x="2963" y="16654"/>
                    <a:pt x="3799" y="18408"/>
                  </a:cubicBezTo>
                  <a:cubicBezTo>
                    <a:pt x="4514" y="19978"/>
                    <a:pt x="5632" y="21320"/>
                    <a:pt x="7053" y="22305"/>
                  </a:cubicBezTo>
                  <a:cubicBezTo>
                    <a:pt x="8495" y="23269"/>
                    <a:pt x="10198" y="23756"/>
                    <a:pt x="11933" y="23713"/>
                  </a:cubicBezTo>
                  <a:cubicBezTo>
                    <a:pt x="13636" y="23843"/>
                    <a:pt x="15328" y="23464"/>
                    <a:pt x="16814" y="22630"/>
                  </a:cubicBezTo>
                  <a:close/>
                </a:path>
              </a:pathLst>
            </a:custGeom>
            <a:solidFill>
              <a:srgbClr val="00000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2" name="Freeform 161">
              <a:extLst>
                <a:ext uri="{FF2B5EF4-FFF2-40B4-BE49-F238E27FC236}">
                  <a16:creationId xmlns:a16="http://schemas.microsoft.com/office/drawing/2014/main" id="{5C1B20A8-91F8-2F46-88F5-38AD0F39C53E}"/>
                </a:ext>
              </a:extLst>
            </p:cNvPr>
            <p:cNvSpPr/>
            <p:nvPr/>
          </p:nvSpPr>
          <p:spPr>
            <a:xfrm>
              <a:off x="8915570" y="5320455"/>
              <a:ext cx="23874" cy="40489"/>
            </a:xfrm>
            <a:custGeom>
              <a:avLst/>
              <a:gdLst>
                <a:gd name="connsiteX0" fmla="*/ 23760 w 23874"/>
                <a:gd name="connsiteY0" fmla="*/ 541 h 40489"/>
                <a:gd name="connsiteX1" fmla="*/ 23760 w 23874"/>
                <a:gd name="connsiteY1" fmla="*/ 1624 h 40489"/>
                <a:gd name="connsiteX2" fmla="*/ 23760 w 23874"/>
                <a:gd name="connsiteY2" fmla="*/ 38432 h 40489"/>
                <a:gd name="connsiteX3" fmla="*/ 23760 w 23874"/>
                <a:gd name="connsiteY3" fmla="*/ 39515 h 40489"/>
                <a:gd name="connsiteX4" fmla="*/ 22676 w 23874"/>
                <a:gd name="connsiteY4" fmla="*/ 39515 h 40489"/>
                <a:gd name="connsiteX5" fmla="*/ 21483 w 23874"/>
                <a:gd name="connsiteY5" fmla="*/ 39515 h 40489"/>
                <a:gd name="connsiteX6" fmla="*/ 21483 w 23874"/>
                <a:gd name="connsiteY6" fmla="*/ 38432 h 40489"/>
                <a:gd name="connsiteX7" fmla="*/ 21483 w 23874"/>
                <a:gd name="connsiteY7" fmla="*/ 34751 h 40489"/>
                <a:gd name="connsiteX8" fmla="*/ 17686 w 23874"/>
                <a:gd name="connsiteY8" fmla="*/ 38757 h 40489"/>
                <a:gd name="connsiteX9" fmla="*/ 12047 w 23874"/>
                <a:gd name="connsiteY9" fmla="*/ 40489 h 40489"/>
                <a:gd name="connsiteX10" fmla="*/ 5865 w 23874"/>
                <a:gd name="connsiteY10" fmla="*/ 38648 h 40489"/>
                <a:gd name="connsiteX11" fmla="*/ 1526 w 23874"/>
                <a:gd name="connsiteY11" fmla="*/ 33777 h 40489"/>
                <a:gd name="connsiteX12" fmla="*/ 7 w 23874"/>
                <a:gd name="connsiteY12" fmla="*/ 26740 h 40489"/>
                <a:gd name="connsiteX13" fmla="*/ 1526 w 23874"/>
                <a:gd name="connsiteY13" fmla="*/ 19703 h 40489"/>
                <a:gd name="connsiteX14" fmla="*/ 5865 w 23874"/>
                <a:gd name="connsiteY14" fmla="*/ 14831 h 40489"/>
                <a:gd name="connsiteX15" fmla="*/ 12047 w 23874"/>
                <a:gd name="connsiteY15" fmla="*/ 13099 h 40489"/>
                <a:gd name="connsiteX16" fmla="*/ 17578 w 23874"/>
                <a:gd name="connsiteY16" fmla="*/ 14615 h 40489"/>
                <a:gd name="connsiteX17" fmla="*/ 21483 w 23874"/>
                <a:gd name="connsiteY17" fmla="*/ 18512 h 40489"/>
                <a:gd name="connsiteX18" fmla="*/ 21483 w 23874"/>
                <a:gd name="connsiteY18" fmla="*/ 1624 h 40489"/>
                <a:gd name="connsiteX19" fmla="*/ 21483 w 23874"/>
                <a:gd name="connsiteY19" fmla="*/ 541 h 40489"/>
                <a:gd name="connsiteX20" fmla="*/ 22676 w 23874"/>
                <a:gd name="connsiteY20" fmla="*/ 0 h 40489"/>
                <a:gd name="connsiteX21" fmla="*/ 23760 w 23874"/>
                <a:gd name="connsiteY21" fmla="*/ 541 h 40489"/>
                <a:gd name="connsiteX22" fmla="*/ 16711 w 23874"/>
                <a:gd name="connsiteY22" fmla="*/ 35725 h 40489"/>
                <a:gd name="connsiteX23" fmla="*/ 20073 w 23874"/>
                <a:gd name="connsiteY23" fmla="*/ 31828 h 40489"/>
                <a:gd name="connsiteX24" fmla="*/ 20073 w 23874"/>
                <a:gd name="connsiteY24" fmla="*/ 21002 h 40489"/>
                <a:gd name="connsiteX25" fmla="*/ 16711 w 23874"/>
                <a:gd name="connsiteY25" fmla="*/ 17105 h 40489"/>
                <a:gd name="connsiteX26" fmla="*/ 11938 w 23874"/>
                <a:gd name="connsiteY26" fmla="*/ 15697 h 40489"/>
                <a:gd name="connsiteX27" fmla="*/ 7166 w 23874"/>
                <a:gd name="connsiteY27" fmla="*/ 17105 h 40489"/>
                <a:gd name="connsiteX28" fmla="*/ 3804 w 23874"/>
                <a:gd name="connsiteY28" fmla="*/ 21002 h 40489"/>
                <a:gd name="connsiteX29" fmla="*/ 3804 w 23874"/>
                <a:gd name="connsiteY29" fmla="*/ 31828 h 40489"/>
                <a:gd name="connsiteX30" fmla="*/ 7166 w 23874"/>
                <a:gd name="connsiteY30" fmla="*/ 35725 h 40489"/>
                <a:gd name="connsiteX31" fmla="*/ 11938 w 23874"/>
                <a:gd name="connsiteY31" fmla="*/ 37133 h 40489"/>
                <a:gd name="connsiteX32" fmla="*/ 16711 w 23874"/>
                <a:gd name="connsiteY32" fmla="*/ 35725 h 40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3874" h="40489">
                  <a:moveTo>
                    <a:pt x="23760" y="541"/>
                  </a:moveTo>
                  <a:cubicBezTo>
                    <a:pt x="23912" y="888"/>
                    <a:pt x="23912" y="1277"/>
                    <a:pt x="23760" y="1624"/>
                  </a:cubicBezTo>
                  <a:lnTo>
                    <a:pt x="23760" y="38432"/>
                  </a:lnTo>
                  <a:cubicBezTo>
                    <a:pt x="23901" y="38778"/>
                    <a:pt x="23901" y="39168"/>
                    <a:pt x="23760" y="39515"/>
                  </a:cubicBezTo>
                  <a:cubicBezTo>
                    <a:pt x="23403" y="39612"/>
                    <a:pt x="23034" y="39612"/>
                    <a:pt x="22676" y="39515"/>
                  </a:cubicBezTo>
                  <a:cubicBezTo>
                    <a:pt x="22285" y="39623"/>
                    <a:pt x="21874" y="39623"/>
                    <a:pt x="21483" y="39515"/>
                  </a:cubicBezTo>
                  <a:cubicBezTo>
                    <a:pt x="21385" y="39157"/>
                    <a:pt x="21385" y="38789"/>
                    <a:pt x="21483" y="38432"/>
                  </a:cubicBezTo>
                  <a:lnTo>
                    <a:pt x="21483" y="34751"/>
                  </a:lnTo>
                  <a:cubicBezTo>
                    <a:pt x="20637" y="36429"/>
                    <a:pt x="19324" y="37826"/>
                    <a:pt x="17686" y="38757"/>
                  </a:cubicBezTo>
                  <a:cubicBezTo>
                    <a:pt x="16006" y="39839"/>
                    <a:pt x="14053" y="40446"/>
                    <a:pt x="12047" y="40489"/>
                  </a:cubicBezTo>
                  <a:cubicBezTo>
                    <a:pt x="9845" y="40510"/>
                    <a:pt x="7686" y="39872"/>
                    <a:pt x="5865" y="38648"/>
                  </a:cubicBezTo>
                  <a:cubicBezTo>
                    <a:pt x="4021" y="37425"/>
                    <a:pt x="2524" y="35747"/>
                    <a:pt x="1526" y="33777"/>
                  </a:cubicBezTo>
                  <a:cubicBezTo>
                    <a:pt x="452" y="31590"/>
                    <a:pt x="-68" y="29176"/>
                    <a:pt x="7" y="26740"/>
                  </a:cubicBezTo>
                  <a:cubicBezTo>
                    <a:pt x="-58" y="24304"/>
                    <a:pt x="463" y="21890"/>
                    <a:pt x="1526" y="19703"/>
                  </a:cubicBezTo>
                  <a:cubicBezTo>
                    <a:pt x="2524" y="17733"/>
                    <a:pt x="4021" y="16055"/>
                    <a:pt x="5865" y="14831"/>
                  </a:cubicBezTo>
                  <a:cubicBezTo>
                    <a:pt x="7708" y="13640"/>
                    <a:pt x="9856" y="13045"/>
                    <a:pt x="12047" y="13099"/>
                  </a:cubicBezTo>
                  <a:cubicBezTo>
                    <a:pt x="13999" y="13045"/>
                    <a:pt x="15929" y="13576"/>
                    <a:pt x="17578" y="14615"/>
                  </a:cubicBezTo>
                  <a:cubicBezTo>
                    <a:pt x="19227" y="15502"/>
                    <a:pt x="20593" y="16867"/>
                    <a:pt x="21483" y="18512"/>
                  </a:cubicBezTo>
                  <a:lnTo>
                    <a:pt x="21483" y="1624"/>
                  </a:lnTo>
                  <a:cubicBezTo>
                    <a:pt x="21364" y="1277"/>
                    <a:pt x="21364" y="888"/>
                    <a:pt x="21483" y="541"/>
                  </a:cubicBezTo>
                  <a:cubicBezTo>
                    <a:pt x="21797" y="216"/>
                    <a:pt x="22220" y="21"/>
                    <a:pt x="22676" y="0"/>
                  </a:cubicBezTo>
                  <a:cubicBezTo>
                    <a:pt x="23099" y="21"/>
                    <a:pt x="23489" y="216"/>
                    <a:pt x="23760" y="541"/>
                  </a:cubicBezTo>
                  <a:close/>
                  <a:moveTo>
                    <a:pt x="16711" y="35725"/>
                  </a:moveTo>
                  <a:cubicBezTo>
                    <a:pt x="18207" y="34805"/>
                    <a:pt x="19378" y="33441"/>
                    <a:pt x="20073" y="31828"/>
                  </a:cubicBezTo>
                  <a:cubicBezTo>
                    <a:pt x="21591" y="28375"/>
                    <a:pt x="21591" y="24456"/>
                    <a:pt x="20073" y="21002"/>
                  </a:cubicBezTo>
                  <a:cubicBezTo>
                    <a:pt x="19324" y="19421"/>
                    <a:pt x="18164" y="18079"/>
                    <a:pt x="16711" y="17105"/>
                  </a:cubicBezTo>
                  <a:cubicBezTo>
                    <a:pt x="15301" y="16152"/>
                    <a:pt x="13641" y="15665"/>
                    <a:pt x="11938" y="15697"/>
                  </a:cubicBezTo>
                  <a:cubicBezTo>
                    <a:pt x="10236" y="15654"/>
                    <a:pt x="8565" y="16141"/>
                    <a:pt x="7166" y="17105"/>
                  </a:cubicBezTo>
                  <a:cubicBezTo>
                    <a:pt x="5691" y="18047"/>
                    <a:pt x="4519" y="19400"/>
                    <a:pt x="3804" y="21002"/>
                  </a:cubicBezTo>
                  <a:cubicBezTo>
                    <a:pt x="2285" y="24456"/>
                    <a:pt x="2285" y="28375"/>
                    <a:pt x="3804" y="31828"/>
                  </a:cubicBezTo>
                  <a:cubicBezTo>
                    <a:pt x="4519" y="33430"/>
                    <a:pt x="5691" y="34783"/>
                    <a:pt x="7166" y="35725"/>
                  </a:cubicBezTo>
                  <a:cubicBezTo>
                    <a:pt x="8565" y="36689"/>
                    <a:pt x="10236" y="37176"/>
                    <a:pt x="11938" y="37133"/>
                  </a:cubicBezTo>
                  <a:cubicBezTo>
                    <a:pt x="13641" y="37165"/>
                    <a:pt x="15301" y="36678"/>
                    <a:pt x="16711" y="35725"/>
                  </a:cubicBezTo>
                  <a:close/>
                </a:path>
              </a:pathLst>
            </a:custGeom>
            <a:solidFill>
              <a:srgbClr val="00000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" name="Freeform 162">
              <a:extLst>
                <a:ext uri="{FF2B5EF4-FFF2-40B4-BE49-F238E27FC236}">
                  <a16:creationId xmlns:a16="http://schemas.microsoft.com/office/drawing/2014/main" id="{82D8D916-F9FE-E946-B76A-A24E26F230AB}"/>
                </a:ext>
              </a:extLst>
            </p:cNvPr>
            <p:cNvSpPr/>
            <p:nvPr/>
          </p:nvSpPr>
          <p:spPr>
            <a:xfrm>
              <a:off x="8947682" y="5333541"/>
              <a:ext cx="3145" cy="26085"/>
            </a:xfrm>
            <a:custGeom>
              <a:avLst/>
              <a:gdLst>
                <a:gd name="connsiteX0" fmla="*/ 2712 w 3145"/>
                <a:gd name="connsiteY0" fmla="*/ 25996 h 26085"/>
                <a:gd name="connsiteX1" fmla="*/ 1627 w 3145"/>
                <a:gd name="connsiteY1" fmla="*/ 25996 h 26085"/>
                <a:gd name="connsiteX2" fmla="*/ 542 w 3145"/>
                <a:gd name="connsiteY2" fmla="*/ 25996 h 26085"/>
                <a:gd name="connsiteX3" fmla="*/ 0 w 3145"/>
                <a:gd name="connsiteY3" fmla="*/ 24913 h 26085"/>
                <a:gd name="connsiteX4" fmla="*/ 0 w 3145"/>
                <a:gd name="connsiteY4" fmla="*/ 1204 h 26085"/>
                <a:gd name="connsiteX5" fmla="*/ 542 w 3145"/>
                <a:gd name="connsiteY5" fmla="*/ 122 h 26085"/>
                <a:gd name="connsiteX6" fmla="*/ 1627 w 3145"/>
                <a:gd name="connsiteY6" fmla="*/ 122 h 26085"/>
                <a:gd name="connsiteX7" fmla="*/ 3145 w 3145"/>
                <a:gd name="connsiteY7" fmla="*/ 1637 h 26085"/>
                <a:gd name="connsiteX8" fmla="*/ 3145 w 3145"/>
                <a:gd name="connsiteY8" fmla="*/ 25346 h 26085"/>
                <a:gd name="connsiteX9" fmla="*/ 2712 w 3145"/>
                <a:gd name="connsiteY9" fmla="*/ 25996 h 26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45" h="26085">
                  <a:moveTo>
                    <a:pt x="2712" y="25996"/>
                  </a:moveTo>
                  <a:cubicBezTo>
                    <a:pt x="2353" y="26093"/>
                    <a:pt x="1985" y="26093"/>
                    <a:pt x="1627" y="25996"/>
                  </a:cubicBezTo>
                  <a:cubicBezTo>
                    <a:pt x="1280" y="26115"/>
                    <a:pt x="890" y="26115"/>
                    <a:pt x="542" y="25996"/>
                  </a:cubicBezTo>
                  <a:cubicBezTo>
                    <a:pt x="217" y="25725"/>
                    <a:pt x="22" y="25335"/>
                    <a:pt x="0" y="24913"/>
                  </a:cubicBezTo>
                  <a:lnTo>
                    <a:pt x="0" y="1204"/>
                  </a:lnTo>
                  <a:cubicBezTo>
                    <a:pt x="22" y="782"/>
                    <a:pt x="217" y="392"/>
                    <a:pt x="542" y="122"/>
                  </a:cubicBezTo>
                  <a:cubicBezTo>
                    <a:pt x="890" y="-41"/>
                    <a:pt x="1280" y="-41"/>
                    <a:pt x="1627" y="122"/>
                  </a:cubicBezTo>
                  <a:cubicBezTo>
                    <a:pt x="2462" y="122"/>
                    <a:pt x="3145" y="804"/>
                    <a:pt x="3145" y="1637"/>
                  </a:cubicBezTo>
                  <a:lnTo>
                    <a:pt x="3145" y="25346"/>
                  </a:lnTo>
                  <a:cubicBezTo>
                    <a:pt x="3070" y="25595"/>
                    <a:pt x="2917" y="25823"/>
                    <a:pt x="2712" y="25996"/>
                  </a:cubicBezTo>
                  <a:close/>
                </a:path>
              </a:pathLst>
            </a:custGeom>
            <a:solidFill>
              <a:srgbClr val="FF420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" name="Freeform 163">
              <a:extLst>
                <a:ext uri="{FF2B5EF4-FFF2-40B4-BE49-F238E27FC236}">
                  <a16:creationId xmlns:a16="http://schemas.microsoft.com/office/drawing/2014/main" id="{2D0999AE-EAE7-034F-B094-91BD81B0CE1C}"/>
                </a:ext>
              </a:extLst>
            </p:cNvPr>
            <p:cNvSpPr/>
            <p:nvPr/>
          </p:nvSpPr>
          <p:spPr>
            <a:xfrm>
              <a:off x="8947167" y="5320366"/>
              <a:ext cx="13752" cy="12336"/>
            </a:xfrm>
            <a:custGeom>
              <a:avLst/>
              <a:gdLst>
                <a:gd name="connsiteX0" fmla="*/ 13748 w 13752"/>
                <a:gd name="connsiteY0" fmla="*/ 1713 h 12336"/>
                <a:gd name="connsiteX1" fmla="*/ 12348 w 13752"/>
                <a:gd name="connsiteY1" fmla="*/ 89 h 12336"/>
                <a:gd name="connsiteX2" fmla="*/ 12120 w 13752"/>
                <a:gd name="connsiteY2" fmla="*/ 89 h 12336"/>
                <a:gd name="connsiteX3" fmla="*/ 1274 w 13752"/>
                <a:gd name="connsiteY3" fmla="*/ 89 h 12336"/>
                <a:gd name="connsiteX4" fmla="*/ 81 w 13752"/>
                <a:gd name="connsiteY4" fmla="*/ 89 h 12336"/>
                <a:gd name="connsiteX5" fmla="*/ 81 w 13752"/>
                <a:gd name="connsiteY5" fmla="*/ 1280 h 12336"/>
                <a:gd name="connsiteX6" fmla="*/ 81 w 13752"/>
                <a:gd name="connsiteY6" fmla="*/ 2363 h 12336"/>
                <a:gd name="connsiteX7" fmla="*/ 1274 w 13752"/>
                <a:gd name="connsiteY7" fmla="*/ 2363 h 12336"/>
                <a:gd name="connsiteX8" fmla="*/ 10385 w 13752"/>
                <a:gd name="connsiteY8" fmla="*/ 2363 h 12336"/>
                <a:gd name="connsiteX9" fmla="*/ 10385 w 13752"/>
                <a:gd name="connsiteY9" fmla="*/ 11132 h 12336"/>
                <a:gd name="connsiteX10" fmla="*/ 10385 w 13752"/>
                <a:gd name="connsiteY10" fmla="*/ 12214 h 12336"/>
                <a:gd name="connsiteX11" fmla="*/ 11470 w 13752"/>
                <a:gd name="connsiteY11" fmla="*/ 12214 h 12336"/>
                <a:gd name="connsiteX12" fmla="*/ 12663 w 13752"/>
                <a:gd name="connsiteY12" fmla="*/ 12214 h 12336"/>
                <a:gd name="connsiteX13" fmla="*/ 12663 w 13752"/>
                <a:gd name="connsiteY13" fmla="*/ 11132 h 12336"/>
                <a:gd name="connsiteX14" fmla="*/ 12663 w 13752"/>
                <a:gd name="connsiteY14" fmla="*/ 847 h 12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3752" h="12336">
                  <a:moveTo>
                    <a:pt x="13748" y="1713"/>
                  </a:moveTo>
                  <a:cubicBezTo>
                    <a:pt x="13813" y="880"/>
                    <a:pt x="13184" y="154"/>
                    <a:pt x="12348" y="89"/>
                  </a:cubicBezTo>
                  <a:cubicBezTo>
                    <a:pt x="12272" y="79"/>
                    <a:pt x="12197" y="79"/>
                    <a:pt x="12120" y="89"/>
                  </a:cubicBezTo>
                  <a:lnTo>
                    <a:pt x="1274" y="89"/>
                  </a:lnTo>
                  <a:cubicBezTo>
                    <a:pt x="884" y="-30"/>
                    <a:pt x="472" y="-30"/>
                    <a:pt x="81" y="89"/>
                  </a:cubicBezTo>
                  <a:cubicBezTo>
                    <a:pt x="-27" y="479"/>
                    <a:pt x="-27" y="890"/>
                    <a:pt x="81" y="1280"/>
                  </a:cubicBezTo>
                  <a:cubicBezTo>
                    <a:pt x="-17" y="1637"/>
                    <a:pt x="-17" y="2006"/>
                    <a:pt x="81" y="2363"/>
                  </a:cubicBezTo>
                  <a:cubicBezTo>
                    <a:pt x="461" y="2525"/>
                    <a:pt x="895" y="2525"/>
                    <a:pt x="1274" y="2363"/>
                  </a:cubicBezTo>
                  <a:lnTo>
                    <a:pt x="10385" y="2363"/>
                  </a:lnTo>
                  <a:lnTo>
                    <a:pt x="10385" y="11132"/>
                  </a:lnTo>
                  <a:cubicBezTo>
                    <a:pt x="10287" y="11489"/>
                    <a:pt x="10287" y="11857"/>
                    <a:pt x="10385" y="12214"/>
                  </a:cubicBezTo>
                  <a:cubicBezTo>
                    <a:pt x="10732" y="12355"/>
                    <a:pt x="11123" y="12355"/>
                    <a:pt x="11470" y="12214"/>
                  </a:cubicBezTo>
                  <a:cubicBezTo>
                    <a:pt x="11849" y="12377"/>
                    <a:pt x="12283" y="12377"/>
                    <a:pt x="12663" y="12214"/>
                  </a:cubicBezTo>
                  <a:cubicBezTo>
                    <a:pt x="12761" y="11857"/>
                    <a:pt x="12761" y="11489"/>
                    <a:pt x="12663" y="11132"/>
                  </a:cubicBezTo>
                  <a:lnTo>
                    <a:pt x="12663" y="847"/>
                  </a:lnTo>
                  <a:close/>
                </a:path>
              </a:pathLst>
            </a:custGeom>
            <a:solidFill>
              <a:srgbClr val="FF420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" name="Freeform 164">
              <a:extLst>
                <a:ext uri="{FF2B5EF4-FFF2-40B4-BE49-F238E27FC236}">
                  <a16:creationId xmlns:a16="http://schemas.microsoft.com/office/drawing/2014/main" id="{0CAFD994-C5E0-FB4A-9218-37EFF932C371}"/>
                </a:ext>
              </a:extLst>
            </p:cNvPr>
            <p:cNvSpPr/>
            <p:nvPr/>
          </p:nvSpPr>
          <p:spPr>
            <a:xfrm>
              <a:off x="8959062" y="5332678"/>
              <a:ext cx="24566" cy="27399"/>
            </a:xfrm>
            <a:custGeom>
              <a:avLst/>
              <a:gdLst>
                <a:gd name="connsiteX0" fmla="*/ 23870 w 24566"/>
                <a:gd name="connsiteY0" fmla="*/ 13651 h 27399"/>
                <a:gd name="connsiteX1" fmla="*/ 22785 w 24566"/>
                <a:gd name="connsiteY1" fmla="*/ 13651 h 27399"/>
                <a:gd name="connsiteX2" fmla="*/ 2937 w 24566"/>
                <a:gd name="connsiteY2" fmla="*/ 13651 h 27399"/>
                <a:gd name="connsiteX3" fmla="*/ 4130 w 24566"/>
                <a:gd name="connsiteY3" fmla="*/ 19172 h 27399"/>
                <a:gd name="connsiteX4" fmla="*/ 7818 w 24566"/>
                <a:gd name="connsiteY4" fmla="*/ 23070 h 27399"/>
                <a:gd name="connsiteX5" fmla="*/ 13349 w 24566"/>
                <a:gd name="connsiteY5" fmla="*/ 24477 h 27399"/>
                <a:gd name="connsiteX6" fmla="*/ 20833 w 24566"/>
                <a:gd name="connsiteY6" fmla="*/ 20796 h 27399"/>
                <a:gd name="connsiteX7" fmla="*/ 21917 w 24566"/>
                <a:gd name="connsiteY7" fmla="*/ 20796 h 27399"/>
                <a:gd name="connsiteX8" fmla="*/ 22894 w 24566"/>
                <a:gd name="connsiteY8" fmla="*/ 20796 h 27399"/>
                <a:gd name="connsiteX9" fmla="*/ 22894 w 24566"/>
                <a:gd name="connsiteY9" fmla="*/ 21662 h 27399"/>
                <a:gd name="connsiteX10" fmla="*/ 22894 w 24566"/>
                <a:gd name="connsiteY10" fmla="*/ 22745 h 27399"/>
                <a:gd name="connsiteX11" fmla="*/ 18772 w 24566"/>
                <a:gd name="connsiteY11" fmla="*/ 26101 h 27399"/>
                <a:gd name="connsiteX12" fmla="*/ 13457 w 24566"/>
                <a:gd name="connsiteY12" fmla="*/ 27400 h 27399"/>
                <a:gd name="connsiteX13" fmla="*/ 6408 w 24566"/>
                <a:gd name="connsiteY13" fmla="*/ 25668 h 27399"/>
                <a:gd name="connsiteX14" fmla="*/ 1744 w 24566"/>
                <a:gd name="connsiteY14" fmla="*/ 20905 h 27399"/>
                <a:gd name="connsiteX15" fmla="*/ 8 w 24566"/>
                <a:gd name="connsiteY15" fmla="*/ 13868 h 27399"/>
                <a:gd name="connsiteX16" fmla="*/ 1744 w 24566"/>
                <a:gd name="connsiteY16" fmla="*/ 6506 h 27399"/>
                <a:gd name="connsiteX17" fmla="*/ 12590 w 24566"/>
                <a:gd name="connsiteY17" fmla="*/ 10 h 27399"/>
                <a:gd name="connsiteX18" fmla="*/ 18447 w 24566"/>
                <a:gd name="connsiteY18" fmla="*/ 1418 h 27399"/>
                <a:gd name="connsiteX19" fmla="*/ 22785 w 24566"/>
                <a:gd name="connsiteY19" fmla="*/ 5640 h 27399"/>
                <a:gd name="connsiteX20" fmla="*/ 24520 w 24566"/>
                <a:gd name="connsiteY20" fmla="*/ 12244 h 27399"/>
                <a:gd name="connsiteX21" fmla="*/ 23870 w 24566"/>
                <a:gd name="connsiteY21" fmla="*/ 13651 h 27399"/>
                <a:gd name="connsiteX22" fmla="*/ 6841 w 24566"/>
                <a:gd name="connsiteY22" fmla="*/ 5423 h 27399"/>
                <a:gd name="connsiteX23" fmla="*/ 3588 w 24566"/>
                <a:gd name="connsiteY23" fmla="*/ 11378 h 27399"/>
                <a:gd name="connsiteX24" fmla="*/ 21158 w 24566"/>
                <a:gd name="connsiteY24" fmla="*/ 11378 h 27399"/>
                <a:gd name="connsiteX25" fmla="*/ 21158 w 24566"/>
                <a:gd name="connsiteY25" fmla="*/ 11378 h 27399"/>
                <a:gd name="connsiteX26" fmla="*/ 19640 w 24566"/>
                <a:gd name="connsiteY26" fmla="*/ 7372 h 27399"/>
                <a:gd name="connsiteX27" fmla="*/ 16386 w 24566"/>
                <a:gd name="connsiteY27" fmla="*/ 4666 h 27399"/>
                <a:gd name="connsiteX28" fmla="*/ 12373 w 24566"/>
                <a:gd name="connsiteY28" fmla="*/ 3800 h 27399"/>
                <a:gd name="connsiteX29" fmla="*/ 6841 w 24566"/>
                <a:gd name="connsiteY29" fmla="*/ 5423 h 2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4566" h="27399">
                  <a:moveTo>
                    <a:pt x="23870" y="13651"/>
                  </a:moveTo>
                  <a:cubicBezTo>
                    <a:pt x="23523" y="13792"/>
                    <a:pt x="23132" y="13792"/>
                    <a:pt x="22785" y="13651"/>
                  </a:cubicBezTo>
                  <a:lnTo>
                    <a:pt x="2937" y="13651"/>
                  </a:lnTo>
                  <a:cubicBezTo>
                    <a:pt x="2915" y="15556"/>
                    <a:pt x="3327" y="17440"/>
                    <a:pt x="4130" y="19172"/>
                  </a:cubicBezTo>
                  <a:cubicBezTo>
                    <a:pt x="4965" y="20785"/>
                    <a:pt x="6245" y="22139"/>
                    <a:pt x="7818" y="23070"/>
                  </a:cubicBezTo>
                  <a:cubicBezTo>
                    <a:pt x="9488" y="24066"/>
                    <a:pt x="11408" y="24553"/>
                    <a:pt x="13349" y="24477"/>
                  </a:cubicBezTo>
                  <a:cubicBezTo>
                    <a:pt x="16277" y="24445"/>
                    <a:pt x="19021" y="23091"/>
                    <a:pt x="20833" y="20796"/>
                  </a:cubicBezTo>
                  <a:cubicBezTo>
                    <a:pt x="21180" y="20677"/>
                    <a:pt x="21571" y="20677"/>
                    <a:pt x="21917" y="20796"/>
                  </a:cubicBezTo>
                  <a:cubicBezTo>
                    <a:pt x="22232" y="20666"/>
                    <a:pt x="22579" y="20666"/>
                    <a:pt x="22894" y="20796"/>
                  </a:cubicBezTo>
                  <a:cubicBezTo>
                    <a:pt x="22991" y="21078"/>
                    <a:pt x="22991" y="21381"/>
                    <a:pt x="22894" y="21662"/>
                  </a:cubicBezTo>
                  <a:cubicBezTo>
                    <a:pt x="23024" y="22009"/>
                    <a:pt x="23024" y="22399"/>
                    <a:pt x="22894" y="22745"/>
                  </a:cubicBezTo>
                  <a:cubicBezTo>
                    <a:pt x="21776" y="24141"/>
                    <a:pt x="20366" y="25289"/>
                    <a:pt x="18772" y="26101"/>
                  </a:cubicBezTo>
                  <a:cubicBezTo>
                    <a:pt x="17135" y="26945"/>
                    <a:pt x="15312" y="27400"/>
                    <a:pt x="13457" y="27400"/>
                  </a:cubicBezTo>
                  <a:cubicBezTo>
                    <a:pt x="11007" y="27400"/>
                    <a:pt x="8577" y="26805"/>
                    <a:pt x="6408" y="25668"/>
                  </a:cubicBezTo>
                  <a:cubicBezTo>
                    <a:pt x="4444" y="24531"/>
                    <a:pt x="2828" y="22886"/>
                    <a:pt x="1744" y="20905"/>
                  </a:cubicBezTo>
                  <a:cubicBezTo>
                    <a:pt x="551" y="18750"/>
                    <a:pt x="-46" y="16325"/>
                    <a:pt x="8" y="13868"/>
                  </a:cubicBezTo>
                  <a:cubicBezTo>
                    <a:pt x="-79" y="11302"/>
                    <a:pt x="529" y="8769"/>
                    <a:pt x="1744" y="6506"/>
                  </a:cubicBezTo>
                  <a:cubicBezTo>
                    <a:pt x="3729" y="2371"/>
                    <a:pt x="8002" y="-184"/>
                    <a:pt x="12590" y="10"/>
                  </a:cubicBezTo>
                  <a:cubicBezTo>
                    <a:pt x="14629" y="-11"/>
                    <a:pt x="16646" y="465"/>
                    <a:pt x="18447" y="1418"/>
                  </a:cubicBezTo>
                  <a:cubicBezTo>
                    <a:pt x="20247" y="2414"/>
                    <a:pt x="21744" y="3876"/>
                    <a:pt x="22785" y="5640"/>
                  </a:cubicBezTo>
                  <a:cubicBezTo>
                    <a:pt x="24000" y="7621"/>
                    <a:pt x="24607" y="9916"/>
                    <a:pt x="24520" y="12244"/>
                  </a:cubicBezTo>
                  <a:cubicBezTo>
                    <a:pt x="24683" y="12807"/>
                    <a:pt x="24401" y="13402"/>
                    <a:pt x="23870" y="13651"/>
                  </a:cubicBezTo>
                  <a:close/>
                  <a:moveTo>
                    <a:pt x="6841" y="5423"/>
                  </a:moveTo>
                  <a:cubicBezTo>
                    <a:pt x="5074" y="6950"/>
                    <a:pt x="3924" y="9072"/>
                    <a:pt x="3588" y="11378"/>
                  </a:cubicBezTo>
                  <a:lnTo>
                    <a:pt x="21158" y="11378"/>
                  </a:lnTo>
                  <a:lnTo>
                    <a:pt x="21158" y="11378"/>
                  </a:lnTo>
                  <a:cubicBezTo>
                    <a:pt x="21017" y="9927"/>
                    <a:pt x="20497" y="8552"/>
                    <a:pt x="19640" y="7372"/>
                  </a:cubicBezTo>
                  <a:cubicBezTo>
                    <a:pt x="18794" y="6214"/>
                    <a:pt x="17677" y="5293"/>
                    <a:pt x="16386" y="4666"/>
                  </a:cubicBezTo>
                  <a:cubicBezTo>
                    <a:pt x="15117" y="4124"/>
                    <a:pt x="13750" y="3832"/>
                    <a:pt x="12373" y="3800"/>
                  </a:cubicBezTo>
                  <a:cubicBezTo>
                    <a:pt x="10399" y="3691"/>
                    <a:pt x="8447" y="4265"/>
                    <a:pt x="6841" y="5423"/>
                  </a:cubicBezTo>
                  <a:close/>
                </a:path>
              </a:pathLst>
            </a:custGeom>
            <a:solidFill>
              <a:srgbClr val="00000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" name="Freeform 165">
              <a:extLst>
                <a:ext uri="{FF2B5EF4-FFF2-40B4-BE49-F238E27FC236}">
                  <a16:creationId xmlns:a16="http://schemas.microsoft.com/office/drawing/2014/main" id="{BAEB6B12-9FEC-7244-9334-C7CBF1561F05}"/>
                </a:ext>
              </a:extLst>
            </p:cNvPr>
            <p:cNvSpPr/>
            <p:nvPr/>
          </p:nvSpPr>
          <p:spPr>
            <a:xfrm>
              <a:off x="8990977" y="5333112"/>
              <a:ext cx="20585" cy="26947"/>
            </a:xfrm>
            <a:custGeom>
              <a:avLst/>
              <a:gdLst>
                <a:gd name="connsiteX0" fmla="*/ 18202 w 20585"/>
                <a:gd name="connsiteY0" fmla="*/ 2716 h 26947"/>
                <a:gd name="connsiteX1" fmla="*/ 20480 w 20585"/>
                <a:gd name="connsiteY1" fmla="*/ 10186 h 26947"/>
                <a:gd name="connsiteX2" fmla="*/ 20480 w 20585"/>
                <a:gd name="connsiteY2" fmla="*/ 25775 h 26947"/>
                <a:gd name="connsiteX3" fmla="*/ 20480 w 20585"/>
                <a:gd name="connsiteY3" fmla="*/ 26858 h 26947"/>
                <a:gd name="connsiteX4" fmla="*/ 19396 w 20585"/>
                <a:gd name="connsiteY4" fmla="*/ 26858 h 26947"/>
                <a:gd name="connsiteX5" fmla="*/ 18311 w 20585"/>
                <a:gd name="connsiteY5" fmla="*/ 26858 h 26947"/>
                <a:gd name="connsiteX6" fmla="*/ 18311 w 20585"/>
                <a:gd name="connsiteY6" fmla="*/ 25775 h 26947"/>
                <a:gd name="connsiteX7" fmla="*/ 18311 w 20585"/>
                <a:gd name="connsiteY7" fmla="*/ 10727 h 26947"/>
                <a:gd name="connsiteX8" fmla="*/ 16576 w 20585"/>
                <a:gd name="connsiteY8" fmla="*/ 5314 h 26947"/>
                <a:gd name="connsiteX9" fmla="*/ 11369 w 20585"/>
                <a:gd name="connsiteY9" fmla="*/ 3258 h 26947"/>
                <a:gd name="connsiteX10" fmla="*/ 7248 w 20585"/>
                <a:gd name="connsiteY10" fmla="*/ 4340 h 26947"/>
                <a:gd name="connsiteX11" fmla="*/ 3994 w 20585"/>
                <a:gd name="connsiteY11" fmla="*/ 7046 h 26947"/>
                <a:gd name="connsiteX12" fmla="*/ 2801 w 20585"/>
                <a:gd name="connsiteY12" fmla="*/ 10727 h 26947"/>
                <a:gd name="connsiteX13" fmla="*/ 2801 w 20585"/>
                <a:gd name="connsiteY13" fmla="*/ 25775 h 26947"/>
                <a:gd name="connsiteX14" fmla="*/ 2801 w 20585"/>
                <a:gd name="connsiteY14" fmla="*/ 26858 h 26947"/>
                <a:gd name="connsiteX15" fmla="*/ 1608 w 20585"/>
                <a:gd name="connsiteY15" fmla="*/ 26858 h 26947"/>
                <a:gd name="connsiteX16" fmla="*/ 89 w 20585"/>
                <a:gd name="connsiteY16" fmla="*/ 25342 h 26947"/>
                <a:gd name="connsiteX17" fmla="*/ 89 w 20585"/>
                <a:gd name="connsiteY17" fmla="*/ 2283 h 26947"/>
                <a:gd name="connsiteX18" fmla="*/ 89 w 20585"/>
                <a:gd name="connsiteY18" fmla="*/ 1201 h 26947"/>
                <a:gd name="connsiteX19" fmla="*/ 1174 w 20585"/>
                <a:gd name="connsiteY19" fmla="*/ 1201 h 26947"/>
                <a:gd name="connsiteX20" fmla="*/ 2367 w 20585"/>
                <a:gd name="connsiteY20" fmla="*/ 1201 h 26947"/>
                <a:gd name="connsiteX21" fmla="*/ 2367 w 20585"/>
                <a:gd name="connsiteY21" fmla="*/ 2283 h 26947"/>
                <a:gd name="connsiteX22" fmla="*/ 2367 w 20585"/>
                <a:gd name="connsiteY22" fmla="*/ 5098 h 26947"/>
                <a:gd name="connsiteX23" fmla="*/ 6272 w 20585"/>
                <a:gd name="connsiteY23" fmla="*/ 1417 h 26947"/>
                <a:gd name="connsiteX24" fmla="*/ 11695 w 20585"/>
                <a:gd name="connsiteY24" fmla="*/ 10 h 26947"/>
                <a:gd name="connsiteX25" fmla="*/ 18202 w 20585"/>
                <a:gd name="connsiteY25" fmla="*/ 2716 h 26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585" h="26947">
                  <a:moveTo>
                    <a:pt x="18202" y="2716"/>
                  </a:moveTo>
                  <a:cubicBezTo>
                    <a:pt x="19786" y="4870"/>
                    <a:pt x="20589" y="7512"/>
                    <a:pt x="20480" y="10186"/>
                  </a:cubicBezTo>
                  <a:lnTo>
                    <a:pt x="20480" y="25775"/>
                  </a:lnTo>
                  <a:cubicBezTo>
                    <a:pt x="20621" y="26122"/>
                    <a:pt x="20621" y="26511"/>
                    <a:pt x="20480" y="26858"/>
                  </a:cubicBezTo>
                  <a:cubicBezTo>
                    <a:pt x="20122" y="26955"/>
                    <a:pt x="19753" y="26955"/>
                    <a:pt x="19396" y="26858"/>
                  </a:cubicBezTo>
                  <a:cubicBezTo>
                    <a:pt x="19048" y="26977"/>
                    <a:pt x="18658" y="26977"/>
                    <a:pt x="18311" y="26858"/>
                  </a:cubicBezTo>
                  <a:cubicBezTo>
                    <a:pt x="18170" y="26511"/>
                    <a:pt x="18170" y="26122"/>
                    <a:pt x="18311" y="25775"/>
                  </a:cubicBezTo>
                  <a:lnTo>
                    <a:pt x="18311" y="10727"/>
                  </a:lnTo>
                  <a:cubicBezTo>
                    <a:pt x="18354" y="8779"/>
                    <a:pt x="17736" y="6873"/>
                    <a:pt x="16576" y="5314"/>
                  </a:cubicBezTo>
                  <a:cubicBezTo>
                    <a:pt x="15252" y="3864"/>
                    <a:pt x="13333" y="3106"/>
                    <a:pt x="11369" y="3258"/>
                  </a:cubicBezTo>
                  <a:cubicBezTo>
                    <a:pt x="9927" y="3247"/>
                    <a:pt x="8506" y="3615"/>
                    <a:pt x="7248" y="4340"/>
                  </a:cubicBezTo>
                  <a:cubicBezTo>
                    <a:pt x="5957" y="4968"/>
                    <a:pt x="4840" y="5888"/>
                    <a:pt x="3994" y="7046"/>
                  </a:cubicBezTo>
                  <a:cubicBezTo>
                    <a:pt x="3202" y="8108"/>
                    <a:pt x="2779" y="9407"/>
                    <a:pt x="2801" y="10727"/>
                  </a:cubicBezTo>
                  <a:lnTo>
                    <a:pt x="2801" y="25775"/>
                  </a:lnTo>
                  <a:cubicBezTo>
                    <a:pt x="2899" y="26132"/>
                    <a:pt x="2899" y="26500"/>
                    <a:pt x="2801" y="26858"/>
                  </a:cubicBezTo>
                  <a:cubicBezTo>
                    <a:pt x="2410" y="26977"/>
                    <a:pt x="1999" y="26977"/>
                    <a:pt x="1608" y="26858"/>
                  </a:cubicBezTo>
                  <a:cubicBezTo>
                    <a:pt x="773" y="26858"/>
                    <a:pt x="89" y="26176"/>
                    <a:pt x="89" y="25342"/>
                  </a:cubicBezTo>
                  <a:lnTo>
                    <a:pt x="89" y="2283"/>
                  </a:lnTo>
                  <a:cubicBezTo>
                    <a:pt x="-30" y="1937"/>
                    <a:pt x="-30" y="1547"/>
                    <a:pt x="89" y="1201"/>
                  </a:cubicBezTo>
                  <a:cubicBezTo>
                    <a:pt x="436" y="1060"/>
                    <a:pt x="827" y="1060"/>
                    <a:pt x="1174" y="1201"/>
                  </a:cubicBezTo>
                  <a:cubicBezTo>
                    <a:pt x="1554" y="1038"/>
                    <a:pt x="1987" y="1038"/>
                    <a:pt x="2367" y="1201"/>
                  </a:cubicBezTo>
                  <a:cubicBezTo>
                    <a:pt x="2486" y="1547"/>
                    <a:pt x="2486" y="1937"/>
                    <a:pt x="2367" y="2283"/>
                  </a:cubicBezTo>
                  <a:lnTo>
                    <a:pt x="2367" y="5098"/>
                  </a:lnTo>
                  <a:cubicBezTo>
                    <a:pt x="3300" y="3539"/>
                    <a:pt x="4656" y="2261"/>
                    <a:pt x="6272" y="1417"/>
                  </a:cubicBezTo>
                  <a:cubicBezTo>
                    <a:pt x="7920" y="486"/>
                    <a:pt x="9797" y="-1"/>
                    <a:pt x="11695" y="10"/>
                  </a:cubicBezTo>
                  <a:cubicBezTo>
                    <a:pt x="14157" y="-109"/>
                    <a:pt x="16554" y="886"/>
                    <a:pt x="18202" y="2716"/>
                  </a:cubicBezTo>
                  <a:close/>
                </a:path>
              </a:pathLst>
            </a:custGeom>
            <a:solidFill>
              <a:srgbClr val="00000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" name="Freeform 166">
              <a:extLst>
                <a:ext uri="{FF2B5EF4-FFF2-40B4-BE49-F238E27FC236}">
                  <a16:creationId xmlns:a16="http://schemas.microsoft.com/office/drawing/2014/main" id="{92A99704-4A2D-9741-96C8-2294C55C214C}"/>
                </a:ext>
              </a:extLst>
            </p:cNvPr>
            <p:cNvSpPr/>
            <p:nvPr/>
          </p:nvSpPr>
          <p:spPr>
            <a:xfrm>
              <a:off x="9015807" y="5327836"/>
              <a:ext cx="13544" cy="32656"/>
            </a:xfrm>
            <a:custGeom>
              <a:avLst/>
              <a:gdLst>
                <a:gd name="connsiteX0" fmla="*/ 8883 w 13544"/>
                <a:gd name="connsiteY0" fmla="*/ 9400 h 32656"/>
                <a:gd name="connsiteX1" fmla="*/ 8883 w 13544"/>
                <a:gd name="connsiteY1" fmla="*/ 26613 h 32656"/>
                <a:gd name="connsiteX2" fmla="*/ 9642 w 13544"/>
                <a:gd name="connsiteY2" fmla="*/ 29211 h 32656"/>
                <a:gd name="connsiteX3" fmla="*/ 11161 w 13544"/>
                <a:gd name="connsiteY3" fmla="*/ 29969 h 32656"/>
                <a:gd name="connsiteX4" fmla="*/ 11920 w 13544"/>
                <a:gd name="connsiteY4" fmla="*/ 29969 h 32656"/>
                <a:gd name="connsiteX5" fmla="*/ 12679 w 13544"/>
                <a:gd name="connsiteY5" fmla="*/ 29969 h 32656"/>
                <a:gd name="connsiteX6" fmla="*/ 13438 w 13544"/>
                <a:gd name="connsiteY6" fmla="*/ 29969 h 32656"/>
                <a:gd name="connsiteX7" fmla="*/ 13438 w 13544"/>
                <a:gd name="connsiteY7" fmla="*/ 30835 h 32656"/>
                <a:gd name="connsiteX8" fmla="*/ 12571 w 13544"/>
                <a:gd name="connsiteY8" fmla="*/ 32026 h 32656"/>
                <a:gd name="connsiteX9" fmla="*/ 10618 w 13544"/>
                <a:gd name="connsiteY9" fmla="*/ 32567 h 32656"/>
                <a:gd name="connsiteX10" fmla="*/ 8449 w 13544"/>
                <a:gd name="connsiteY10" fmla="*/ 32567 h 32656"/>
                <a:gd name="connsiteX11" fmla="*/ 6388 w 13544"/>
                <a:gd name="connsiteY11" fmla="*/ 31051 h 32656"/>
                <a:gd name="connsiteX12" fmla="*/ 5412 w 13544"/>
                <a:gd name="connsiteY12" fmla="*/ 26938 h 32656"/>
                <a:gd name="connsiteX13" fmla="*/ 5412 w 13544"/>
                <a:gd name="connsiteY13" fmla="*/ 9400 h 32656"/>
                <a:gd name="connsiteX14" fmla="*/ 1616 w 13544"/>
                <a:gd name="connsiteY14" fmla="*/ 9400 h 32656"/>
                <a:gd name="connsiteX15" fmla="*/ 97 w 13544"/>
                <a:gd name="connsiteY15" fmla="*/ 7884 h 32656"/>
                <a:gd name="connsiteX16" fmla="*/ 97 w 13544"/>
                <a:gd name="connsiteY16" fmla="*/ 6909 h 32656"/>
                <a:gd name="connsiteX17" fmla="*/ 1182 w 13544"/>
                <a:gd name="connsiteY17" fmla="*/ 6909 h 32656"/>
                <a:gd name="connsiteX18" fmla="*/ 4978 w 13544"/>
                <a:gd name="connsiteY18" fmla="*/ 6909 h 32656"/>
                <a:gd name="connsiteX19" fmla="*/ 4978 w 13544"/>
                <a:gd name="connsiteY19" fmla="*/ 1172 h 32656"/>
                <a:gd name="connsiteX20" fmla="*/ 4978 w 13544"/>
                <a:gd name="connsiteY20" fmla="*/ 89 h 32656"/>
                <a:gd name="connsiteX21" fmla="*/ 6063 w 13544"/>
                <a:gd name="connsiteY21" fmla="*/ 89 h 32656"/>
                <a:gd name="connsiteX22" fmla="*/ 7148 w 13544"/>
                <a:gd name="connsiteY22" fmla="*/ 89 h 32656"/>
                <a:gd name="connsiteX23" fmla="*/ 7148 w 13544"/>
                <a:gd name="connsiteY23" fmla="*/ 1172 h 32656"/>
                <a:gd name="connsiteX24" fmla="*/ 7148 w 13544"/>
                <a:gd name="connsiteY24" fmla="*/ 6909 h 32656"/>
                <a:gd name="connsiteX25" fmla="*/ 10618 w 13544"/>
                <a:gd name="connsiteY25" fmla="*/ 6909 h 32656"/>
                <a:gd name="connsiteX26" fmla="*/ 12137 w 13544"/>
                <a:gd name="connsiteY26" fmla="*/ 8425 h 32656"/>
                <a:gd name="connsiteX27" fmla="*/ 12137 w 13544"/>
                <a:gd name="connsiteY27" fmla="*/ 9400 h 32656"/>
                <a:gd name="connsiteX28" fmla="*/ 11052 w 13544"/>
                <a:gd name="connsiteY28" fmla="*/ 9400 h 32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3544" h="32656">
                  <a:moveTo>
                    <a:pt x="8883" y="9400"/>
                  </a:moveTo>
                  <a:lnTo>
                    <a:pt x="8883" y="26613"/>
                  </a:lnTo>
                  <a:cubicBezTo>
                    <a:pt x="8742" y="27544"/>
                    <a:pt x="9024" y="28497"/>
                    <a:pt x="9642" y="29211"/>
                  </a:cubicBezTo>
                  <a:cubicBezTo>
                    <a:pt x="9968" y="29731"/>
                    <a:pt x="10554" y="30023"/>
                    <a:pt x="11161" y="29969"/>
                  </a:cubicBezTo>
                  <a:lnTo>
                    <a:pt x="11920" y="29969"/>
                  </a:lnTo>
                  <a:lnTo>
                    <a:pt x="12679" y="29969"/>
                  </a:lnTo>
                  <a:cubicBezTo>
                    <a:pt x="12917" y="29850"/>
                    <a:pt x="13199" y="29850"/>
                    <a:pt x="13438" y="29969"/>
                  </a:cubicBezTo>
                  <a:cubicBezTo>
                    <a:pt x="13579" y="30239"/>
                    <a:pt x="13579" y="30564"/>
                    <a:pt x="13438" y="30835"/>
                  </a:cubicBezTo>
                  <a:cubicBezTo>
                    <a:pt x="13438" y="31376"/>
                    <a:pt x="13438" y="31701"/>
                    <a:pt x="12571" y="32026"/>
                  </a:cubicBezTo>
                  <a:cubicBezTo>
                    <a:pt x="11985" y="32383"/>
                    <a:pt x="11302" y="32567"/>
                    <a:pt x="10618" y="32567"/>
                  </a:cubicBezTo>
                  <a:cubicBezTo>
                    <a:pt x="9903" y="32686"/>
                    <a:pt x="9165" y="32686"/>
                    <a:pt x="8449" y="32567"/>
                  </a:cubicBezTo>
                  <a:cubicBezTo>
                    <a:pt x="7592" y="32350"/>
                    <a:pt x="6844" y="31809"/>
                    <a:pt x="6388" y="31051"/>
                  </a:cubicBezTo>
                  <a:cubicBezTo>
                    <a:pt x="5629" y="29817"/>
                    <a:pt x="5282" y="28377"/>
                    <a:pt x="5412" y="26938"/>
                  </a:cubicBezTo>
                  <a:lnTo>
                    <a:pt x="5412" y="9400"/>
                  </a:lnTo>
                  <a:lnTo>
                    <a:pt x="1616" y="9400"/>
                  </a:lnTo>
                  <a:cubicBezTo>
                    <a:pt x="781" y="9400"/>
                    <a:pt x="97" y="8718"/>
                    <a:pt x="97" y="7884"/>
                  </a:cubicBezTo>
                  <a:cubicBezTo>
                    <a:pt x="-32" y="7570"/>
                    <a:pt x="-32" y="7224"/>
                    <a:pt x="97" y="6909"/>
                  </a:cubicBezTo>
                  <a:cubicBezTo>
                    <a:pt x="445" y="6769"/>
                    <a:pt x="835" y="6769"/>
                    <a:pt x="1182" y="6909"/>
                  </a:cubicBezTo>
                  <a:lnTo>
                    <a:pt x="4978" y="6909"/>
                  </a:lnTo>
                  <a:lnTo>
                    <a:pt x="4978" y="1172"/>
                  </a:lnTo>
                  <a:cubicBezTo>
                    <a:pt x="4837" y="826"/>
                    <a:pt x="4837" y="436"/>
                    <a:pt x="4978" y="89"/>
                  </a:cubicBezTo>
                  <a:cubicBezTo>
                    <a:pt x="5326" y="-30"/>
                    <a:pt x="5716" y="-30"/>
                    <a:pt x="6063" y="89"/>
                  </a:cubicBezTo>
                  <a:cubicBezTo>
                    <a:pt x="6421" y="-8"/>
                    <a:pt x="6789" y="-8"/>
                    <a:pt x="7148" y="89"/>
                  </a:cubicBezTo>
                  <a:cubicBezTo>
                    <a:pt x="7289" y="436"/>
                    <a:pt x="7289" y="826"/>
                    <a:pt x="7148" y="1172"/>
                  </a:cubicBezTo>
                  <a:lnTo>
                    <a:pt x="7148" y="6909"/>
                  </a:lnTo>
                  <a:lnTo>
                    <a:pt x="10618" y="6909"/>
                  </a:lnTo>
                  <a:cubicBezTo>
                    <a:pt x="11454" y="6909"/>
                    <a:pt x="12137" y="7592"/>
                    <a:pt x="12137" y="8425"/>
                  </a:cubicBezTo>
                  <a:cubicBezTo>
                    <a:pt x="12289" y="8728"/>
                    <a:pt x="12289" y="9096"/>
                    <a:pt x="12137" y="9400"/>
                  </a:cubicBezTo>
                  <a:cubicBezTo>
                    <a:pt x="11789" y="9540"/>
                    <a:pt x="11400" y="9540"/>
                    <a:pt x="11052" y="9400"/>
                  </a:cubicBezTo>
                  <a:close/>
                </a:path>
              </a:pathLst>
            </a:custGeom>
            <a:solidFill>
              <a:srgbClr val="000000"/>
            </a:solidFill>
            <a:ln w="108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416951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9C6B6B5-2231-3B42-9AB3-D22BBDB83C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XM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80AF7F-16D6-694F-A811-E993F87E6DC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63378514-26A6-434F-8EB1-30ECF36AA9B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72" y="72563"/>
            <a:ext cx="1162346" cy="751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77416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3" name="Text Placeholder 412">
            <a:extLst>
              <a:ext uri="{FF2B5EF4-FFF2-40B4-BE49-F238E27FC236}">
                <a16:creationId xmlns:a16="http://schemas.microsoft.com/office/drawing/2014/main" id="{7CEDA562-8AC1-6742-B1FB-80B6EE468EA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Picture Placeholder 13" descr="A person sitting in front of a computer&#10;&#10;Description automatically generated">
            <a:extLst>
              <a:ext uri="{FF2B5EF4-FFF2-40B4-BE49-F238E27FC236}">
                <a16:creationId xmlns:a16="http://schemas.microsoft.com/office/drawing/2014/main" id="{FA26C249-B5BF-5A4E-A544-C836E966473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272856" y="3064162"/>
            <a:ext cx="1652651" cy="1652651"/>
          </a:xfrm>
          <a:prstGeom prst="ellipse">
            <a:avLst/>
          </a:prstGeom>
        </p:spPr>
      </p:pic>
      <p:sp>
        <p:nvSpPr>
          <p:cNvPr id="10" name="Oval 9">
            <a:extLst>
              <a:ext uri="{FF2B5EF4-FFF2-40B4-BE49-F238E27FC236}">
                <a16:creationId xmlns:a16="http://schemas.microsoft.com/office/drawing/2014/main" id="{C15430CB-C36D-8D49-868D-3C33AF159007}"/>
              </a:ext>
            </a:extLst>
          </p:cNvPr>
          <p:cNvSpPr/>
          <p:nvPr/>
        </p:nvSpPr>
        <p:spPr>
          <a:xfrm rot="16200000">
            <a:off x="1314387" y="3698537"/>
            <a:ext cx="750275" cy="774739"/>
          </a:xfrm>
          <a:prstGeom prst="ellipse">
            <a:avLst/>
          </a:prstGeom>
          <a:gradFill>
            <a:gsLst>
              <a:gs pos="48000">
                <a:schemeClr val="accent1">
                  <a:alpha val="73000"/>
                </a:schemeClr>
              </a:gs>
              <a:gs pos="99000">
                <a:schemeClr val="accent6">
                  <a:alpha val="47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DDD4D52-7062-0745-BDAC-B839C3F0432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0453" y="1087622"/>
            <a:ext cx="2933700" cy="974080"/>
          </a:xfrm>
          <a:prstGeom prst="rect">
            <a:avLst/>
          </a:prstGeom>
        </p:spPr>
      </p:pic>
      <p:grpSp>
        <p:nvGrpSpPr>
          <p:cNvPr id="2" name="Graphic 5">
            <a:extLst>
              <a:ext uri="{FF2B5EF4-FFF2-40B4-BE49-F238E27FC236}">
                <a16:creationId xmlns:a16="http://schemas.microsoft.com/office/drawing/2014/main" id="{9EF027D8-2FAC-894B-9537-84479FF2083B}"/>
              </a:ext>
            </a:extLst>
          </p:cNvPr>
          <p:cNvGrpSpPr/>
          <p:nvPr/>
        </p:nvGrpSpPr>
        <p:grpSpPr>
          <a:xfrm>
            <a:off x="3657291" y="1014265"/>
            <a:ext cx="8269386" cy="5576299"/>
            <a:chOff x="3657291" y="1014265"/>
            <a:chExt cx="8269386" cy="5576299"/>
          </a:xfrm>
          <a:solidFill>
            <a:schemeClr val="accent1"/>
          </a:solidFill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2EEC6942-DC56-B04B-9136-9A58DF2BF859}"/>
                </a:ext>
              </a:extLst>
            </p:cNvPr>
            <p:cNvSpPr/>
            <p:nvPr/>
          </p:nvSpPr>
          <p:spPr>
            <a:xfrm>
              <a:off x="3657291" y="6511370"/>
              <a:ext cx="8269386" cy="79194"/>
            </a:xfrm>
            <a:custGeom>
              <a:avLst/>
              <a:gdLst>
                <a:gd name="connsiteX0" fmla="*/ 8232782 w 8269386"/>
                <a:gd name="connsiteY0" fmla="*/ 79194 h 79194"/>
                <a:gd name="connsiteX1" fmla="*/ 38425 w 8269386"/>
                <a:gd name="connsiteY1" fmla="*/ 79194 h 79194"/>
                <a:gd name="connsiteX2" fmla="*/ 309 w 8269386"/>
                <a:gd name="connsiteY2" fmla="*/ 43074 h 79194"/>
                <a:gd name="connsiteX3" fmla="*/ 33504 w 8269386"/>
                <a:gd name="connsiteY3" fmla="*/ 260 h 79194"/>
                <a:gd name="connsiteX4" fmla="*/ 36451 w 8269386"/>
                <a:gd name="connsiteY4" fmla="*/ 0 h 79194"/>
                <a:gd name="connsiteX5" fmla="*/ 8230809 w 8269386"/>
                <a:gd name="connsiteY5" fmla="*/ 0 h 79194"/>
                <a:gd name="connsiteX6" fmla="*/ 8269372 w 8269386"/>
                <a:gd name="connsiteY6" fmla="*/ 40729 h 79194"/>
                <a:gd name="connsiteX7" fmla="*/ 8232367 w 8269386"/>
                <a:gd name="connsiteY7" fmla="*/ 79194 h 79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269386" h="79194">
                  <a:moveTo>
                    <a:pt x="8232782" y="79194"/>
                  </a:moveTo>
                  <a:lnTo>
                    <a:pt x="38425" y="79194"/>
                  </a:lnTo>
                  <a:cubicBezTo>
                    <a:pt x="18264" y="78862"/>
                    <a:pt x="1708" y="63179"/>
                    <a:pt x="309" y="43074"/>
                  </a:cubicBezTo>
                  <a:cubicBezTo>
                    <a:pt x="-2355" y="22087"/>
                    <a:pt x="12507" y="2917"/>
                    <a:pt x="33504" y="260"/>
                  </a:cubicBezTo>
                  <a:cubicBezTo>
                    <a:pt x="34483" y="135"/>
                    <a:pt x="35466" y="52"/>
                    <a:pt x="36451" y="0"/>
                  </a:cubicBezTo>
                  <a:lnTo>
                    <a:pt x="8230809" y="0"/>
                  </a:lnTo>
                  <a:cubicBezTo>
                    <a:pt x="8252713" y="602"/>
                    <a:pt x="8269974" y="18839"/>
                    <a:pt x="8269372" y="40729"/>
                  </a:cubicBezTo>
                  <a:cubicBezTo>
                    <a:pt x="8268811" y="61165"/>
                    <a:pt x="8252786" y="77824"/>
                    <a:pt x="8232367" y="79194"/>
                  </a:cubicBezTo>
                  <a:close/>
                </a:path>
              </a:pathLst>
            </a:custGeom>
            <a:solidFill>
              <a:srgbClr val="231F2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DC08B467-2D1D-A649-A5BF-A6C503E25F71}"/>
                </a:ext>
              </a:extLst>
            </p:cNvPr>
            <p:cNvSpPr/>
            <p:nvPr/>
          </p:nvSpPr>
          <p:spPr>
            <a:xfrm>
              <a:off x="8662389" y="4061434"/>
              <a:ext cx="150385" cy="376250"/>
            </a:xfrm>
            <a:custGeom>
              <a:avLst/>
              <a:gdLst>
                <a:gd name="connsiteX0" fmla="*/ 7789 w 150385"/>
                <a:gd name="connsiteY0" fmla="*/ 329855 h 376250"/>
                <a:gd name="connsiteX1" fmla="*/ 0 w 150385"/>
                <a:gd name="connsiteY1" fmla="*/ 376251 h 376250"/>
                <a:gd name="connsiteX2" fmla="*/ 150385 w 150385"/>
                <a:gd name="connsiteY2" fmla="*/ 0 h 376250"/>
                <a:gd name="connsiteX3" fmla="*/ 9243 w 150385"/>
                <a:gd name="connsiteY3" fmla="*/ 331308 h 3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0385" h="376250">
                  <a:moveTo>
                    <a:pt x="7789" y="329855"/>
                  </a:moveTo>
                  <a:cubicBezTo>
                    <a:pt x="7446" y="345611"/>
                    <a:pt x="4819" y="361242"/>
                    <a:pt x="0" y="376251"/>
                  </a:cubicBezTo>
                  <a:cubicBezTo>
                    <a:pt x="76429" y="263002"/>
                    <a:pt x="127714" y="134713"/>
                    <a:pt x="150385" y="0"/>
                  </a:cubicBezTo>
                  <a:cubicBezTo>
                    <a:pt x="120661" y="117027"/>
                    <a:pt x="73053" y="228781"/>
                    <a:pt x="9243" y="331308"/>
                  </a:cubicBezTo>
                  <a:close/>
                </a:path>
              </a:pathLst>
            </a:custGeom>
            <a:solidFill>
              <a:srgbClr val="231F2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13C996C7-42A0-AE41-8D6B-C28AAC2FA189}"/>
                </a:ext>
              </a:extLst>
            </p:cNvPr>
            <p:cNvSpPr/>
            <p:nvPr/>
          </p:nvSpPr>
          <p:spPr>
            <a:xfrm>
              <a:off x="7805772" y="3982966"/>
              <a:ext cx="107373" cy="291867"/>
            </a:xfrm>
            <a:custGeom>
              <a:avLst/>
              <a:gdLst>
                <a:gd name="connsiteX0" fmla="*/ 4881 w 107373"/>
                <a:gd name="connsiteY0" fmla="*/ 290518 h 291867"/>
                <a:gd name="connsiteX1" fmla="*/ 9659 w 107373"/>
                <a:gd name="connsiteY1" fmla="*/ 291867 h 291867"/>
                <a:gd name="connsiteX2" fmla="*/ 14540 w 107373"/>
                <a:gd name="connsiteY2" fmla="*/ 290518 h 291867"/>
                <a:gd name="connsiteX3" fmla="*/ 102507 w 107373"/>
                <a:gd name="connsiteY3" fmla="*/ 239659 h 291867"/>
                <a:gd name="connsiteX4" fmla="*/ 106142 w 107373"/>
                <a:gd name="connsiteY4" fmla="*/ 226653 h 291867"/>
                <a:gd name="connsiteX5" fmla="*/ 106038 w 107373"/>
                <a:gd name="connsiteY5" fmla="*/ 226477 h 291867"/>
                <a:gd name="connsiteX6" fmla="*/ 92849 w 107373"/>
                <a:gd name="connsiteY6" fmla="*/ 222948 h 291867"/>
                <a:gd name="connsiteX7" fmla="*/ 19317 w 107373"/>
                <a:gd name="connsiteY7" fmla="*/ 265503 h 291867"/>
                <a:gd name="connsiteX8" fmla="*/ 19317 w 107373"/>
                <a:gd name="connsiteY8" fmla="*/ 9653 h 291867"/>
                <a:gd name="connsiteX9" fmla="*/ 9659 w 107373"/>
                <a:gd name="connsiteY9" fmla="*/ 0 h 291867"/>
                <a:gd name="connsiteX10" fmla="*/ 0 w 107373"/>
                <a:gd name="connsiteY10" fmla="*/ 9653 h 291867"/>
                <a:gd name="connsiteX11" fmla="*/ 0 w 107373"/>
                <a:gd name="connsiteY11" fmla="*/ 282214 h 291867"/>
                <a:gd name="connsiteX12" fmla="*/ 4881 w 107373"/>
                <a:gd name="connsiteY12" fmla="*/ 290518 h 291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7373" h="291867">
                  <a:moveTo>
                    <a:pt x="4881" y="290518"/>
                  </a:moveTo>
                  <a:cubicBezTo>
                    <a:pt x="6315" y="291420"/>
                    <a:pt x="7966" y="291888"/>
                    <a:pt x="9659" y="291867"/>
                  </a:cubicBezTo>
                  <a:cubicBezTo>
                    <a:pt x="11383" y="291877"/>
                    <a:pt x="13065" y="291410"/>
                    <a:pt x="14540" y="290518"/>
                  </a:cubicBezTo>
                  <a:lnTo>
                    <a:pt x="102507" y="239659"/>
                  </a:lnTo>
                  <a:cubicBezTo>
                    <a:pt x="107108" y="237074"/>
                    <a:pt x="108728" y="231241"/>
                    <a:pt x="106142" y="226653"/>
                  </a:cubicBezTo>
                  <a:cubicBezTo>
                    <a:pt x="106111" y="226591"/>
                    <a:pt x="106069" y="226539"/>
                    <a:pt x="106038" y="226477"/>
                  </a:cubicBezTo>
                  <a:cubicBezTo>
                    <a:pt x="103328" y="221910"/>
                    <a:pt x="97470" y="220343"/>
                    <a:pt x="92849" y="222948"/>
                  </a:cubicBezTo>
                  <a:lnTo>
                    <a:pt x="19317" y="265503"/>
                  </a:lnTo>
                  <a:lnTo>
                    <a:pt x="19317" y="9653"/>
                  </a:lnTo>
                  <a:cubicBezTo>
                    <a:pt x="19317" y="4318"/>
                    <a:pt x="14997" y="0"/>
                    <a:pt x="9659" y="0"/>
                  </a:cubicBezTo>
                  <a:cubicBezTo>
                    <a:pt x="4320" y="0"/>
                    <a:pt x="0" y="4318"/>
                    <a:pt x="0" y="9653"/>
                  </a:cubicBezTo>
                  <a:lnTo>
                    <a:pt x="0" y="282214"/>
                  </a:lnTo>
                  <a:cubicBezTo>
                    <a:pt x="10" y="285660"/>
                    <a:pt x="1869" y="288836"/>
                    <a:pt x="4881" y="290518"/>
                  </a:cubicBezTo>
                  <a:close/>
                </a:path>
              </a:pathLst>
            </a:custGeom>
            <a:solidFill>
              <a:srgbClr val="231F2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E2DFC86F-9404-354E-A178-9A8A236177BB}"/>
                </a:ext>
              </a:extLst>
            </p:cNvPr>
            <p:cNvSpPr/>
            <p:nvPr/>
          </p:nvSpPr>
          <p:spPr>
            <a:xfrm>
              <a:off x="7710440" y="4319570"/>
              <a:ext cx="295151" cy="129116"/>
            </a:xfrm>
            <a:custGeom>
              <a:avLst/>
              <a:gdLst>
                <a:gd name="connsiteX0" fmla="*/ 271163 w 295151"/>
                <a:gd name="connsiteY0" fmla="*/ 4046 h 129116"/>
                <a:gd name="connsiteX1" fmla="*/ 237409 w 295151"/>
                <a:gd name="connsiteY1" fmla="*/ 28022 h 129116"/>
                <a:gd name="connsiteX2" fmla="*/ 159516 w 295151"/>
                <a:gd name="connsiteY2" fmla="*/ 5187 h 129116"/>
                <a:gd name="connsiteX3" fmla="*/ 68329 w 295151"/>
                <a:gd name="connsiteY3" fmla="*/ 41411 h 129116"/>
                <a:gd name="connsiteX4" fmla="*/ 21385 w 295151"/>
                <a:gd name="connsiteY4" fmla="*/ 24700 h 129116"/>
                <a:gd name="connsiteX5" fmla="*/ 1756 w 295151"/>
                <a:gd name="connsiteY5" fmla="*/ 30513 h 129116"/>
                <a:gd name="connsiteX6" fmla="*/ 7572 w 295151"/>
                <a:gd name="connsiteY6" fmla="*/ 50130 h 129116"/>
                <a:gd name="connsiteX7" fmla="*/ 59501 w 295151"/>
                <a:gd name="connsiteY7" fmla="*/ 69124 h 129116"/>
                <a:gd name="connsiteX8" fmla="*/ 159308 w 295151"/>
                <a:gd name="connsiteY8" fmla="*/ 129117 h 129116"/>
                <a:gd name="connsiteX9" fmla="*/ 259115 w 295151"/>
                <a:gd name="connsiteY9" fmla="*/ 66841 h 129116"/>
                <a:gd name="connsiteX10" fmla="*/ 255688 w 295151"/>
                <a:gd name="connsiteY10" fmla="*/ 50441 h 129116"/>
                <a:gd name="connsiteX11" fmla="*/ 290376 w 295151"/>
                <a:gd name="connsiteY11" fmla="*/ 25220 h 129116"/>
                <a:gd name="connsiteX12" fmla="*/ 291415 w 295151"/>
                <a:gd name="connsiteY12" fmla="*/ 4772 h 129116"/>
                <a:gd name="connsiteX13" fmla="*/ 270955 w 295151"/>
                <a:gd name="connsiteY13" fmla="*/ 3734 h 129116"/>
                <a:gd name="connsiteX14" fmla="*/ 159516 w 295151"/>
                <a:gd name="connsiteY14" fmla="*/ 24804 h 129116"/>
                <a:gd name="connsiteX15" fmla="*/ 217988 w 295151"/>
                <a:gd name="connsiteY15" fmla="*/ 38505 h 129116"/>
                <a:gd name="connsiteX16" fmla="*/ 159516 w 295151"/>
                <a:gd name="connsiteY16" fmla="*/ 52932 h 129116"/>
                <a:gd name="connsiteX17" fmla="*/ 89724 w 295151"/>
                <a:gd name="connsiteY17" fmla="*/ 46497 h 129116"/>
                <a:gd name="connsiteX18" fmla="*/ 159516 w 295151"/>
                <a:gd name="connsiteY18" fmla="*/ 24493 h 129116"/>
                <a:gd name="connsiteX19" fmla="*/ 159516 w 295151"/>
                <a:gd name="connsiteY19" fmla="*/ 110122 h 129116"/>
                <a:gd name="connsiteX20" fmla="*/ 80065 w 295151"/>
                <a:gd name="connsiteY20" fmla="*/ 74106 h 129116"/>
                <a:gd name="connsiteX21" fmla="*/ 159516 w 295151"/>
                <a:gd name="connsiteY21" fmla="*/ 81891 h 129116"/>
                <a:gd name="connsiteX22" fmla="*/ 238863 w 295151"/>
                <a:gd name="connsiteY22" fmla="*/ 60613 h 129116"/>
                <a:gd name="connsiteX23" fmla="*/ 240109 w 295151"/>
                <a:gd name="connsiteY23" fmla="*/ 67463 h 129116"/>
                <a:gd name="connsiteX24" fmla="*/ 159516 w 295151"/>
                <a:gd name="connsiteY24" fmla="*/ 109811 h 129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5151" h="129116">
                  <a:moveTo>
                    <a:pt x="271163" y="4046"/>
                  </a:moveTo>
                  <a:cubicBezTo>
                    <a:pt x="260652" y="13034"/>
                    <a:pt x="249353" y="21057"/>
                    <a:pt x="237409" y="28022"/>
                  </a:cubicBezTo>
                  <a:cubicBezTo>
                    <a:pt x="214571" y="12245"/>
                    <a:pt x="187256" y="4243"/>
                    <a:pt x="159516" y="5187"/>
                  </a:cubicBezTo>
                  <a:cubicBezTo>
                    <a:pt x="117973" y="5187"/>
                    <a:pt x="83804" y="19822"/>
                    <a:pt x="68329" y="41411"/>
                  </a:cubicBezTo>
                  <a:cubicBezTo>
                    <a:pt x="52148" y="37457"/>
                    <a:pt x="36424" y="31852"/>
                    <a:pt x="21385" y="24700"/>
                  </a:cubicBezTo>
                  <a:cubicBezTo>
                    <a:pt x="14354" y="20891"/>
                    <a:pt x="5568" y="23486"/>
                    <a:pt x="1756" y="30513"/>
                  </a:cubicBezTo>
                  <a:cubicBezTo>
                    <a:pt x="-2055" y="37540"/>
                    <a:pt x="541" y="46321"/>
                    <a:pt x="7572" y="50130"/>
                  </a:cubicBezTo>
                  <a:cubicBezTo>
                    <a:pt x="24127" y="58371"/>
                    <a:pt x="41544" y="64734"/>
                    <a:pt x="59501" y="69124"/>
                  </a:cubicBezTo>
                  <a:cubicBezTo>
                    <a:pt x="61267" y="102961"/>
                    <a:pt x="104368" y="129117"/>
                    <a:pt x="159308" y="129117"/>
                  </a:cubicBezTo>
                  <a:cubicBezTo>
                    <a:pt x="214249" y="129117"/>
                    <a:pt x="259115" y="101923"/>
                    <a:pt x="259115" y="66841"/>
                  </a:cubicBezTo>
                  <a:cubicBezTo>
                    <a:pt x="259084" y="61204"/>
                    <a:pt x="257921" y="55620"/>
                    <a:pt x="255688" y="50441"/>
                  </a:cubicBezTo>
                  <a:cubicBezTo>
                    <a:pt x="267943" y="43030"/>
                    <a:pt x="279555" y="34592"/>
                    <a:pt x="290376" y="25220"/>
                  </a:cubicBezTo>
                  <a:cubicBezTo>
                    <a:pt x="296317" y="19864"/>
                    <a:pt x="296774" y="10709"/>
                    <a:pt x="291415" y="4772"/>
                  </a:cubicBezTo>
                  <a:cubicBezTo>
                    <a:pt x="286056" y="-1165"/>
                    <a:pt x="276896" y="-1621"/>
                    <a:pt x="270955" y="3734"/>
                  </a:cubicBezTo>
                  <a:close/>
                  <a:moveTo>
                    <a:pt x="159516" y="24804"/>
                  </a:moveTo>
                  <a:cubicBezTo>
                    <a:pt x="179851" y="24410"/>
                    <a:pt x="199948" y="29122"/>
                    <a:pt x="217988" y="38505"/>
                  </a:cubicBezTo>
                  <a:cubicBezTo>
                    <a:pt x="199750" y="47442"/>
                    <a:pt x="179810" y="52361"/>
                    <a:pt x="159516" y="52932"/>
                  </a:cubicBezTo>
                  <a:cubicBezTo>
                    <a:pt x="136106" y="52974"/>
                    <a:pt x="112738" y="50825"/>
                    <a:pt x="89724" y="46497"/>
                  </a:cubicBezTo>
                  <a:cubicBezTo>
                    <a:pt x="109685" y="31219"/>
                    <a:pt x="134393" y="23424"/>
                    <a:pt x="159516" y="24493"/>
                  </a:cubicBezTo>
                  <a:close/>
                  <a:moveTo>
                    <a:pt x="159516" y="110122"/>
                  </a:moveTo>
                  <a:cubicBezTo>
                    <a:pt x="120050" y="110122"/>
                    <a:pt x="86816" y="94242"/>
                    <a:pt x="80065" y="74106"/>
                  </a:cubicBezTo>
                  <a:cubicBezTo>
                    <a:pt x="106227" y="79337"/>
                    <a:pt x="132835" y="81943"/>
                    <a:pt x="159516" y="81891"/>
                  </a:cubicBezTo>
                  <a:cubicBezTo>
                    <a:pt x="187267" y="81070"/>
                    <a:pt x="214436" y="73784"/>
                    <a:pt x="238863" y="60613"/>
                  </a:cubicBezTo>
                  <a:cubicBezTo>
                    <a:pt x="239642" y="62814"/>
                    <a:pt x="240068" y="65128"/>
                    <a:pt x="240109" y="67463"/>
                  </a:cubicBezTo>
                  <a:cubicBezTo>
                    <a:pt x="240109" y="90298"/>
                    <a:pt x="203136" y="109811"/>
                    <a:pt x="159516" y="109811"/>
                  </a:cubicBezTo>
                  <a:close/>
                </a:path>
              </a:pathLst>
            </a:custGeom>
            <a:solidFill>
              <a:srgbClr val="231F2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A89DA302-C534-6243-9BF1-81FE136C30E6}"/>
                </a:ext>
              </a:extLst>
            </p:cNvPr>
            <p:cNvSpPr/>
            <p:nvPr/>
          </p:nvSpPr>
          <p:spPr>
            <a:xfrm>
              <a:off x="7296583" y="3975672"/>
              <a:ext cx="333782" cy="147933"/>
            </a:xfrm>
            <a:custGeom>
              <a:avLst/>
              <a:gdLst>
                <a:gd name="connsiteX0" fmla="*/ 303136 w 333782"/>
                <a:gd name="connsiteY0" fmla="*/ 36667 h 147933"/>
                <a:gd name="connsiteX1" fmla="*/ 174561 w 333782"/>
                <a:gd name="connsiteY1" fmla="*/ 114097 h 147933"/>
                <a:gd name="connsiteX2" fmla="*/ 30822 w 333782"/>
                <a:gd name="connsiteY2" fmla="*/ 7190 h 147933"/>
                <a:gd name="connsiteX3" fmla="*/ 7195 w 333782"/>
                <a:gd name="connsiteY3" fmla="*/ 3090 h 147933"/>
                <a:gd name="connsiteX4" fmla="*/ 3092 w 333782"/>
                <a:gd name="connsiteY4" fmla="*/ 26703 h 147933"/>
                <a:gd name="connsiteX5" fmla="*/ 173211 w 333782"/>
                <a:gd name="connsiteY5" fmla="*/ 147934 h 147933"/>
                <a:gd name="connsiteX6" fmla="*/ 178092 w 333782"/>
                <a:gd name="connsiteY6" fmla="*/ 147934 h 147933"/>
                <a:gd name="connsiteX7" fmla="*/ 329204 w 333782"/>
                <a:gd name="connsiteY7" fmla="*/ 58049 h 147933"/>
                <a:gd name="connsiteX8" fmla="*/ 328426 w 333782"/>
                <a:gd name="connsiteY8" fmla="*/ 34135 h 147933"/>
                <a:gd name="connsiteX9" fmla="*/ 304497 w 333782"/>
                <a:gd name="connsiteY9" fmla="*/ 34913 h 147933"/>
                <a:gd name="connsiteX10" fmla="*/ 303136 w 333782"/>
                <a:gd name="connsiteY10" fmla="*/ 36563 h 147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3782" h="147933">
                  <a:moveTo>
                    <a:pt x="303136" y="36667"/>
                  </a:moveTo>
                  <a:cubicBezTo>
                    <a:pt x="259412" y="89602"/>
                    <a:pt x="216104" y="115550"/>
                    <a:pt x="174561" y="114097"/>
                  </a:cubicBezTo>
                  <a:cubicBezTo>
                    <a:pt x="128033" y="112333"/>
                    <a:pt x="79635" y="76316"/>
                    <a:pt x="30822" y="7190"/>
                  </a:cubicBezTo>
                  <a:cubicBezTo>
                    <a:pt x="25432" y="-459"/>
                    <a:pt x="14849" y="-2297"/>
                    <a:pt x="7195" y="3090"/>
                  </a:cubicBezTo>
                  <a:cubicBezTo>
                    <a:pt x="-460" y="8477"/>
                    <a:pt x="-2298" y="19054"/>
                    <a:pt x="3092" y="26703"/>
                  </a:cubicBezTo>
                  <a:cubicBezTo>
                    <a:pt x="58344" y="104963"/>
                    <a:pt x="115673" y="145754"/>
                    <a:pt x="173211" y="147934"/>
                  </a:cubicBezTo>
                  <a:lnTo>
                    <a:pt x="178092" y="147934"/>
                  </a:lnTo>
                  <a:cubicBezTo>
                    <a:pt x="229190" y="147934"/>
                    <a:pt x="280080" y="117730"/>
                    <a:pt x="329204" y="58049"/>
                  </a:cubicBezTo>
                  <a:cubicBezTo>
                    <a:pt x="335602" y="51229"/>
                    <a:pt x="335249" y="40528"/>
                    <a:pt x="328426" y="34135"/>
                  </a:cubicBezTo>
                  <a:cubicBezTo>
                    <a:pt x="321602" y="27741"/>
                    <a:pt x="310894" y="28094"/>
                    <a:pt x="304497" y="34913"/>
                  </a:cubicBezTo>
                  <a:cubicBezTo>
                    <a:pt x="304009" y="35432"/>
                    <a:pt x="303552" y="35982"/>
                    <a:pt x="303136" y="36563"/>
                  </a:cubicBezTo>
                  <a:close/>
                </a:path>
              </a:pathLst>
            </a:custGeom>
            <a:solidFill>
              <a:srgbClr val="231F2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9DE2F585-EB32-B84D-9F23-C4A8228029F6}"/>
                </a:ext>
              </a:extLst>
            </p:cNvPr>
            <p:cNvSpPr/>
            <p:nvPr/>
          </p:nvSpPr>
          <p:spPr>
            <a:xfrm>
              <a:off x="8026046" y="3918593"/>
              <a:ext cx="333039" cy="148030"/>
            </a:xfrm>
            <a:custGeom>
              <a:avLst/>
              <a:gdLst>
                <a:gd name="connsiteX0" fmla="*/ 325914 w 333039"/>
                <a:gd name="connsiteY0" fmla="*/ 3135 h 148030"/>
                <a:gd name="connsiteX1" fmla="*/ 302442 w 333039"/>
                <a:gd name="connsiteY1" fmla="*/ 7038 h 148030"/>
                <a:gd name="connsiteX2" fmla="*/ 302338 w 333039"/>
                <a:gd name="connsiteY2" fmla="*/ 7183 h 148030"/>
                <a:gd name="connsiteX3" fmla="*/ 158599 w 333039"/>
                <a:gd name="connsiteY3" fmla="*/ 114090 h 148030"/>
                <a:gd name="connsiteX4" fmla="*/ 30024 w 333039"/>
                <a:gd name="connsiteY4" fmla="*/ 36661 h 148030"/>
                <a:gd name="connsiteX5" fmla="*/ 6188 w 333039"/>
                <a:gd name="connsiteY5" fmla="*/ 34325 h 148030"/>
                <a:gd name="connsiteX6" fmla="*/ 3851 w 333039"/>
                <a:gd name="connsiteY6" fmla="*/ 58146 h 148030"/>
                <a:gd name="connsiteX7" fmla="*/ 154964 w 333039"/>
                <a:gd name="connsiteY7" fmla="*/ 148031 h 148030"/>
                <a:gd name="connsiteX8" fmla="*/ 159742 w 333039"/>
                <a:gd name="connsiteY8" fmla="*/ 148031 h 148030"/>
                <a:gd name="connsiteX9" fmla="*/ 329860 w 333039"/>
                <a:gd name="connsiteY9" fmla="*/ 26800 h 148030"/>
                <a:gd name="connsiteX10" fmla="*/ 325986 w 333039"/>
                <a:gd name="connsiteY10" fmla="*/ 3187 h 148030"/>
                <a:gd name="connsiteX11" fmla="*/ 325914 w 333039"/>
                <a:gd name="connsiteY11" fmla="*/ 3135 h 148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33039" h="148030">
                  <a:moveTo>
                    <a:pt x="325914" y="3135"/>
                  </a:moveTo>
                  <a:cubicBezTo>
                    <a:pt x="318353" y="-2262"/>
                    <a:pt x="307842" y="-518"/>
                    <a:pt x="302442" y="7038"/>
                  </a:cubicBezTo>
                  <a:cubicBezTo>
                    <a:pt x="302411" y="7090"/>
                    <a:pt x="302369" y="7131"/>
                    <a:pt x="302338" y="7183"/>
                  </a:cubicBezTo>
                  <a:cubicBezTo>
                    <a:pt x="253421" y="76413"/>
                    <a:pt x="205023" y="112326"/>
                    <a:pt x="158599" y="114090"/>
                  </a:cubicBezTo>
                  <a:cubicBezTo>
                    <a:pt x="117056" y="115647"/>
                    <a:pt x="73644" y="89595"/>
                    <a:pt x="30024" y="36661"/>
                  </a:cubicBezTo>
                  <a:cubicBezTo>
                    <a:pt x="24083" y="29436"/>
                    <a:pt x="13417" y="28388"/>
                    <a:pt x="6188" y="34325"/>
                  </a:cubicBezTo>
                  <a:cubicBezTo>
                    <a:pt x="-1040" y="40262"/>
                    <a:pt x="-2089" y="50922"/>
                    <a:pt x="3851" y="58146"/>
                  </a:cubicBezTo>
                  <a:cubicBezTo>
                    <a:pt x="52976" y="117827"/>
                    <a:pt x="103866" y="148031"/>
                    <a:pt x="154964" y="148031"/>
                  </a:cubicBezTo>
                  <a:lnTo>
                    <a:pt x="159742" y="148031"/>
                  </a:lnTo>
                  <a:cubicBezTo>
                    <a:pt x="217382" y="145851"/>
                    <a:pt x="274608" y="105060"/>
                    <a:pt x="329860" y="26800"/>
                  </a:cubicBezTo>
                  <a:cubicBezTo>
                    <a:pt x="335313" y="19213"/>
                    <a:pt x="333578" y="8636"/>
                    <a:pt x="325986" y="3187"/>
                  </a:cubicBezTo>
                  <a:cubicBezTo>
                    <a:pt x="325966" y="3166"/>
                    <a:pt x="325934" y="3156"/>
                    <a:pt x="325914" y="3135"/>
                  </a:cubicBezTo>
                  <a:close/>
                </a:path>
              </a:pathLst>
            </a:custGeom>
            <a:solidFill>
              <a:srgbClr val="231F2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3B68AED2-8913-5B4F-9D27-E86F5B69F502}"/>
                </a:ext>
              </a:extLst>
            </p:cNvPr>
            <p:cNvSpPr/>
            <p:nvPr/>
          </p:nvSpPr>
          <p:spPr>
            <a:xfrm>
              <a:off x="8024766" y="4257035"/>
              <a:ext cx="35889" cy="35911"/>
            </a:xfrm>
            <a:custGeom>
              <a:avLst/>
              <a:gdLst>
                <a:gd name="connsiteX0" fmla="*/ 5234 w 35889"/>
                <a:gd name="connsiteY0" fmla="*/ 5239 h 35911"/>
                <a:gd name="connsiteX1" fmla="*/ 5234 w 35889"/>
                <a:gd name="connsiteY1" fmla="*/ 30668 h 35911"/>
                <a:gd name="connsiteX2" fmla="*/ 30648 w 35889"/>
                <a:gd name="connsiteY2" fmla="*/ 30637 h 35911"/>
                <a:gd name="connsiteX3" fmla="*/ 30607 w 35889"/>
                <a:gd name="connsiteY3" fmla="*/ 5239 h 35911"/>
                <a:gd name="connsiteX4" fmla="*/ 5234 w 35889"/>
                <a:gd name="connsiteY4" fmla="*/ 5239 h 3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889" h="35911">
                  <a:moveTo>
                    <a:pt x="5234" y="5239"/>
                  </a:moveTo>
                  <a:cubicBezTo>
                    <a:pt x="-1745" y="12276"/>
                    <a:pt x="-1745" y="23631"/>
                    <a:pt x="5234" y="30668"/>
                  </a:cubicBezTo>
                  <a:cubicBezTo>
                    <a:pt x="12266" y="37674"/>
                    <a:pt x="23638" y="37654"/>
                    <a:pt x="30648" y="30637"/>
                  </a:cubicBezTo>
                  <a:cubicBezTo>
                    <a:pt x="37648" y="23611"/>
                    <a:pt x="37638" y="12245"/>
                    <a:pt x="30607" y="5239"/>
                  </a:cubicBezTo>
                  <a:cubicBezTo>
                    <a:pt x="23596" y="-1746"/>
                    <a:pt x="12245" y="-1746"/>
                    <a:pt x="5234" y="5239"/>
                  </a:cubicBezTo>
                  <a:close/>
                </a:path>
              </a:pathLst>
            </a:custGeom>
            <a:solidFill>
              <a:srgbClr val="231F2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1626E21D-DC2E-9E4C-9A73-4216C81BF0FC}"/>
                </a:ext>
              </a:extLst>
            </p:cNvPr>
            <p:cNvSpPr/>
            <p:nvPr/>
          </p:nvSpPr>
          <p:spPr>
            <a:xfrm>
              <a:off x="6939376" y="3742622"/>
              <a:ext cx="1755543" cy="486646"/>
            </a:xfrm>
            <a:custGeom>
              <a:avLst/>
              <a:gdLst>
                <a:gd name="connsiteX0" fmla="*/ 1755313 w 1755543"/>
                <a:gd name="connsiteY0" fmla="*/ 73029 h 486646"/>
                <a:gd name="connsiteX1" fmla="*/ 1744927 w 1755543"/>
                <a:gd name="connsiteY1" fmla="*/ 61300 h 486646"/>
                <a:gd name="connsiteX2" fmla="*/ 1491515 w 1755543"/>
                <a:gd name="connsiteY2" fmla="*/ 9404 h 486646"/>
                <a:gd name="connsiteX3" fmla="*/ 1479572 w 1755543"/>
                <a:gd name="connsiteY3" fmla="*/ 8055 h 486646"/>
                <a:gd name="connsiteX4" fmla="*/ 1258355 w 1755543"/>
                <a:gd name="connsiteY4" fmla="*/ 2969 h 486646"/>
                <a:gd name="connsiteX5" fmla="*/ 1233429 w 1755543"/>
                <a:gd name="connsiteY5" fmla="*/ 5356 h 486646"/>
                <a:gd name="connsiteX6" fmla="*/ 1237687 w 1755543"/>
                <a:gd name="connsiteY6" fmla="*/ 8989 h 486646"/>
                <a:gd name="connsiteX7" fmla="*/ 1218993 w 1755543"/>
                <a:gd name="connsiteY7" fmla="*/ 31097 h 486646"/>
                <a:gd name="connsiteX8" fmla="*/ 1195106 w 1755543"/>
                <a:gd name="connsiteY8" fmla="*/ 10338 h 486646"/>
                <a:gd name="connsiteX9" fmla="*/ 900046 w 1755543"/>
                <a:gd name="connsiteY9" fmla="*/ 119113 h 486646"/>
                <a:gd name="connsiteX10" fmla="*/ 899008 w 1755543"/>
                <a:gd name="connsiteY10" fmla="*/ 120463 h 486646"/>
                <a:gd name="connsiteX11" fmla="*/ 839498 w 1755543"/>
                <a:gd name="connsiteY11" fmla="*/ 120463 h 486646"/>
                <a:gd name="connsiteX12" fmla="*/ 639780 w 1755543"/>
                <a:gd name="connsiteY12" fmla="*/ 75935 h 486646"/>
                <a:gd name="connsiteX13" fmla="*/ 592628 w 1755543"/>
                <a:gd name="connsiteY13" fmla="*/ 101365 h 486646"/>
                <a:gd name="connsiteX14" fmla="*/ 579334 w 1755543"/>
                <a:gd name="connsiteY14" fmla="*/ 75624 h 486646"/>
                <a:gd name="connsiteX15" fmla="*/ 581931 w 1755543"/>
                <a:gd name="connsiteY15" fmla="*/ 74275 h 486646"/>
                <a:gd name="connsiteX16" fmla="*/ 473296 w 1755543"/>
                <a:gd name="connsiteY16" fmla="*/ 81229 h 486646"/>
                <a:gd name="connsiteX17" fmla="*/ 305878 w 1755543"/>
                <a:gd name="connsiteY17" fmla="*/ 115169 h 486646"/>
                <a:gd name="connsiteX18" fmla="*/ 161827 w 1755543"/>
                <a:gd name="connsiteY18" fmla="*/ 163537 h 486646"/>
                <a:gd name="connsiteX19" fmla="*/ 7599 w 1755543"/>
                <a:gd name="connsiteY19" fmla="*/ 233597 h 486646"/>
                <a:gd name="connsiteX20" fmla="*/ 17 w 1755543"/>
                <a:gd name="connsiteY20" fmla="*/ 247194 h 486646"/>
                <a:gd name="connsiteX21" fmla="*/ 8637 w 1755543"/>
                <a:gd name="connsiteY21" fmla="*/ 260168 h 486646"/>
                <a:gd name="connsiteX22" fmla="*/ 240551 w 1755543"/>
                <a:gd name="connsiteY22" fmla="*/ 366038 h 486646"/>
                <a:gd name="connsiteX23" fmla="*/ 243044 w 1755543"/>
                <a:gd name="connsiteY23" fmla="*/ 355658 h 486646"/>
                <a:gd name="connsiteX24" fmla="*/ 254676 w 1755543"/>
                <a:gd name="connsiteY24" fmla="*/ 348497 h 486646"/>
                <a:gd name="connsiteX25" fmla="*/ 261842 w 1755543"/>
                <a:gd name="connsiteY25" fmla="*/ 360121 h 486646"/>
                <a:gd name="connsiteX26" fmla="*/ 258415 w 1755543"/>
                <a:gd name="connsiteY26" fmla="*/ 374237 h 486646"/>
                <a:gd name="connsiteX27" fmla="*/ 501649 w 1755543"/>
                <a:gd name="connsiteY27" fmla="*/ 485296 h 486646"/>
                <a:gd name="connsiteX28" fmla="*/ 507777 w 1755543"/>
                <a:gd name="connsiteY28" fmla="*/ 486645 h 486646"/>
                <a:gd name="connsiteX29" fmla="*/ 510165 w 1755543"/>
                <a:gd name="connsiteY29" fmla="*/ 486645 h 486646"/>
                <a:gd name="connsiteX30" fmla="*/ 834201 w 1755543"/>
                <a:gd name="connsiteY30" fmla="*/ 207338 h 486646"/>
                <a:gd name="connsiteX31" fmla="*/ 836590 w 1755543"/>
                <a:gd name="connsiteY31" fmla="*/ 207338 h 486646"/>
                <a:gd name="connsiteX32" fmla="*/ 915210 w 1755543"/>
                <a:gd name="connsiteY32" fmla="*/ 207338 h 486646"/>
                <a:gd name="connsiteX33" fmla="*/ 932865 w 1755543"/>
                <a:gd name="connsiteY33" fmla="*/ 203393 h 486646"/>
                <a:gd name="connsiteX34" fmla="*/ 1284527 w 1755543"/>
                <a:gd name="connsiteY34" fmla="*/ 408178 h 486646"/>
                <a:gd name="connsiteX35" fmla="*/ 1301871 w 1755543"/>
                <a:gd name="connsiteY35" fmla="*/ 408178 h 486646"/>
                <a:gd name="connsiteX36" fmla="*/ 1310076 w 1755543"/>
                <a:gd name="connsiteY36" fmla="*/ 405271 h 486646"/>
                <a:gd name="connsiteX37" fmla="*/ 1558503 w 1755543"/>
                <a:gd name="connsiteY37" fmla="*/ 225605 h 486646"/>
                <a:gd name="connsiteX38" fmla="*/ 1560996 w 1755543"/>
                <a:gd name="connsiteY38" fmla="*/ 196543 h 486646"/>
                <a:gd name="connsiteX39" fmla="*/ 1589868 w 1755543"/>
                <a:gd name="connsiteY39" fmla="*/ 198930 h 486646"/>
                <a:gd name="connsiteX40" fmla="*/ 1589868 w 1755543"/>
                <a:gd name="connsiteY40" fmla="*/ 203186 h 486646"/>
                <a:gd name="connsiteX41" fmla="*/ 1749393 w 1755543"/>
                <a:gd name="connsiteY41" fmla="*/ 87768 h 486646"/>
                <a:gd name="connsiteX42" fmla="*/ 1755313 w 1755543"/>
                <a:gd name="connsiteY42" fmla="*/ 73029 h 486646"/>
                <a:gd name="connsiteX43" fmla="*/ 510062 w 1755543"/>
                <a:gd name="connsiteY43" fmla="*/ 456338 h 486646"/>
                <a:gd name="connsiteX44" fmla="*/ 260804 w 1755543"/>
                <a:gd name="connsiteY44" fmla="*/ 342165 h 486646"/>
                <a:gd name="connsiteX45" fmla="*/ 146560 w 1755543"/>
                <a:gd name="connsiteY45" fmla="*/ 250723 h 486646"/>
                <a:gd name="connsiteX46" fmla="*/ 332258 w 1755543"/>
                <a:gd name="connsiteY46" fmla="*/ 138627 h 486646"/>
                <a:gd name="connsiteX47" fmla="*/ 477658 w 1755543"/>
                <a:gd name="connsiteY47" fmla="*/ 110395 h 486646"/>
                <a:gd name="connsiteX48" fmla="*/ 803044 w 1755543"/>
                <a:gd name="connsiteY48" fmla="*/ 137173 h 486646"/>
                <a:gd name="connsiteX49" fmla="*/ 807717 w 1755543"/>
                <a:gd name="connsiteY49" fmla="*/ 195194 h 486646"/>
                <a:gd name="connsiteX50" fmla="*/ 510062 w 1755543"/>
                <a:gd name="connsiteY50" fmla="*/ 456338 h 486646"/>
                <a:gd name="connsiteX51" fmla="*/ 1514468 w 1755543"/>
                <a:gd name="connsiteY51" fmla="*/ 217613 h 486646"/>
                <a:gd name="connsiteX52" fmla="*/ 1512494 w 1755543"/>
                <a:gd name="connsiteY52" fmla="*/ 221765 h 486646"/>
                <a:gd name="connsiteX53" fmla="*/ 1296471 w 1755543"/>
                <a:gd name="connsiteY53" fmla="*/ 377974 h 486646"/>
                <a:gd name="connsiteX54" fmla="*/ 954676 w 1755543"/>
                <a:gd name="connsiteY54" fmla="*/ 181805 h 486646"/>
                <a:gd name="connsiteX55" fmla="*/ 958830 w 1755543"/>
                <a:gd name="connsiteY55" fmla="*/ 163537 h 486646"/>
                <a:gd name="connsiteX56" fmla="*/ 939616 w 1755543"/>
                <a:gd name="connsiteY56" fmla="*/ 127521 h 486646"/>
                <a:gd name="connsiteX57" fmla="*/ 1260951 w 1755543"/>
                <a:gd name="connsiteY57" fmla="*/ 32654 h 486646"/>
                <a:gd name="connsiteX58" fmla="*/ 1445402 w 1755543"/>
                <a:gd name="connsiteY58" fmla="*/ 34418 h 486646"/>
                <a:gd name="connsiteX59" fmla="*/ 1617806 w 1755543"/>
                <a:gd name="connsiteY59" fmla="*/ 105620 h 486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1755543" h="486646">
                  <a:moveTo>
                    <a:pt x="1755313" y="73029"/>
                  </a:moveTo>
                  <a:cubicBezTo>
                    <a:pt x="1754337" y="67476"/>
                    <a:pt x="1750328" y="62941"/>
                    <a:pt x="1744927" y="61300"/>
                  </a:cubicBezTo>
                  <a:cubicBezTo>
                    <a:pt x="1662070" y="36919"/>
                    <a:pt x="1577291" y="19555"/>
                    <a:pt x="1491515" y="9404"/>
                  </a:cubicBezTo>
                  <a:lnTo>
                    <a:pt x="1479572" y="8055"/>
                  </a:lnTo>
                  <a:cubicBezTo>
                    <a:pt x="1406155" y="-571"/>
                    <a:pt x="1332094" y="-2273"/>
                    <a:pt x="1258355" y="2969"/>
                  </a:cubicBezTo>
                  <a:cubicBezTo>
                    <a:pt x="1249838" y="3695"/>
                    <a:pt x="1241530" y="4422"/>
                    <a:pt x="1233429" y="5356"/>
                  </a:cubicBezTo>
                  <a:lnTo>
                    <a:pt x="1237687" y="8989"/>
                  </a:lnTo>
                  <a:lnTo>
                    <a:pt x="1218993" y="31097"/>
                  </a:lnTo>
                  <a:cubicBezTo>
                    <a:pt x="1210580" y="23935"/>
                    <a:pt x="1202687" y="16981"/>
                    <a:pt x="1195106" y="10338"/>
                  </a:cubicBezTo>
                  <a:cubicBezTo>
                    <a:pt x="996634" y="38985"/>
                    <a:pt x="904305" y="115584"/>
                    <a:pt x="900046" y="119113"/>
                  </a:cubicBezTo>
                  <a:cubicBezTo>
                    <a:pt x="899673" y="119539"/>
                    <a:pt x="899319" y="119985"/>
                    <a:pt x="899008" y="120463"/>
                  </a:cubicBezTo>
                  <a:lnTo>
                    <a:pt x="839498" y="120463"/>
                  </a:lnTo>
                  <a:cubicBezTo>
                    <a:pt x="817584" y="110083"/>
                    <a:pt x="750284" y="82890"/>
                    <a:pt x="639780" y="75935"/>
                  </a:cubicBezTo>
                  <a:cubicBezTo>
                    <a:pt x="624201" y="84550"/>
                    <a:pt x="608622" y="93165"/>
                    <a:pt x="592628" y="101365"/>
                  </a:cubicBezTo>
                  <a:lnTo>
                    <a:pt x="579334" y="75624"/>
                  </a:lnTo>
                  <a:lnTo>
                    <a:pt x="581931" y="74275"/>
                  </a:lnTo>
                  <a:cubicBezTo>
                    <a:pt x="545622" y="74555"/>
                    <a:pt x="509345" y="76880"/>
                    <a:pt x="473296" y="81229"/>
                  </a:cubicBezTo>
                  <a:cubicBezTo>
                    <a:pt x="416693" y="88183"/>
                    <a:pt x="360714" y="99528"/>
                    <a:pt x="305878" y="115169"/>
                  </a:cubicBezTo>
                  <a:cubicBezTo>
                    <a:pt x="256338" y="126337"/>
                    <a:pt x="208065" y="142539"/>
                    <a:pt x="161827" y="163537"/>
                  </a:cubicBezTo>
                  <a:cubicBezTo>
                    <a:pt x="109109" y="183901"/>
                    <a:pt x="57617" y="207296"/>
                    <a:pt x="7599" y="233597"/>
                  </a:cubicBezTo>
                  <a:cubicBezTo>
                    <a:pt x="2686" y="236317"/>
                    <a:pt x="-253" y="241590"/>
                    <a:pt x="17" y="247194"/>
                  </a:cubicBezTo>
                  <a:cubicBezTo>
                    <a:pt x="235" y="252789"/>
                    <a:pt x="3559" y="257802"/>
                    <a:pt x="8637" y="260168"/>
                  </a:cubicBezTo>
                  <a:lnTo>
                    <a:pt x="240551" y="366038"/>
                  </a:lnTo>
                  <a:lnTo>
                    <a:pt x="243044" y="355658"/>
                  </a:lnTo>
                  <a:cubicBezTo>
                    <a:pt x="244280" y="350469"/>
                    <a:pt x="249483" y="347262"/>
                    <a:pt x="254676" y="348497"/>
                  </a:cubicBezTo>
                  <a:cubicBezTo>
                    <a:pt x="259869" y="349732"/>
                    <a:pt x="263078" y="354932"/>
                    <a:pt x="261842" y="360121"/>
                  </a:cubicBezTo>
                  <a:lnTo>
                    <a:pt x="258415" y="374237"/>
                  </a:lnTo>
                  <a:lnTo>
                    <a:pt x="501649" y="485296"/>
                  </a:lnTo>
                  <a:cubicBezTo>
                    <a:pt x="503560" y="486210"/>
                    <a:pt x="505658" y="486666"/>
                    <a:pt x="507777" y="486645"/>
                  </a:cubicBezTo>
                  <a:lnTo>
                    <a:pt x="510165" y="486645"/>
                  </a:lnTo>
                  <a:cubicBezTo>
                    <a:pt x="710610" y="454885"/>
                    <a:pt x="799097" y="298779"/>
                    <a:pt x="834201" y="207338"/>
                  </a:cubicBezTo>
                  <a:cubicBezTo>
                    <a:pt x="835000" y="207390"/>
                    <a:pt x="835790" y="207390"/>
                    <a:pt x="836590" y="207338"/>
                  </a:cubicBezTo>
                  <a:lnTo>
                    <a:pt x="915210" y="207338"/>
                  </a:lnTo>
                  <a:cubicBezTo>
                    <a:pt x="921316" y="207338"/>
                    <a:pt x="927340" y="205988"/>
                    <a:pt x="932865" y="203393"/>
                  </a:cubicBezTo>
                  <a:cubicBezTo>
                    <a:pt x="985521" y="284041"/>
                    <a:pt x="1096857" y="408178"/>
                    <a:pt x="1284527" y="408178"/>
                  </a:cubicBezTo>
                  <a:lnTo>
                    <a:pt x="1301871" y="408178"/>
                  </a:lnTo>
                  <a:cubicBezTo>
                    <a:pt x="1304831" y="408022"/>
                    <a:pt x="1307677" y="407015"/>
                    <a:pt x="1310076" y="405271"/>
                  </a:cubicBezTo>
                  <a:lnTo>
                    <a:pt x="1558503" y="225605"/>
                  </a:lnTo>
                  <a:cubicBezTo>
                    <a:pt x="1559542" y="214707"/>
                    <a:pt x="1560373" y="204847"/>
                    <a:pt x="1560996" y="196543"/>
                  </a:cubicBezTo>
                  <a:lnTo>
                    <a:pt x="1589868" y="198930"/>
                  </a:lnTo>
                  <a:lnTo>
                    <a:pt x="1589868" y="203186"/>
                  </a:lnTo>
                  <a:lnTo>
                    <a:pt x="1749393" y="87768"/>
                  </a:lnTo>
                  <a:cubicBezTo>
                    <a:pt x="1754015" y="84384"/>
                    <a:pt x="1756310" y="78665"/>
                    <a:pt x="1755313" y="73029"/>
                  </a:cubicBezTo>
                  <a:close/>
                  <a:moveTo>
                    <a:pt x="510062" y="456338"/>
                  </a:moveTo>
                  <a:lnTo>
                    <a:pt x="260804" y="342165"/>
                  </a:lnTo>
                  <a:lnTo>
                    <a:pt x="146560" y="250723"/>
                  </a:lnTo>
                  <a:lnTo>
                    <a:pt x="332258" y="138627"/>
                  </a:lnTo>
                  <a:cubicBezTo>
                    <a:pt x="380011" y="125860"/>
                    <a:pt x="428596" y="116425"/>
                    <a:pt x="477658" y="110395"/>
                  </a:cubicBezTo>
                  <a:cubicBezTo>
                    <a:pt x="642895" y="90882"/>
                    <a:pt x="753192" y="119217"/>
                    <a:pt x="803044" y="137173"/>
                  </a:cubicBezTo>
                  <a:cubicBezTo>
                    <a:pt x="789262" y="154787"/>
                    <a:pt x="791297" y="180009"/>
                    <a:pt x="807717" y="195194"/>
                  </a:cubicBezTo>
                  <a:cubicBezTo>
                    <a:pt x="775002" y="279682"/>
                    <a:pt x="693889" y="424992"/>
                    <a:pt x="510062" y="456338"/>
                  </a:cubicBezTo>
                  <a:close/>
                  <a:moveTo>
                    <a:pt x="1514468" y="217613"/>
                  </a:moveTo>
                  <a:cubicBezTo>
                    <a:pt x="1513408" y="218765"/>
                    <a:pt x="1512723" y="220218"/>
                    <a:pt x="1512494" y="221765"/>
                  </a:cubicBezTo>
                  <a:lnTo>
                    <a:pt x="1296471" y="377974"/>
                  </a:lnTo>
                  <a:cubicBezTo>
                    <a:pt x="1111189" y="383163"/>
                    <a:pt x="1003177" y="258196"/>
                    <a:pt x="954676" y="181805"/>
                  </a:cubicBezTo>
                  <a:cubicBezTo>
                    <a:pt x="957386" y="176096"/>
                    <a:pt x="958809" y="169858"/>
                    <a:pt x="958830" y="163537"/>
                  </a:cubicBezTo>
                  <a:cubicBezTo>
                    <a:pt x="958788" y="149089"/>
                    <a:pt x="951591" y="135606"/>
                    <a:pt x="939616" y="127521"/>
                  </a:cubicBezTo>
                  <a:cubicBezTo>
                    <a:pt x="980432" y="101469"/>
                    <a:pt x="1085017" y="46769"/>
                    <a:pt x="1260951" y="32654"/>
                  </a:cubicBezTo>
                  <a:cubicBezTo>
                    <a:pt x="1322373" y="28087"/>
                    <a:pt x="1384074" y="28678"/>
                    <a:pt x="1445402" y="34418"/>
                  </a:cubicBezTo>
                  <a:lnTo>
                    <a:pt x="1617806" y="105620"/>
                  </a:lnTo>
                  <a:close/>
                </a:path>
              </a:pathLst>
            </a:custGeom>
            <a:solidFill>
              <a:srgbClr val="231F2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D95B44DD-08C1-6845-A3BA-B62684544744}"/>
                </a:ext>
              </a:extLst>
            </p:cNvPr>
            <p:cNvSpPr/>
            <p:nvPr/>
          </p:nvSpPr>
          <p:spPr>
            <a:xfrm>
              <a:off x="7049404" y="4108660"/>
              <a:ext cx="191728" cy="255642"/>
            </a:xfrm>
            <a:custGeom>
              <a:avLst/>
              <a:gdLst>
                <a:gd name="connsiteX0" fmla="*/ 124396 w 191728"/>
                <a:gd name="connsiteY0" fmla="*/ 17645 h 255642"/>
                <a:gd name="connsiteX1" fmla="*/ 81710 w 191728"/>
                <a:gd name="connsiteY1" fmla="*/ 24184 h 255642"/>
                <a:gd name="connsiteX2" fmla="*/ 1117 w 191728"/>
                <a:gd name="connsiteY2" fmla="*/ 134309 h 255642"/>
                <a:gd name="connsiteX3" fmla="*/ 2155 w 191728"/>
                <a:gd name="connsiteY3" fmla="*/ 140951 h 255642"/>
                <a:gd name="connsiteX4" fmla="*/ 54084 w 191728"/>
                <a:gd name="connsiteY4" fmla="*/ 227307 h 255642"/>
                <a:gd name="connsiteX5" fmla="*/ 133951 w 191728"/>
                <a:gd name="connsiteY5" fmla="*/ 255643 h 255642"/>
                <a:gd name="connsiteX6" fmla="*/ 136339 w 191728"/>
                <a:gd name="connsiteY6" fmla="*/ 238309 h 255642"/>
                <a:gd name="connsiteX7" fmla="*/ 68832 w 191728"/>
                <a:gd name="connsiteY7" fmla="*/ 214748 h 255642"/>
                <a:gd name="connsiteX8" fmla="*/ 20746 w 191728"/>
                <a:gd name="connsiteY8" fmla="*/ 137941 h 255642"/>
                <a:gd name="connsiteX9" fmla="*/ 19707 w 191728"/>
                <a:gd name="connsiteY9" fmla="*/ 131402 h 255642"/>
                <a:gd name="connsiteX10" fmla="*/ 84203 w 191728"/>
                <a:gd name="connsiteY10" fmla="*/ 43282 h 255642"/>
                <a:gd name="connsiteX11" fmla="*/ 126784 w 191728"/>
                <a:gd name="connsiteY11" fmla="*/ 36743 h 255642"/>
                <a:gd name="connsiteX12" fmla="*/ 176636 w 191728"/>
                <a:gd name="connsiteY12" fmla="*/ 45876 h 255642"/>
                <a:gd name="connsiteX13" fmla="*/ 190054 w 191728"/>
                <a:gd name="connsiteY13" fmla="*/ 43323 h 255642"/>
                <a:gd name="connsiteX14" fmla="*/ 187499 w 191728"/>
                <a:gd name="connsiteY14" fmla="*/ 29913 h 255642"/>
                <a:gd name="connsiteX15" fmla="*/ 186191 w 191728"/>
                <a:gd name="connsiteY15" fmla="*/ 29166 h 255642"/>
                <a:gd name="connsiteX16" fmla="*/ 145998 w 191728"/>
                <a:gd name="connsiteY16" fmla="*/ 16918 h 255642"/>
                <a:gd name="connsiteX17" fmla="*/ 148075 w 191728"/>
                <a:gd name="connsiteY17" fmla="*/ 8096 h 255642"/>
                <a:gd name="connsiteX18" fmla="*/ 130212 w 191728"/>
                <a:gd name="connsiteY18" fmla="*/ 0 h 255642"/>
                <a:gd name="connsiteX19" fmla="*/ 126057 w 191728"/>
                <a:gd name="connsiteY19" fmla="*/ 17437 h 255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91728" h="255642">
                  <a:moveTo>
                    <a:pt x="124396" y="17645"/>
                  </a:moveTo>
                  <a:lnTo>
                    <a:pt x="81710" y="24184"/>
                  </a:lnTo>
                  <a:cubicBezTo>
                    <a:pt x="29106" y="32487"/>
                    <a:pt x="-6901" y="81696"/>
                    <a:pt x="1117" y="134309"/>
                  </a:cubicBezTo>
                  <a:lnTo>
                    <a:pt x="2155" y="140951"/>
                  </a:lnTo>
                  <a:cubicBezTo>
                    <a:pt x="5583" y="162644"/>
                    <a:pt x="27704" y="209974"/>
                    <a:pt x="54084" y="227307"/>
                  </a:cubicBezTo>
                  <a:cubicBezTo>
                    <a:pt x="78802" y="243395"/>
                    <a:pt x="122215" y="251387"/>
                    <a:pt x="133951" y="255643"/>
                  </a:cubicBezTo>
                  <a:cubicBezTo>
                    <a:pt x="133899" y="249779"/>
                    <a:pt x="134709" y="243945"/>
                    <a:pt x="136339" y="238309"/>
                  </a:cubicBezTo>
                  <a:cubicBezTo>
                    <a:pt x="112701" y="234178"/>
                    <a:pt x="89905" y="226217"/>
                    <a:pt x="68832" y="214748"/>
                  </a:cubicBezTo>
                  <a:cubicBezTo>
                    <a:pt x="44010" y="199698"/>
                    <a:pt x="23654" y="156520"/>
                    <a:pt x="20746" y="137941"/>
                  </a:cubicBezTo>
                  <a:lnTo>
                    <a:pt x="19707" y="131402"/>
                  </a:lnTo>
                  <a:cubicBezTo>
                    <a:pt x="13237" y="89283"/>
                    <a:pt x="42078" y="49883"/>
                    <a:pt x="84203" y="43282"/>
                  </a:cubicBezTo>
                  <a:lnTo>
                    <a:pt x="126784" y="36743"/>
                  </a:lnTo>
                  <a:cubicBezTo>
                    <a:pt x="143962" y="34044"/>
                    <a:pt x="161535" y="37262"/>
                    <a:pt x="176636" y="45876"/>
                  </a:cubicBezTo>
                  <a:cubicBezTo>
                    <a:pt x="181050" y="48876"/>
                    <a:pt x="187053" y="47735"/>
                    <a:pt x="190054" y="43323"/>
                  </a:cubicBezTo>
                  <a:cubicBezTo>
                    <a:pt x="193056" y="38912"/>
                    <a:pt x="191913" y="32913"/>
                    <a:pt x="187499" y="29913"/>
                  </a:cubicBezTo>
                  <a:cubicBezTo>
                    <a:pt x="187084" y="29633"/>
                    <a:pt x="186648" y="29384"/>
                    <a:pt x="186191" y="29166"/>
                  </a:cubicBezTo>
                  <a:cubicBezTo>
                    <a:pt x="173873" y="22150"/>
                    <a:pt x="160144" y="17966"/>
                    <a:pt x="145998" y="16918"/>
                  </a:cubicBezTo>
                  <a:lnTo>
                    <a:pt x="148075" y="8096"/>
                  </a:lnTo>
                  <a:lnTo>
                    <a:pt x="130212" y="0"/>
                  </a:lnTo>
                  <a:lnTo>
                    <a:pt x="126057" y="17437"/>
                  </a:lnTo>
                  <a:close/>
                </a:path>
              </a:pathLst>
            </a:custGeom>
            <a:solidFill>
              <a:srgbClr val="231F2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245C4309-D244-9248-835E-6FDE17A7881E}"/>
                </a:ext>
              </a:extLst>
            </p:cNvPr>
            <p:cNvSpPr/>
            <p:nvPr/>
          </p:nvSpPr>
          <p:spPr>
            <a:xfrm>
              <a:off x="8134689" y="3748289"/>
              <a:ext cx="42581" cy="25429"/>
            </a:xfrm>
            <a:custGeom>
              <a:avLst/>
              <a:gdLst>
                <a:gd name="connsiteX0" fmla="*/ 42582 w 42581"/>
                <a:gd name="connsiteY0" fmla="*/ 3633 h 25429"/>
                <a:gd name="connsiteX1" fmla="*/ 38323 w 42581"/>
                <a:gd name="connsiteY1" fmla="*/ 0 h 25429"/>
                <a:gd name="connsiteX2" fmla="*/ 0 w 42581"/>
                <a:gd name="connsiteY2" fmla="*/ 4671 h 25429"/>
                <a:gd name="connsiteX3" fmla="*/ 23887 w 42581"/>
                <a:gd name="connsiteY3" fmla="*/ 25429 h 25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581" h="25429">
                  <a:moveTo>
                    <a:pt x="42582" y="3633"/>
                  </a:moveTo>
                  <a:lnTo>
                    <a:pt x="38323" y="0"/>
                  </a:lnTo>
                  <a:cubicBezTo>
                    <a:pt x="25165" y="1318"/>
                    <a:pt x="12390" y="2875"/>
                    <a:pt x="0" y="4671"/>
                  </a:cubicBezTo>
                  <a:cubicBezTo>
                    <a:pt x="7582" y="11625"/>
                    <a:pt x="15475" y="18579"/>
                    <a:pt x="23887" y="25429"/>
                  </a:cubicBezTo>
                  <a:close/>
                </a:path>
              </a:pathLst>
            </a:custGeom>
            <a:solidFill>
              <a:srgbClr val="231F2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DD867E47-C289-4B4A-937E-EB3CB8298C9F}"/>
                </a:ext>
              </a:extLst>
            </p:cNvPr>
            <p:cNvSpPr/>
            <p:nvPr/>
          </p:nvSpPr>
          <p:spPr>
            <a:xfrm>
              <a:off x="7180135" y="4090750"/>
              <a:ext cx="21555" cy="25901"/>
            </a:xfrm>
            <a:custGeom>
              <a:avLst/>
              <a:gdLst>
                <a:gd name="connsiteX0" fmla="*/ 21291 w 21555"/>
                <a:gd name="connsiteY0" fmla="*/ 11889 h 25901"/>
                <a:gd name="connsiteX1" fmla="*/ 14124 w 21555"/>
                <a:gd name="connsiteY1" fmla="*/ 265 h 25901"/>
                <a:gd name="connsiteX2" fmla="*/ 2492 w 21555"/>
                <a:gd name="connsiteY2" fmla="*/ 7426 h 25901"/>
                <a:gd name="connsiteX3" fmla="*/ 0 w 21555"/>
                <a:gd name="connsiteY3" fmla="*/ 17806 h 25901"/>
                <a:gd name="connsiteX4" fmla="*/ 17864 w 21555"/>
                <a:gd name="connsiteY4" fmla="*/ 25901 h 25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555" h="25901">
                  <a:moveTo>
                    <a:pt x="21291" y="11889"/>
                  </a:moveTo>
                  <a:cubicBezTo>
                    <a:pt x="22526" y="6700"/>
                    <a:pt x="19317" y="1500"/>
                    <a:pt x="14124" y="265"/>
                  </a:cubicBezTo>
                  <a:cubicBezTo>
                    <a:pt x="8932" y="-970"/>
                    <a:pt x="3728" y="2237"/>
                    <a:pt x="2492" y="7426"/>
                  </a:cubicBezTo>
                  <a:lnTo>
                    <a:pt x="0" y="17806"/>
                  </a:lnTo>
                  <a:lnTo>
                    <a:pt x="17864" y="25901"/>
                  </a:lnTo>
                  <a:close/>
                </a:path>
              </a:pathLst>
            </a:custGeom>
            <a:solidFill>
              <a:srgbClr val="231F2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F222CFCA-94E4-0545-B8B3-811C5636D95C}"/>
                </a:ext>
              </a:extLst>
            </p:cNvPr>
            <p:cNvSpPr/>
            <p:nvPr/>
          </p:nvSpPr>
          <p:spPr>
            <a:xfrm>
              <a:off x="8498087" y="3938854"/>
              <a:ext cx="31157" cy="29062"/>
            </a:xfrm>
            <a:custGeom>
              <a:avLst/>
              <a:gdLst>
                <a:gd name="connsiteX0" fmla="*/ 2492 w 31157"/>
                <a:gd name="connsiteY0" fmla="*/ 0 h 29062"/>
                <a:gd name="connsiteX1" fmla="*/ 0 w 31157"/>
                <a:gd name="connsiteY1" fmla="*/ 29062 h 29062"/>
                <a:gd name="connsiteX2" fmla="*/ 31157 w 31157"/>
                <a:gd name="connsiteY2" fmla="*/ 6643 h 29062"/>
                <a:gd name="connsiteX3" fmla="*/ 31157 w 31157"/>
                <a:gd name="connsiteY3" fmla="*/ 2387 h 29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157" h="29062">
                  <a:moveTo>
                    <a:pt x="2492" y="0"/>
                  </a:moveTo>
                  <a:cubicBezTo>
                    <a:pt x="1869" y="8304"/>
                    <a:pt x="1039" y="18164"/>
                    <a:pt x="0" y="29062"/>
                  </a:cubicBezTo>
                  <a:lnTo>
                    <a:pt x="31157" y="6643"/>
                  </a:lnTo>
                  <a:lnTo>
                    <a:pt x="31157" y="2387"/>
                  </a:lnTo>
                  <a:close/>
                </a:path>
              </a:pathLst>
            </a:custGeom>
            <a:solidFill>
              <a:srgbClr val="231F2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56B12FAB-25EF-B343-B89E-DCFA0A293A27}"/>
                </a:ext>
              </a:extLst>
            </p:cNvPr>
            <p:cNvSpPr/>
            <p:nvPr/>
          </p:nvSpPr>
          <p:spPr>
            <a:xfrm>
              <a:off x="7518918" y="3816885"/>
              <a:ext cx="60444" cy="27101"/>
            </a:xfrm>
            <a:custGeom>
              <a:avLst/>
              <a:gdLst>
                <a:gd name="connsiteX0" fmla="*/ 13294 w 60444"/>
                <a:gd name="connsiteY0" fmla="*/ 27101 h 27101"/>
                <a:gd name="connsiteX1" fmla="*/ 60445 w 60444"/>
                <a:gd name="connsiteY1" fmla="*/ 1672 h 27101"/>
                <a:gd name="connsiteX2" fmla="*/ 2596 w 60444"/>
                <a:gd name="connsiteY2" fmla="*/ 11 h 27101"/>
                <a:gd name="connsiteX3" fmla="*/ 0 w 60444"/>
                <a:gd name="connsiteY3" fmla="*/ 1361 h 27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444" h="27101">
                  <a:moveTo>
                    <a:pt x="13294" y="27101"/>
                  </a:moveTo>
                  <a:cubicBezTo>
                    <a:pt x="29288" y="18902"/>
                    <a:pt x="44451" y="10287"/>
                    <a:pt x="60445" y="1672"/>
                  </a:cubicBezTo>
                  <a:cubicBezTo>
                    <a:pt x="42270" y="530"/>
                    <a:pt x="23056" y="-92"/>
                    <a:pt x="2596" y="11"/>
                  </a:cubicBezTo>
                  <a:lnTo>
                    <a:pt x="0" y="1361"/>
                  </a:lnTo>
                  <a:close/>
                </a:path>
              </a:pathLst>
            </a:custGeom>
            <a:solidFill>
              <a:srgbClr val="231F2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D699A330-6B91-D94B-A0A7-4878FEC69EC7}"/>
                </a:ext>
              </a:extLst>
            </p:cNvPr>
            <p:cNvSpPr/>
            <p:nvPr/>
          </p:nvSpPr>
          <p:spPr>
            <a:xfrm>
              <a:off x="8485947" y="4115327"/>
              <a:ext cx="120487" cy="77405"/>
            </a:xfrm>
            <a:custGeom>
              <a:avLst/>
              <a:gdLst>
                <a:gd name="connsiteX0" fmla="*/ 10478 w 120487"/>
                <a:gd name="connsiteY0" fmla="*/ 23017 h 77405"/>
                <a:gd name="connsiteX1" fmla="*/ 87851 w 120487"/>
                <a:gd name="connsiteY1" fmla="*/ 29764 h 77405"/>
                <a:gd name="connsiteX2" fmla="*/ 100938 w 120487"/>
                <a:gd name="connsiteY2" fmla="*/ 67752 h 77405"/>
                <a:gd name="connsiteX3" fmla="*/ 110596 w 120487"/>
                <a:gd name="connsiteY3" fmla="*/ 77405 h 77405"/>
                <a:gd name="connsiteX4" fmla="*/ 110596 w 120487"/>
                <a:gd name="connsiteY4" fmla="*/ 77405 h 77405"/>
                <a:gd name="connsiteX5" fmla="*/ 120255 w 120487"/>
                <a:gd name="connsiteY5" fmla="*/ 67752 h 77405"/>
                <a:gd name="connsiteX6" fmla="*/ 100314 w 120487"/>
                <a:gd name="connsiteY6" fmla="*/ 15025 h 77405"/>
                <a:gd name="connsiteX7" fmla="*/ 7362 w 120487"/>
                <a:gd name="connsiteY7" fmla="*/ 4023 h 77405"/>
                <a:gd name="connsiteX8" fmla="*/ 279 w 120487"/>
                <a:gd name="connsiteY8" fmla="*/ 15690 h 77405"/>
                <a:gd name="connsiteX9" fmla="*/ 10478 w 120487"/>
                <a:gd name="connsiteY9" fmla="*/ 23017 h 77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0487" h="77405">
                  <a:moveTo>
                    <a:pt x="10478" y="23017"/>
                  </a:moveTo>
                  <a:cubicBezTo>
                    <a:pt x="37688" y="18658"/>
                    <a:pt x="71027" y="15441"/>
                    <a:pt x="87851" y="29764"/>
                  </a:cubicBezTo>
                  <a:cubicBezTo>
                    <a:pt x="97697" y="39822"/>
                    <a:pt x="102495" y="53771"/>
                    <a:pt x="100938" y="67752"/>
                  </a:cubicBezTo>
                  <a:cubicBezTo>
                    <a:pt x="100938" y="73087"/>
                    <a:pt x="105258" y="77405"/>
                    <a:pt x="110596" y="77405"/>
                  </a:cubicBezTo>
                  <a:lnTo>
                    <a:pt x="110596" y="77405"/>
                  </a:lnTo>
                  <a:cubicBezTo>
                    <a:pt x="115935" y="77405"/>
                    <a:pt x="120255" y="73087"/>
                    <a:pt x="120255" y="67752"/>
                  </a:cubicBezTo>
                  <a:cubicBezTo>
                    <a:pt x="121917" y="48073"/>
                    <a:pt x="114584" y="28685"/>
                    <a:pt x="100314" y="15025"/>
                  </a:cubicBezTo>
                  <a:cubicBezTo>
                    <a:pt x="77674" y="-4280"/>
                    <a:pt x="40596" y="-1374"/>
                    <a:pt x="7362" y="4023"/>
                  </a:cubicBezTo>
                  <a:cubicBezTo>
                    <a:pt x="2179" y="5290"/>
                    <a:pt x="-988" y="10510"/>
                    <a:pt x="279" y="15690"/>
                  </a:cubicBezTo>
                  <a:cubicBezTo>
                    <a:pt x="1401" y="20309"/>
                    <a:pt x="5732" y="23422"/>
                    <a:pt x="10478" y="23017"/>
                  </a:cubicBezTo>
                  <a:close/>
                </a:path>
              </a:pathLst>
            </a:custGeom>
            <a:solidFill>
              <a:srgbClr val="231F2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285580C7-984E-764A-8AAC-35887C7848CC}"/>
                </a:ext>
              </a:extLst>
            </p:cNvPr>
            <p:cNvSpPr/>
            <p:nvPr/>
          </p:nvSpPr>
          <p:spPr>
            <a:xfrm>
              <a:off x="7103578" y="4170130"/>
              <a:ext cx="121951" cy="77405"/>
            </a:xfrm>
            <a:custGeom>
              <a:avLst/>
              <a:gdLst>
                <a:gd name="connsiteX0" fmla="*/ 113115 w 121951"/>
                <a:gd name="connsiteY0" fmla="*/ 4023 h 77405"/>
                <a:gd name="connsiteX1" fmla="*/ 20162 w 121951"/>
                <a:gd name="connsiteY1" fmla="*/ 15025 h 77405"/>
                <a:gd name="connsiteX2" fmla="*/ 222 w 121951"/>
                <a:gd name="connsiteY2" fmla="*/ 67752 h 77405"/>
                <a:gd name="connsiteX3" fmla="*/ 9880 w 121951"/>
                <a:gd name="connsiteY3" fmla="*/ 77405 h 77405"/>
                <a:gd name="connsiteX4" fmla="*/ 9880 w 121951"/>
                <a:gd name="connsiteY4" fmla="*/ 77405 h 77405"/>
                <a:gd name="connsiteX5" fmla="*/ 19539 w 121951"/>
                <a:gd name="connsiteY5" fmla="*/ 67752 h 77405"/>
                <a:gd name="connsiteX6" fmla="*/ 32729 w 121951"/>
                <a:gd name="connsiteY6" fmla="*/ 29764 h 77405"/>
                <a:gd name="connsiteX7" fmla="*/ 109999 w 121951"/>
                <a:gd name="connsiteY7" fmla="*/ 23017 h 77405"/>
                <a:gd name="connsiteX8" fmla="*/ 121673 w 121951"/>
                <a:gd name="connsiteY8" fmla="*/ 15939 h 77405"/>
                <a:gd name="connsiteX9" fmla="*/ 114590 w 121951"/>
                <a:gd name="connsiteY9" fmla="*/ 4262 h 77405"/>
                <a:gd name="connsiteX10" fmla="*/ 113115 w 121951"/>
                <a:gd name="connsiteY10" fmla="*/ 4023 h 77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1951" h="77405">
                  <a:moveTo>
                    <a:pt x="113115" y="4023"/>
                  </a:moveTo>
                  <a:cubicBezTo>
                    <a:pt x="79880" y="-1374"/>
                    <a:pt x="42803" y="-4280"/>
                    <a:pt x="20162" y="15025"/>
                  </a:cubicBezTo>
                  <a:cubicBezTo>
                    <a:pt x="5923" y="28716"/>
                    <a:pt x="-1399" y="48073"/>
                    <a:pt x="222" y="67752"/>
                  </a:cubicBezTo>
                  <a:cubicBezTo>
                    <a:pt x="222" y="73087"/>
                    <a:pt x="4542" y="77405"/>
                    <a:pt x="9880" y="77405"/>
                  </a:cubicBezTo>
                  <a:lnTo>
                    <a:pt x="9880" y="77405"/>
                  </a:lnTo>
                  <a:cubicBezTo>
                    <a:pt x="15219" y="77405"/>
                    <a:pt x="19539" y="73087"/>
                    <a:pt x="19539" y="67752"/>
                  </a:cubicBezTo>
                  <a:cubicBezTo>
                    <a:pt x="18012" y="53750"/>
                    <a:pt x="22852" y="39811"/>
                    <a:pt x="32729" y="29764"/>
                  </a:cubicBezTo>
                  <a:cubicBezTo>
                    <a:pt x="49450" y="15441"/>
                    <a:pt x="82788" y="18658"/>
                    <a:pt x="109999" y="23017"/>
                  </a:cubicBezTo>
                  <a:cubicBezTo>
                    <a:pt x="115182" y="24284"/>
                    <a:pt x="120406" y="21118"/>
                    <a:pt x="121673" y="15939"/>
                  </a:cubicBezTo>
                  <a:cubicBezTo>
                    <a:pt x="122940" y="10759"/>
                    <a:pt x="119772" y="5528"/>
                    <a:pt x="114590" y="4262"/>
                  </a:cubicBezTo>
                  <a:cubicBezTo>
                    <a:pt x="114101" y="4148"/>
                    <a:pt x="113613" y="4065"/>
                    <a:pt x="113115" y="4023"/>
                  </a:cubicBezTo>
                  <a:close/>
                </a:path>
              </a:pathLst>
            </a:custGeom>
            <a:solidFill>
              <a:srgbClr val="231F2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D3544A58-763E-2445-B2C2-697A70481A6D}"/>
                </a:ext>
              </a:extLst>
            </p:cNvPr>
            <p:cNvSpPr/>
            <p:nvPr/>
          </p:nvSpPr>
          <p:spPr>
            <a:xfrm>
              <a:off x="8662389" y="4061434"/>
              <a:ext cx="150385" cy="376250"/>
            </a:xfrm>
            <a:custGeom>
              <a:avLst/>
              <a:gdLst>
                <a:gd name="connsiteX0" fmla="*/ 7789 w 150385"/>
                <a:gd name="connsiteY0" fmla="*/ 329855 h 376250"/>
                <a:gd name="connsiteX1" fmla="*/ 0 w 150385"/>
                <a:gd name="connsiteY1" fmla="*/ 376251 h 376250"/>
                <a:gd name="connsiteX2" fmla="*/ 150385 w 150385"/>
                <a:gd name="connsiteY2" fmla="*/ 0 h 376250"/>
                <a:gd name="connsiteX3" fmla="*/ 9243 w 150385"/>
                <a:gd name="connsiteY3" fmla="*/ 331308 h 3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0385" h="376250">
                  <a:moveTo>
                    <a:pt x="7789" y="329855"/>
                  </a:moveTo>
                  <a:cubicBezTo>
                    <a:pt x="7446" y="345611"/>
                    <a:pt x="4819" y="361242"/>
                    <a:pt x="0" y="376251"/>
                  </a:cubicBezTo>
                  <a:cubicBezTo>
                    <a:pt x="76429" y="263002"/>
                    <a:pt x="127714" y="134713"/>
                    <a:pt x="150385" y="0"/>
                  </a:cubicBezTo>
                  <a:cubicBezTo>
                    <a:pt x="120661" y="117027"/>
                    <a:pt x="73053" y="228781"/>
                    <a:pt x="9243" y="331308"/>
                  </a:cubicBezTo>
                  <a:close/>
                </a:path>
              </a:pathLst>
            </a:custGeom>
            <a:solidFill>
              <a:srgbClr val="231F2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A45F17DC-CCBE-9048-BEAD-D3C9FD46147E}"/>
                </a:ext>
              </a:extLst>
            </p:cNvPr>
            <p:cNvSpPr/>
            <p:nvPr/>
          </p:nvSpPr>
          <p:spPr>
            <a:xfrm>
              <a:off x="8458718" y="3941656"/>
              <a:ext cx="185168" cy="340031"/>
            </a:xfrm>
            <a:custGeom>
              <a:avLst/>
              <a:gdLst>
                <a:gd name="connsiteX0" fmla="*/ 68865 w 185168"/>
                <a:gd name="connsiteY0" fmla="*/ 121749 h 340031"/>
                <a:gd name="connsiteX1" fmla="*/ 103864 w 185168"/>
                <a:gd name="connsiteY1" fmla="*/ 123825 h 340031"/>
                <a:gd name="connsiteX2" fmla="*/ 183108 w 185168"/>
                <a:gd name="connsiteY2" fmla="*/ 247235 h 340031"/>
                <a:gd name="connsiteX3" fmla="*/ 181550 w 185168"/>
                <a:gd name="connsiteY3" fmla="*/ 253774 h 340031"/>
                <a:gd name="connsiteX4" fmla="*/ 115808 w 185168"/>
                <a:gd name="connsiteY4" fmla="*/ 322589 h 340031"/>
                <a:gd name="connsiteX5" fmla="*/ 41446 w 185168"/>
                <a:gd name="connsiteY5" fmla="*/ 340027 h 340031"/>
                <a:gd name="connsiteX6" fmla="*/ 40408 w 185168"/>
                <a:gd name="connsiteY6" fmla="*/ 322693 h 340031"/>
                <a:gd name="connsiteX7" fmla="*/ 101995 w 185168"/>
                <a:gd name="connsiteY7" fmla="*/ 308993 h 340031"/>
                <a:gd name="connsiteX8" fmla="*/ 162752 w 185168"/>
                <a:gd name="connsiteY8" fmla="*/ 249415 h 340031"/>
                <a:gd name="connsiteX9" fmla="*/ 164310 w 185168"/>
                <a:gd name="connsiteY9" fmla="*/ 242876 h 340031"/>
                <a:gd name="connsiteX10" fmla="*/ 106565 w 185168"/>
                <a:gd name="connsiteY10" fmla="*/ 143961 h 340031"/>
                <a:gd name="connsiteX11" fmla="*/ 65749 w 185168"/>
                <a:gd name="connsiteY11" fmla="*/ 141263 h 340031"/>
                <a:gd name="connsiteX12" fmla="*/ 13820 w 185168"/>
                <a:gd name="connsiteY12" fmla="*/ 146037 h 340031"/>
                <a:gd name="connsiteX13" fmla="*/ 942 w 185168"/>
                <a:gd name="connsiteY13" fmla="*/ 141470 h 340031"/>
                <a:gd name="connsiteX14" fmla="*/ 5501 w 185168"/>
                <a:gd name="connsiteY14" fmla="*/ 128600 h 340031"/>
                <a:gd name="connsiteX15" fmla="*/ 5511 w 185168"/>
                <a:gd name="connsiteY15" fmla="*/ 128600 h 340031"/>
                <a:gd name="connsiteX16" fmla="*/ 29502 w 185168"/>
                <a:gd name="connsiteY16" fmla="*/ 121127 h 340031"/>
                <a:gd name="connsiteX17" fmla="*/ 41134 w 185168"/>
                <a:gd name="connsiteY17" fmla="*/ 23250 h 340031"/>
                <a:gd name="connsiteX18" fmla="*/ 70318 w 185168"/>
                <a:gd name="connsiteY18" fmla="*/ 0 h 340031"/>
                <a:gd name="connsiteX19" fmla="*/ 59933 w 185168"/>
                <a:gd name="connsiteY19" fmla="*/ 121957 h 340031"/>
                <a:gd name="connsiteX20" fmla="*/ 68865 w 185168"/>
                <a:gd name="connsiteY20" fmla="*/ 121749 h 340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85168" h="340031">
                  <a:moveTo>
                    <a:pt x="68865" y="121749"/>
                  </a:moveTo>
                  <a:lnTo>
                    <a:pt x="103864" y="123825"/>
                  </a:lnTo>
                  <a:cubicBezTo>
                    <a:pt x="153301" y="136799"/>
                    <a:pt x="195051" y="195443"/>
                    <a:pt x="183108" y="247235"/>
                  </a:cubicBezTo>
                  <a:lnTo>
                    <a:pt x="181550" y="253774"/>
                  </a:lnTo>
                  <a:cubicBezTo>
                    <a:pt x="176565" y="275156"/>
                    <a:pt x="144057" y="307643"/>
                    <a:pt x="115808" y="322589"/>
                  </a:cubicBezTo>
                  <a:cubicBezTo>
                    <a:pt x="92773" y="334246"/>
                    <a:pt x="67275" y="340224"/>
                    <a:pt x="41446" y="340027"/>
                  </a:cubicBezTo>
                  <a:cubicBezTo>
                    <a:pt x="40750" y="334277"/>
                    <a:pt x="40397" y="328485"/>
                    <a:pt x="40408" y="322693"/>
                  </a:cubicBezTo>
                  <a:cubicBezTo>
                    <a:pt x="61792" y="323679"/>
                    <a:pt x="83051" y="318946"/>
                    <a:pt x="101995" y="308993"/>
                  </a:cubicBezTo>
                  <a:cubicBezTo>
                    <a:pt x="127752" y="295707"/>
                    <a:pt x="158494" y="267475"/>
                    <a:pt x="162752" y="249415"/>
                  </a:cubicBezTo>
                  <a:lnTo>
                    <a:pt x="164310" y="242876"/>
                  </a:lnTo>
                  <a:cubicBezTo>
                    <a:pt x="173864" y="201359"/>
                    <a:pt x="147381" y="153821"/>
                    <a:pt x="106565" y="143961"/>
                  </a:cubicBezTo>
                  <a:lnTo>
                    <a:pt x="65749" y="141263"/>
                  </a:lnTo>
                  <a:cubicBezTo>
                    <a:pt x="48301" y="138865"/>
                    <a:pt x="30541" y="140505"/>
                    <a:pt x="13820" y="146037"/>
                  </a:cubicBezTo>
                  <a:cubicBezTo>
                    <a:pt x="8991" y="147947"/>
                    <a:pt x="3486" y="145995"/>
                    <a:pt x="942" y="141470"/>
                  </a:cubicBezTo>
                  <a:cubicBezTo>
                    <a:pt x="-1354" y="136654"/>
                    <a:pt x="693" y="130894"/>
                    <a:pt x="5501" y="128600"/>
                  </a:cubicBezTo>
                  <a:cubicBezTo>
                    <a:pt x="5511" y="128600"/>
                    <a:pt x="5511" y="128600"/>
                    <a:pt x="5511" y="128600"/>
                  </a:cubicBezTo>
                  <a:cubicBezTo>
                    <a:pt x="18286" y="122580"/>
                    <a:pt x="15897" y="121127"/>
                    <a:pt x="29502" y="121127"/>
                  </a:cubicBezTo>
                  <a:lnTo>
                    <a:pt x="41134" y="23250"/>
                  </a:lnTo>
                  <a:lnTo>
                    <a:pt x="70318" y="0"/>
                  </a:lnTo>
                  <a:lnTo>
                    <a:pt x="59933" y="121957"/>
                  </a:lnTo>
                  <a:cubicBezTo>
                    <a:pt x="61075" y="122165"/>
                    <a:pt x="68137" y="121542"/>
                    <a:pt x="68865" y="121749"/>
                  </a:cubicBezTo>
                  <a:close/>
                </a:path>
              </a:pathLst>
            </a:custGeom>
            <a:solidFill>
              <a:srgbClr val="231F2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41FED3ED-28E4-7546-91D6-002287D9BFEE}"/>
                </a:ext>
              </a:extLst>
            </p:cNvPr>
            <p:cNvSpPr/>
            <p:nvPr/>
          </p:nvSpPr>
          <p:spPr>
            <a:xfrm>
              <a:off x="8662389" y="4061434"/>
              <a:ext cx="150385" cy="376250"/>
            </a:xfrm>
            <a:custGeom>
              <a:avLst/>
              <a:gdLst>
                <a:gd name="connsiteX0" fmla="*/ 7789 w 150385"/>
                <a:gd name="connsiteY0" fmla="*/ 329855 h 376250"/>
                <a:gd name="connsiteX1" fmla="*/ 0 w 150385"/>
                <a:gd name="connsiteY1" fmla="*/ 376251 h 376250"/>
                <a:gd name="connsiteX2" fmla="*/ 150385 w 150385"/>
                <a:gd name="connsiteY2" fmla="*/ 0 h 376250"/>
                <a:gd name="connsiteX3" fmla="*/ 9243 w 150385"/>
                <a:gd name="connsiteY3" fmla="*/ 331308 h 3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0385" h="376250">
                  <a:moveTo>
                    <a:pt x="7789" y="329855"/>
                  </a:moveTo>
                  <a:cubicBezTo>
                    <a:pt x="7446" y="345611"/>
                    <a:pt x="4819" y="361242"/>
                    <a:pt x="0" y="376251"/>
                  </a:cubicBezTo>
                  <a:cubicBezTo>
                    <a:pt x="76429" y="263002"/>
                    <a:pt x="127714" y="134713"/>
                    <a:pt x="150385" y="0"/>
                  </a:cubicBezTo>
                  <a:cubicBezTo>
                    <a:pt x="120661" y="117027"/>
                    <a:pt x="73053" y="228781"/>
                    <a:pt x="9243" y="331308"/>
                  </a:cubicBezTo>
                  <a:close/>
                </a:path>
              </a:pathLst>
            </a:custGeom>
            <a:solidFill>
              <a:srgbClr val="231F2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339C4C2B-17C9-0543-A7D9-B00C82019B5E}"/>
                </a:ext>
              </a:extLst>
            </p:cNvPr>
            <p:cNvSpPr/>
            <p:nvPr/>
          </p:nvSpPr>
          <p:spPr>
            <a:xfrm>
              <a:off x="8662389" y="4061434"/>
              <a:ext cx="150385" cy="376250"/>
            </a:xfrm>
            <a:custGeom>
              <a:avLst/>
              <a:gdLst>
                <a:gd name="connsiteX0" fmla="*/ 7789 w 150385"/>
                <a:gd name="connsiteY0" fmla="*/ 329855 h 376250"/>
                <a:gd name="connsiteX1" fmla="*/ 0 w 150385"/>
                <a:gd name="connsiteY1" fmla="*/ 376251 h 376250"/>
                <a:gd name="connsiteX2" fmla="*/ 150385 w 150385"/>
                <a:gd name="connsiteY2" fmla="*/ 0 h 376250"/>
                <a:gd name="connsiteX3" fmla="*/ 9243 w 150385"/>
                <a:gd name="connsiteY3" fmla="*/ 331308 h 3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0385" h="376250">
                  <a:moveTo>
                    <a:pt x="7789" y="329855"/>
                  </a:moveTo>
                  <a:cubicBezTo>
                    <a:pt x="7446" y="345611"/>
                    <a:pt x="4819" y="361242"/>
                    <a:pt x="0" y="376251"/>
                  </a:cubicBezTo>
                  <a:cubicBezTo>
                    <a:pt x="76429" y="263002"/>
                    <a:pt x="127714" y="134713"/>
                    <a:pt x="150385" y="0"/>
                  </a:cubicBezTo>
                  <a:cubicBezTo>
                    <a:pt x="120661" y="117027"/>
                    <a:pt x="73053" y="228781"/>
                    <a:pt x="9243" y="331308"/>
                  </a:cubicBezTo>
                  <a:close/>
                </a:path>
              </a:pathLst>
            </a:custGeom>
            <a:solidFill>
              <a:srgbClr val="231F2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59ACA4BE-004F-0249-A817-1EDBDD7B308C}"/>
                </a:ext>
              </a:extLst>
            </p:cNvPr>
            <p:cNvSpPr/>
            <p:nvPr/>
          </p:nvSpPr>
          <p:spPr>
            <a:xfrm>
              <a:off x="8567048" y="4540336"/>
              <a:ext cx="3115" cy="3840"/>
            </a:xfrm>
            <a:custGeom>
              <a:avLst/>
              <a:gdLst>
                <a:gd name="connsiteX0" fmla="*/ 0 w 3115"/>
                <a:gd name="connsiteY0" fmla="*/ 3840 h 3840"/>
                <a:gd name="connsiteX1" fmla="*/ 3116 w 3115"/>
                <a:gd name="connsiteY1" fmla="*/ 0 h 3840"/>
                <a:gd name="connsiteX2" fmla="*/ 2596 w 3115"/>
                <a:gd name="connsiteY2" fmla="*/ 0 h 3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15" h="3840">
                  <a:moveTo>
                    <a:pt x="0" y="3840"/>
                  </a:moveTo>
                  <a:lnTo>
                    <a:pt x="3116" y="0"/>
                  </a:lnTo>
                  <a:lnTo>
                    <a:pt x="2596" y="0"/>
                  </a:lnTo>
                  <a:close/>
                </a:path>
              </a:pathLst>
            </a:custGeom>
            <a:solidFill>
              <a:srgbClr val="231F2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C7858BEF-84B4-824F-ABFC-8C1B090D9CC6}"/>
                </a:ext>
              </a:extLst>
            </p:cNvPr>
            <p:cNvSpPr/>
            <p:nvPr/>
          </p:nvSpPr>
          <p:spPr>
            <a:xfrm>
              <a:off x="6776544" y="2982875"/>
              <a:ext cx="2082058" cy="1887316"/>
            </a:xfrm>
            <a:custGeom>
              <a:avLst/>
              <a:gdLst>
                <a:gd name="connsiteX0" fmla="*/ 2079435 w 2082058"/>
                <a:gd name="connsiteY0" fmla="*/ 820633 h 1887316"/>
                <a:gd name="connsiteX1" fmla="*/ 2079435 w 2082058"/>
                <a:gd name="connsiteY1" fmla="*/ 816896 h 1887316"/>
                <a:gd name="connsiteX2" fmla="*/ 2079435 w 2082058"/>
                <a:gd name="connsiteY2" fmla="*/ 815443 h 1887316"/>
                <a:gd name="connsiteX3" fmla="*/ 2079435 w 2082058"/>
                <a:gd name="connsiteY3" fmla="*/ 813990 h 1887316"/>
                <a:gd name="connsiteX4" fmla="*/ 1976305 w 2082058"/>
                <a:gd name="connsiteY4" fmla="*/ 493891 h 1887316"/>
                <a:gd name="connsiteX5" fmla="*/ 1455771 w 2082058"/>
                <a:gd name="connsiteY5" fmla="*/ 22255 h 1887316"/>
                <a:gd name="connsiteX6" fmla="*/ 1141290 w 2082058"/>
                <a:gd name="connsiteY6" fmla="*/ 41664 h 1887316"/>
                <a:gd name="connsiteX7" fmla="*/ 513887 w 2082058"/>
                <a:gd name="connsiteY7" fmla="*/ 97401 h 1887316"/>
                <a:gd name="connsiteX8" fmla="*/ 478991 w 2082058"/>
                <a:gd name="connsiteY8" fmla="*/ 122934 h 1887316"/>
                <a:gd name="connsiteX9" fmla="*/ 1246 w 2082058"/>
                <a:gd name="connsiteY9" fmla="*/ 958366 h 1887316"/>
                <a:gd name="connsiteX10" fmla="*/ 0 w 2082058"/>
                <a:gd name="connsiteY10" fmla="*/ 962103 h 1887316"/>
                <a:gd name="connsiteX11" fmla="*/ 831 w 2082058"/>
                <a:gd name="connsiteY11" fmla="*/ 966047 h 1887316"/>
                <a:gd name="connsiteX12" fmla="*/ 177389 w 2082058"/>
                <a:gd name="connsiteY12" fmla="*/ 1410801 h 1887316"/>
                <a:gd name="connsiteX13" fmla="*/ 210000 w 2082058"/>
                <a:gd name="connsiteY13" fmla="*/ 1465915 h 1887316"/>
                <a:gd name="connsiteX14" fmla="*/ 503605 w 2082058"/>
                <a:gd name="connsiteY14" fmla="*/ 1789854 h 1887316"/>
                <a:gd name="connsiteX15" fmla="*/ 510148 w 2082058"/>
                <a:gd name="connsiteY15" fmla="*/ 1791411 h 1887316"/>
                <a:gd name="connsiteX16" fmla="*/ 523130 w 2082058"/>
                <a:gd name="connsiteY16" fmla="*/ 1783523 h 1887316"/>
                <a:gd name="connsiteX17" fmla="*/ 516816 w 2082058"/>
                <a:gd name="connsiteY17" fmla="*/ 1764124 h 1887316"/>
                <a:gd name="connsiteX18" fmla="*/ 516795 w 2082058"/>
                <a:gd name="connsiteY18" fmla="*/ 1764114 h 1887316"/>
                <a:gd name="connsiteX19" fmla="*/ 369110 w 2082058"/>
                <a:gd name="connsiteY19" fmla="*/ 1638628 h 1887316"/>
                <a:gd name="connsiteX20" fmla="*/ 376380 w 2082058"/>
                <a:gd name="connsiteY20" fmla="*/ 1644959 h 1887316"/>
                <a:gd name="connsiteX21" fmla="*/ 640282 w 2082058"/>
                <a:gd name="connsiteY21" fmla="*/ 1801894 h 1887316"/>
                <a:gd name="connsiteX22" fmla="*/ 700415 w 2082058"/>
                <a:gd name="connsiteY22" fmla="*/ 1818813 h 1887316"/>
                <a:gd name="connsiteX23" fmla="*/ 653887 w 2082058"/>
                <a:gd name="connsiteY23" fmla="*/ 1777295 h 1887316"/>
                <a:gd name="connsiteX24" fmla="*/ 555430 w 2082058"/>
                <a:gd name="connsiteY24" fmla="*/ 1638628 h 1887316"/>
                <a:gd name="connsiteX25" fmla="*/ 885074 w 2082058"/>
                <a:gd name="connsiteY25" fmla="*/ 1786844 h 1887316"/>
                <a:gd name="connsiteX26" fmla="*/ 885074 w 2082058"/>
                <a:gd name="connsiteY26" fmla="*/ 1880777 h 1887316"/>
                <a:gd name="connsiteX27" fmla="*/ 914050 w 2082058"/>
                <a:gd name="connsiteY27" fmla="*/ 1880777 h 1887316"/>
                <a:gd name="connsiteX28" fmla="*/ 914050 w 2082058"/>
                <a:gd name="connsiteY28" fmla="*/ 1791723 h 1887316"/>
                <a:gd name="connsiteX29" fmla="*/ 1059451 w 2082058"/>
                <a:gd name="connsiteY29" fmla="*/ 1802102 h 1887316"/>
                <a:gd name="connsiteX30" fmla="*/ 1250964 w 2082058"/>
                <a:gd name="connsiteY30" fmla="*/ 1783523 h 1887316"/>
                <a:gd name="connsiteX31" fmla="*/ 1250964 w 2082058"/>
                <a:gd name="connsiteY31" fmla="*/ 1887316 h 1887316"/>
                <a:gd name="connsiteX32" fmla="*/ 1279836 w 2082058"/>
                <a:gd name="connsiteY32" fmla="*/ 1887316 h 1887316"/>
                <a:gd name="connsiteX33" fmla="*/ 1279836 w 2082058"/>
                <a:gd name="connsiteY33" fmla="*/ 1776673 h 1887316"/>
                <a:gd name="connsiteX34" fmla="*/ 1598679 w 2082058"/>
                <a:gd name="connsiteY34" fmla="*/ 1601366 h 1887316"/>
                <a:gd name="connsiteX35" fmla="*/ 1538961 w 2082058"/>
                <a:gd name="connsiteY35" fmla="*/ 1706508 h 1887316"/>
                <a:gd name="connsiteX36" fmla="*/ 1493679 w 2082058"/>
                <a:gd name="connsiteY36" fmla="*/ 1759235 h 1887316"/>
                <a:gd name="connsiteX37" fmla="*/ 1555993 w 2082058"/>
                <a:gd name="connsiteY37" fmla="*/ 1728928 h 1887316"/>
                <a:gd name="connsiteX38" fmla="*/ 1775029 w 2082058"/>
                <a:gd name="connsiteY38" fmla="*/ 1562858 h 1887316"/>
                <a:gd name="connsiteX39" fmla="*/ 1890934 w 2082058"/>
                <a:gd name="connsiteY39" fmla="*/ 1414538 h 1887316"/>
                <a:gd name="connsiteX40" fmla="*/ 2035919 w 2082058"/>
                <a:gd name="connsiteY40" fmla="*/ 1077729 h 1887316"/>
                <a:gd name="connsiteX41" fmla="*/ 1885533 w 2082058"/>
                <a:gd name="connsiteY41" fmla="*/ 1453979 h 1887316"/>
                <a:gd name="connsiteX42" fmla="*/ 1810756 w 2082058"/>
                <a:gd name="connsiteY42" fmla="*/ 1548743 h 1887316"/>
                <a:gd name="connsiteX43" fmla="*/ 1686127 w 2082058"/>
                <a:gd name="connsiteY43" fmla="*/ 1657103 h 1887316"/>
                <a:gd name="connsiteX44" fmla="*/ 1682834 w 2082058"/>
                <a:gd name="connsiteY44" fmla="*/ 1677239 h 1887316"/>
                <a:gd name="connsiteX45" fmla="*/ 1682907 w 2082058"/>
                <a:gd name="connsiteY45" fmla="*/ 1677342 h 1887316"/>
                <a:gd name="connsiteX46" fmla="*/ 1702734 w 2082058"/>
                <a:gd name="connsiteY46" fmla="*/ 1680799 h 1887316"/>
                <a:gd name="connsiteX47" fmla="*/ 1703056 w 2082058"/>
                <a:gd name="connsiteY47" fmla="*/ 1680560 h 1887316"/>
                <a:gd name="connsiteX48" fmla="*/ 2055029 w 2082058"/>
                <a:gd name="connsiteY48" fmla="*/ 1130456 h 1887316"/>
                <a:gd name="connsiteX49" fmla="*/ 2079435 w 2082058"/>
                <a:gd name="connsiteY49" fmla="*/ 820633 h 1887316"/>
                <a:gd name="connsiteX50" fmla="*/ 2050667 w 2082058"/>
                <a:gd name="connsiteY50" fmla="*/ 817311 h 1887316"/>
                <a:gd name="connsiteX51" fmla="*/ 2050667 w 2082058"/>
                <a:gd name="connsiteY51" fmla="*/ 820010 h 1887316"/>
                <a:gd name="connsiteX52" fmla="*/ 1890726 w 2082058"/>
                <a:gd name="connsiteY52" fmla="*/ 1363472 h 1887316"/>
                <a:gd name="connsiteX53" fmla="*/ 1812625 w 2082058"/>
                <a:gd name="connsiteY53" fmla="*/ 1478578 h 1887316"/>
                <a:gd name="connsiteX54" fmla="*/ 1725593 w 2082058"/>
                <a:gd name="connsiteY54" fmla="*/ 1570851 h 1887316"/>
                <a:gd name="connsiteX55" fmla="*/ 1726320 w 2082058"/>
                <a:gd name="connsiteY55" fmla="*/ 1570851 h 1887316"/>
                <a:gd name="connsiteX56" fmla="*/ 1597640 w 2082058"/>
                <a:gd name="connsiteY56" fmla="*/ 1671426 h 1887316"/>
                <a:gd name="connsiteX57" fmla="*/ 1648115 w 2082058"/>
                <a:gd name="connsiteY57" fmla="*/ 1551856 h 1887316"/>
                <a:gd name="connsiteX58" fmla="*/ 1742314 w 2082058"/>
                <a:gd name="connsiteY58" fmla="*/ 1314896 h 1887316"/>
                <a:gd name="connsiteX59" fmla="*/ 1734732 w 2082058"/>
                <a:gd name="connsiteY59" fmla="*/ 1312717 h 1887316"/>
                <a:gd name="connsiteX60" fmla="*/ 1620489 w 2082058"/>
                <a:gd name="connsiteY60" fmla="*/ 1533485 h 1887316"/>
                <a:gd name="connsiteX61" fmla="*/ 1059658 w 2082058"/>
                <a:gd name="connsiteY61" fmla="*/ 1773455 h 1887316"/>
                <a:gd name="connsiteX62" fmla="*/ 542136 w 2082058"/>
                <a:gd name="connsiteY62" fmla="*/ 1587250 h 1887316"/>
                <a:gd name="connsiteX63" fmla="*/ 542136 w 2082058"/>
                <a:gd name="connsiteY63" fmla="*/ 1587250 h 1887316"/>
                <a:gd name="connsiteX64" fmla="*/ 429762 w 2082058"/>
                <a:gd name="connsiteY64" fmla="*/ 1403224 h 1887316"/>
                <a:gd name="connsiteX65" fmla="*/ 416261 w 2082058"/>
                <a:gd name="connsiteY65" fmla="*/ 1409971 h 1887316"/>
                <a:gd name="connsiteX66" fmla="*/ 507967 w 2082058"/>
                <a:gd name="connsiteY66" fmla="*/ 1608112 h 1887316"/>
                <a:gd name="connsiteX67" fmla="*/ 592611 w 2082058"/>
                <a:gd name="connsiteY67" fmla="*/ 1752385 h 1887316"/>
                <a:gd name="connsiteX68" fmla="*/ 394139 w 2082058"/>
                <a:gd name="connsiteY68" fmla="*/ 1622332 h 1887316"/>
                <a:gd name="connsiteX69" fmla="*/ 276053 w 2082058"/>
                <a:gd name="connsiteY69" fmla="*/ 1499648 h 1887316"/>
                <a:gd name="connsiteX70" fmla="*/ 206261 w 2082058"/>
                <a:gd name="connsiteY70" fmla="*/ 1402705 h 1887316"/>
                <a:gd name="connsiteX71" fmla="*/ 109362 w 2082058"/>
                <a:gd name="connsiteY71" fmla="*/ 1215878 h 1887316"/>
                <a:gd name="connsiteX72" fmla="*/ 109362 w 2082058"/>
                <a:gd name="connsiteY72" fmla="*/ 1215359 h 1887316"/>
                <a:gd name="connsiteX73" fmla="*/ 30430 w 2082058"/>
                <a:gd name="connsiteY73" fmla="*/ 963556 h 1887316"/>
                <a:gd name="connsiteX74" fmla="*/ 164510 w 2082058"/>
                <a:gd name="connsiteY74" fmla="*/ 635050 h 1887316"/>
                <a:gd name="connsiteX75" fmla="*/ 497374 w 2082058"/>
                <a:gd name="connsiteY75" fmla="*/ 145250 h 1887316"/>
                <a:gd name="connsiteX76" fmla="*/ 530193 w 2082058"/>
                <a:gd name="connsiteY76" fmla="*/ 121377 h 1887316"/>
                <a:gd name="connsiteX77" fmla="*/ 1133813 w 2082058"/>
                <a:gd name="connsiteY77" fmla="*/ 69481 h 1887316"/>
                <a:gd name="connsiteX78" fmla="*/ 1169332 w 2082058"/>
                <a:gd name="connsiteY78" fmla="*/ 308205 h 1887316"/>
                <a:gd name="connsiteX79" fmla="*/ 1169332 w 2082058"/>
                <a:gd name="connsiteY79" fmla="*/ 316405 h 1887316"/>
                <a:gd name="connsiteX80" fmla="*/ 1170994 w 2082058"/>
                <a:gd name="connsiteY80" fmla="*/ 321283 h 1887316"/>
                <a:gd name="connsiteX81" fmla="*/ 1184599 w 2082058"/>
                <a:gd name="connsiteY81" fmla="*/ 412518 h 1887316"/>
                <a:gd name="connsiteX82" fmla="*/ 624807 w 2082058"/>
                <a:gd name="connsiteY82" fmla="*/ 759395 h 1887316"/>
                <a:gd name="connsiteX83" fmla="*/ 614421 w 2082058"/>
                <a:gd name="connsiteY83" fmla="*/ 777247 h 1887316"/>
                <a:gd name="connsiteX84" fmla="*/ 628442 w 2082058"/>
                <a:gd name="connsiteY84" fmla="*/ 787626 h 1887316"/>
                <a:gd name="connsiteX85" fmla="*/ 632285 w 2082058"/>
                <a:gd name="connsiteY85" fmla="*/ 787107 h 1887316"/>
                <a:gd name="connsiteX86" fmla="*/ 1190000 w 2082058"/>
                <a:gd name="connsiteY86" fmla="*/ 449779 h 1887316"/>
                <a:gd name="connsiteX87" fmla="*/ 1198412 w 2082058"/>
                <a:gd name="connsiteY87" fmla="*/ 506969 h 1887316"/>
                <a:gd name="connsiteX88" fmla="*/ 1198412 w 2082058"/>
                <a:gd name="connsiteY88" fmla="*/ 507488 h 1887316"/>
                <a:gd name="connsiteX89" fmla="*/ 1196127 w 2082058"/>
                <a:gd name="connsiteY89" fmla="*/ 505205 h 1887316"/>
                <a:gd name="connsiteX90" fmla="*/ 744451 w 2082058"/>
                <a:gd name="connsiteY90" fmla="*/ 832465 h 1887316"/>
                <a:gd name="connsiteX91" fmla="*/ 802195 w 2082058"/>
                <a:gd name="connsiteY91" fmla="*/ 834126 h 1887316"/>
                <a:gd name="connsiteX92" fmla="*/ 1188753 w 2082058"/>
                <a:gd name="connsiteY92" fmla="*/ 551808 h 1887316"/>
                <a:gd name="connsiteX93" fmla="*/ 1064124 w 2082058"/>
                <a:gd name="connsiteY93" fmla="*/ 758460 h 1887316"/>
                <a:gd name="connsiteX94" fmla="*/ 1057685 w 2082058"/>
                <a:gd name="connsiteY94" fmla="*/ 781503 h 1887316"/>
                <a:gd name="connsiteX95" fmla="*/ 1072433 w 2082058"/>
                <a:gd name="connsiteY95" fmla="*/ 790118 h 1887316"/>
                <a:gd name="connsiteX96" fmla="*/ 1080741 w 2082058"/>
                <a:gd name="connsiteY96" fmla="*/ 787938 h 1887316"/>
                <a:gd name="connsiteX97" fmla="*/ 1216379 w 2082058"/>
                <a:gd name="connsiteY97" fmla="*/ 580351 h 1887316"/>
                <a:gd name="connsiteX98" fmla="*/ 1357729 w 2082058"/>
                <a:gd name="connsiteY98" fmla="*/ 768217 h 1887316"/>
                <a:gd name="connsiteX99" fmla="*/ 1396157 w 2082058"/>
                <a:gd name="connsiteY99" fmla="*/ 763546 h 1887316"/>
                <a:gd name="connsiteX100" fmla="*/ 1229985 w 2082058"/>
                <a:gd name="connsiteY100" fmla="*/ 522954 h 1887316"/>
                <a:gd name="connsiteX101" fmla="*/ 1231231 w 2082058"/>
                <a:gd name="connsiteY101" fmla="*/ 515584 h 1887316"/>
                <a:gd name="connsiteX102" fmla="*/ 1227492 w 2082058"/>
                <a:gd name="connsiteY102" fmla="*/ 502403 h 1887316"/>
                <a:gd name="connsiteX103" fmla="*/ 1212433 w 2082058"/>
                <a:gd name="connsiteY103" fmla="*/ 401100 h 1887316"/>
                <a:gd name="connsiteX104" fmla="*/ 1504584 w 2082058"/>
                <a:gd name="connsiteY104" fmla="*/ 655913 h 1887316"/>
                <a:gd name="connsiteX105" fmla="*/ 1523974 w 2082058"/>
                <a:gd name="connsiteY105" fmla="*/ 649529 h 1887316"/>
                <a:gd name="connsiteX106" fmla="*/ 1524005 w 2082058"/>
                <a:gd name="connsiteY106" fmla="*/ 649478 h 1887316"/>
                <a:gd name="connsiteX107" fmla="*/ 1517462 w 2082058"/>
                <a:gd name="connsiteY107" fmla="*/ 630068 h 1887316"/>
                <a:gd name="connsiteX108" fmla="*/ 1199347 w 2082058"/>
                <a:gd name="connsiteY108" fmla="*/ 313084 h 1887316"/>
                <a:gd name="connsiteX109" fmla="*/ 1162373 w 2082058"/>
                <a:gd name="connsiteY109" fmla="*/ 63980 h 1887316"/>
                <a:gd name="connsiteX110" fmla="*/ 1446112 w 2082058"/>
                <a:gd name="connsiteY110" fmla="*/ 48203 h 1887316"/>
                <a:gd name="connsiteX111" fmla="*/ 1950236 w 2082058"/>
                <a:gd name="connsiteY111" fmla="*/ 504893 h 1887316"/>
                <a:gd name="connsiteX112" fmla="*/ 2050874 w 2082058"/>
                <a:gd name="connsiteY112" fmla="*/ 814924 h 1887316"/>
                <a:gd name="connsiteX113" fmla="*/ 2050667 w 2082058"/>
                <a:gd name="connsiteY113" fmla="*/ 817311 h 1887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</a:cxnLst>
              <a:rect l="l" t="t" r="r" b="b"/>
              <a:pathLst>
                <a:path w="2082058" h="1887316">
                  <a:moveTo>
                    <a:pt x="2079435" y="820633"/>
                  </a:moveTo>
                  <a:cubicBezTo>
                    <a:pt x="2079435" y="819387"/>
                    <a:pt x="2079435" y="818142"/>
                    <a:pt x="2079435" y="816896"/>
                  </a:cubicBezTo>
                  <a:lnTo>
                    <a:pt x="2079435" y="815443"/>
                  </a:lnTo>
                  <a:lnTo>
                    <a:pt x="2079435" y="813990"/>
                  </a:lnTo>
                  <a:cubicBezTo>
                    <a:pt x="2078812" y="807970"/>
                    <a:pt x="2061572" y="664320"/>
                    <a:pt x="1976305" y="493891"/>
                  </a:cubicBezTo>
                  <a:cubicBezTo>
                    <a:pt x="1897477" y="336437"/>
                    <a:pt x="1743248" y="126671"/>
                    <a:pt x="1455771" y="22255"/>
                  </a:cubicBezTo>
                  <a:cubicBezTo>
                    <a:pt x="1327299" y="-24452"/>
                    <a:pt x="1150845" y="38135"/>
                    <a:pt x="1141290" y="41664"/>
                  </a:cubicBezTo>
                  <a:cubicBezTo>
                    <a:pt x="1027982" y="7620"/>
                    <a:pt x="742893" y="-53930"/>
                    <a:pt x="513887" y="97401"/>
                  </a:cubicBezTo>
                  <a:cubicBezTo>
                    <a:pt x="502255" y="105082"/>
                    <a:pt x="490519" y="113697"/>
                    <a:pt x="478991" y="122934"/>
                  </a:cubicBezTo>
                  <a:cubicBezTo>
                    <a:pt x="210415" y="338617"/>
                    <a:pt x="9763" y="933145"/>
                    <a:pt x="1246" y="958366"/>
                  </a:cubicBezTo>
                  <a:lnTo>
                    <a:pt x="0" y="962103"/>
                  </a:lnTo>
                  <a:lnTo>
                    <a:pt x="831" y="966047"/>
                  </a:lnTo>
                  <a:cubicBezTo>
                    <a:pt x="41335" y="1152875"/>
                    <a:pt x="106246" y="1298186"/>
                    <a:pt x="177389" y="1410801"/>
                  </a:cubicBezTo>
                  <a:cubicBezTo>
                    <a:pt x="187775" y="1428654"/>
                    <a:pt x="198160" y="1447129"/>
                    <a:pt x="210000" y="1465915"/>
                  </a:cubicBezTo>
                  <a:cubicBezTo>
                    <a:pt x="313130" y="1634268"/>
                    <a:pt x="411899" y="1743355"/>
                    <a:pt x="503605" y="1789854"/>
                  </a:cubicBezTo>
                  <a:cubicBezTo>
                    <a:pt x="505641" y="1790861"/>
                    <a:pt x="507874" y="1791390"/>
                    <a:pt x="510148" y="1791411"/>
                  </a:cubicBezTo>
                  <a:cubicBezTo>
                    <a:pt x="515611" y="1791411"/>
                    <a:pt x="520617" y="1788370"/>
                    <a:pt x="523130" y="1783523"/>
                  </a:cubicBezTo>
                  <a:cubicBezTo>
                    <a:pt x="526745" y="1776424"/>
                    <a:pt x="523920" y="1767736"/>
                    <a:pt x="516816" y="1764124"/>
                  </a:cubicBezTo>
                  <a:cubicBezTo>
                    <a:pt x="516806" y="1764114"/>
                    <a:pt x="516795" y="1764114"/>
                    <a:pt x="516795" y="1764114"/>
                  </a:cubicBezTo>
                  <a:cubicBezTo>
                    <a:pt x="466009" y="1738269"/>
                    <a:pt x="415949" y="1692808"/>
                    <a:pt x="369110" y="1638628"/>
                  </a:cubicBezTo>
                  <a:lnTo>
                    <a:pt x="376380" y="1644959"/>
                  </a:lnTo>
                  <a:cubicBezTo>
                    <a:pt x="515756" y="1765774"/>
                    <a:pt x="635297" y="1800649"/>
                    <a:pt x="640282" y="1801894"/>
                  </a:cubicBezTo>
                  <a:lnTo>
                    <a:pt x="700415" y="1818813"/>
                  </a:lnTo>
                  <a:lnTo>
                    <a:pt x="653887" y="1777295"/>
                  </a:lnTo>
                  <a:cubicBezTo>
                    <a:pt x="622730" y="1749686"/>
                    <a:pt x="587210" y="1698724"/>
                    <a:pt x="555430" y="1638628"/>
                  </a:cubicBezTo>
                  <a:cubicBezTo>
                    <a:pt x="643813" y="1712632"/>
                    <a:pt x="756602" y="1763180"/>
                    <a:pt x="885074" y="1786844"/>
                  </a:cubicBezTo>
                  <a:lnTo>
                    <a:pt x="885074" y="1880777"/>
                  </a:lnTo>
                  <a:lnTo>
                    <a:pt x="914050" y="1880777"/>
                  </a:lnTo>
                  <a:lnTo>
                    <a:pt x="914050" y="1791723"/>
                  </a:lnTo>
                  <a:cubicBezTo>
                    <a:pt x="962198" y="1798770"/>
                    <a:pt x="1010793" y="1802237"/>
                    <a:pt x="1059451" y="1802102"/>
                  </a:cubicBezTo>
                  <a:cubicBezTo>
                    <a:pt x="1123759" y="1802538"/>
                    <a:pt x="1187943" y="1796310"/>
                    <a:pt x="1250964" y="1783523"/>
                  </a:cubicBezTo>
                  <a:lnTo>
                    <a:pt x="1250964" y="1887316"/>
                  </a:lnTo>
                  <a:lnTo>
                    <a:pt x="1279836" y="1887316"/>
                  </a:lnTo>
                  <a:lnTo>
                    <a:pt x="1279836" y="1776673"/>
                  </a:lnTo>
                  <a:cubicBezTo>
                    <a:pt x="1406646" y="1745535"/>
                    <a:pt x="1515281" y="1685750"/>
                    <a:pt x="1598679" y="1601366"/>
                  </a:cubicBezTo>
                  <a:cubicBezTo>
                    <a:pt x="1584222" y="1639240"/>
                    <a:pt x="1564084" y="1674685"/>
                    <a:pt x="1538961" y="1706508"/>
                  </a:cubicBezTo>
                  <a:lnTo>
                    <a:pt x="1493679" y="1759235"/>
                  </a:lnTo>
                  <a:lnTo>
                    <a:pt x="1555993" y="1728928"/>
                  </a:lnTo>
                  <a:cubicBezTo>
                    <a:pt x="1637272" y="1685407"/>
                    <a:pt x="1711188" y="1629359"/>
                    <a:pt x="1775029" y="1562858"/>
                  </a:cubicBezTo>
                  <a:cubicBezTo>
                    <a:pt x="1781052" y="1560990"/>
                    <a:pt x="1890934" y="1414538"/>
                    <a:pt x="1890934" y="1414538"/>
                  </a:cubicBezTo>
                  <a:cubicBezTo>
                    <a:pt x="1957039" y="1310776"/>
                    <a:pt x="2005998" y="1197049"/>
                    <a:pt x="2035919" y="1077729"/>
                  </a:cubicBezTo>
                  <a:cubicBezTo>
                    <a:pt x="2013247" y="1212442"/>
                    <a:pt x="1961962" y="1340730"/>
                    <a:pt x="1885533" y="1453979"/>
                  </a:cubicBezTo>
                  <a:cubicBezTo>
                    <a:pt x="1865551" y="1489165"/>
                    <a:pt x="1840334" y="1521123"/>
                    <a:pt x="1810756" y="1548743"/>
                  </a:cubicBezTo>
                  <a:cubicBezTo>
                    <a:pt x="1772858" y="1588848"/>
                    <a:pt x="1731118" y="1625145"/>
                    <a:pt x="1686127" y="1657103"/>
                  </a:cubicBezTo>
                  <a:cubicBezTo>
                    <a:pt x="1679656" y="1661753"/>
                    <a:pt x="1678182" y="1670772"/>
                    <a:pt x="1682834" y="1677239"/>
                  </a:cubicBezTo>
                  <a:cubicBezTo>
                    <a:pt x="1682855" y="1677270"/>
                    <a:pt x="1682886" y="1677311"/>
                    <a:pt x="1682907" y="1677342"/>
                  </a:cubicBezTo>
                  <a:cubicBezTo>
                    <a:pt x="1687425" y="1683767"/>
                    <a:pt x="1696305" y="1685314"/>
                    <a:pt x="1702734" y="1680799"/>
                  </a:cubicBezTo>
                  <a:cubicBezTo>
                    <a:pt x="1702838" y="1680716"/>
                    <a:pt x="1702952" y="1680643"/>
                    <a:pt x="1703056" y="1680560"/>
                  </a:cubicBezTo>
                  <a:cubicBezTo>
                    <a:pt x="1929153" y="1516878"/>
                    <a:pt x="2019302" y="1291232"/>
                    <a:pt x="2055029" y="1130456"/>
                  </a:cubicBezTo>
                  <a:cubicBezTo>
                    <a:pt x="2078594" y="1028977"/>
                    <a:pt x="2086819" y="924551"/>
                    <a:pt x="2079435" y="820633"/>
                  </a:cubicBezTo>
                  <a:close/>
                  <a:moveTo>
                    <a:pt x="2050667" y="817311"/>
                  </a:moveTo>
                  <a:cubicBezTo>
                    <a:pt x="2050615" y="818214"/>
                    <a:pt x="2050615" y="819107"/>
                    <a:pt x="2050667" y="820010"/>
                  </a:cubicBezTo>
                  <a:cubicBezTo>
                    <a:pt x="2032907" y="1027077"/>
                    <a:pt x="1955741" y="1274625"/>
                    <a:pt x="1890726" y="1363472"/>
                  </a:cubicBezTo>
                  <a:cubicBezTo>
                    <a:pt x="1866320" y="1402498"/>
                    <a:pt x="1835058" y="1448167"/>
                    <a:pt x="1812625" y="1478578"/>
                  </a:cubicBezTo>
                  <a:cubicBezTo>
                    <a:pt x="1787471" y="1512757"/>
                    <a:pt x="1758246" y="1543740"/>
                    <a:pt x="1725593" y="1570851"/>
                  </a:cubicBezTo>
                  <a:cubicBezTo>
                    <a:pt x="1725593" y="1570851"/>
                    <a:pt x="1725593" y="1570851"/>
                    <a:pt x="1726320" y="1570851"/>
                  </a:cubicBezTo>
                  <a:cubicBezTo>
                    <a:pt x="1686449" y="1608071"/>
                    <a:pt x="1643400" y="1641731"/>
                    <a:pt x="1597640" y="1671426"/>
                  </a:cubicBezTo>
                  <a:cubicBezTo>
                    <a:pt x="1618038" y="1633179"/>
                    <a:pt x="1634935" y="1593156"/>
                    <a:pt x="1648115" y="1551856"/>
                  </a:cubicBezTo>
                  <a:cubicBezTo>
                    <a:pt x="1650815" y="1553206"/>
                    <a:pt x="1742314" y="1314896"/>
                    <a:pt x="1742314" y="1314896"/>
                  </a:cubicBezTo>
                  <a:lnTo>
                    <a:pt x="1734732" y="1312717"/>
                  </a:lnTo>
                  <a:cubicBezTo>
                    <a:pt x="1734732" y="1312717"/>
                    <a:pt x="1624020" y="1534834"/>
                    <a:pt x="1620489" y="1533485"/>
                  </a:cubicBezTo>
                  <a:cubicBezTo>
                    <a:pt x="1498872" y="1688241"/>
                    <a:pt x="1300088" y="1773455"/>
                    <a:pt x="1059658" y="1773455"/>
                  </a:cubicBezTo>
                  <a:cubicBezTo>
                    <a:pt x="847893" y="1773455"/>
                    <a:pt x="665000" y="1707339"/>
                    <a:pt x="542136" y="1587250"/>
                  </a:cubicBezTo>
                  <a:lnTo>
                    <a:pt x="542136" y="1587250"/>
                  </a:lnTo>
                  <a:cubicBezTo>
                    <a:pt x="535178" y="1592440"/>
                    <a:pt x="433709" y="1410801"/>
                    <a:pt x="429762" y="1403224"/>
                  </a:cubicBezTo>
                  <a:cubicBezTo>
                    <a:pt x="429139" y="1401875"/>
                    <a:pt x="421662" y="1405923"/>
                    <a:pt x="416261" y="1409971"/>
                  </a:cubicBezTo>
                  <a:cubicBezTo>
                    <a:pt x="416261" y="1409971"/>
                    <a:pt x="505475" y="1609254"/>
                    <a:pt x="507967" y="1608112"/>
                  </a:cubicBezTo>
                  <a:cubicBezTo>
                    <a:pt x="531024" y="1659044"/>
                    <a:pt x="559397" y="1707401"/>
                    <a:pt x="592611" y="1752385"/>
                  </a:cubicBezTo>
                  <a:cubicBezTo>
                    <a:pt x="520658" y="1718590"/>
                    <a:pt x="453837" y="1674810"/>
                    <a:pt x="394139" y="1622332"/>
                  </a:cubicBezTo>
                  <a:cubicBezTo>
                    <a:pt x="391439" y="1620049"/>
                    <a:pt x="287789" y="1511792"/>
                    <a:pt x="276053" y="1499648"/>
                  </a:cubicBezTo>
                  <a:cubicBezTo>
                    <a:pt x="251044" y="1468625"/>
                    <a:pt x="227749" y="1436262"/>
                    <a:pt x="206261" y="1402705"/>
                  </a:cubicBezTo>
                  <a:cubicBezTo>
                    <a:pt x="147478" y="1300780"/>
                    <a:pt x="110297" y="1218057"/>
                    <a:pt x="109362" y="1215878"/>
                  </a:cubicBezTo>
                  <a:cubicBezTo>
                    <a:pt x="109414" y="1215712"/>
                    <a:pt x="109414" y="1215525"/>
                    <a:pt x="109362" y="1215359"/>
                  </a:cubicBezTo>
                  <a:cubicBezTo>
                    <a:pt x="75619" y="1133933"/>
                    <a:pt x="49208" y="1049663"/>
                    <a:pt x="30430" y="963556"/>
                  </a:cubicBezTo>
                  <a:cubicBezTo>
                    <a:pt x="69522" y="851854"/>
                    <a:pt x="114274" y="742207"/>
                    <a:pt x="164510" y="635050"/>
                  </a:cubicBezTo>
                  <a:cubicBezTo>
                    <a:pt x="274288" y="401308"/>
                    <a:pt x="389466" y="232021"/>
                    <a:pt x="497374" y="145250"/>
                  </a:cubicBezTo>
                  <a:cubicBezTo>
                    <a:pt x="508279" y="136531"/>
                    <a:pt x="519288" y="128539"/>
                    <a:pt x="530193" y="121377"/>
                  </a:cubicBezTo>
                  <a:cubicBezTo>
                    <a:pt x="749332" y="-23414"/>
                    <a:pt x="1024866" y="36474"/>
                    <a:pt x="1133813" y="69481"/>
                  </a:cubicBezTo>
                  <a:lnTo>
                    <a:pt x="1169332" y="308205"/>
                  </a:lnTo>
                  <a:cubicBezTo>
                    <a:pt x="1168501" y="310873"/>
                    <a:pt x="1168501" y="313737"/>
                    <a:pt x="1169332" y="316405"/>
                  </a:cubicBezTo>
                  <a:cubicBezTo>
                    <a:pt x="1169332" y="317028"/>
                    <a:pt x="1170059" y="318688"/>
                    <a:pt x="1170994" y="321283"/>
                  </a:cubicBezTo>
                  <a:lnTo>
                    <a:pt x="1184599" y="412518"/>
                  </a:lnTo>
                  <a:cubicBezTo>
                    <a:pt x="1155622" y="447081"/>
                    <a:pt x="959540" y="668264"/>
                    <a:pt x="624807" y="759395"/>
                  </a:cubicBezTo>
                  <a:cubicBezTo>
                    <a:pt x="617018" y="761470"/>
                    <a:pt x="612375" y="769452"/>
                    <a:pt x="614421" y="777247"/>
                  </a:cubicBezTo>
                  <a:cubicBezTo>
                    <a:pt x="616238" y="783454"/>
                    <a:pt x="621971" y="787699"/>
                    <a:pt x="628442" y="787626"/>
                  </a:cubicBezTo>
                  <a:cubicBezTo>
                    <a:pt x="629740" y="787647"/>
                    <a:pt x="631038" y="787481"/>
                    <a:pt x="632285" y="787107"/>
                  </a:cubicBezTo>
                  <a:cubicBezTo>
                    <a:pt x="845546" y="727717"/>
                    <a:pt x="1038430" y="611043"/>
                    <a:pt x="1190000" y="449779"/>
                  </a:cubicBezTo>
                  <a:lnTo>
                    <a:pt x="1198412" y="506969"/>
                  </a:lnTo>
                  <a:cubicBezTo>
                    <a:pt x="1198412" y="506969"/>
                    <a:pt x="1198412" y="506969"/>
                    <a:pt x="1198412" y="507488"/>
                  </a:cubicBezTo>
                  <a:lnTo>
                    <a:pt x="1196127" y="505205"/>
                  </a:lnTo>
                  <a:cubicBezTo>
                    <a:pt x="1131631" y="566754"/>
                    <a:pt x="958813" y="721510"/>
                    <a:pt x="744451" y="832465"/>
                  </a:cubicBezTo>
                  <a:cubicBezTo>
                    <a:pt x="765222" y="832465"/>
                    <a:pt x="784020" y="832984"/>
                    <a:pt x="802195" y="834126"/>
                  </a:cubicBezTo>
                  <a:cubicBezTo>
                    <a:pt x="941198" y="754755"/>
                    <a:pt x="1070865" y="660054"/>
                    <a:pt x="1188753" y="551808"/>
                  </a:cubicBezTo>
                  <a:cubicBezTo>
                    <a:pt x="1173798" y="610763"/>
                    <a:pt x="1137655" y="716943"/>
                    <a:pt x="1064124" y="758460"/>
                  </a:cubicBezTo>
                  <a:cubicBezTo>
                    <a:pt x="1055982" y="763048"/>
                    <a:pt x="1053095" y="773365"/>
                    <a:pt x="1057685" y="781503"/>
                  </a:cubicBezTo>
                  <a:cubicBezTo>
                    <a:pt x="1060686" y="786827"/>
                    <a:pt x="1066326" y="790118"/>
                    <a:pt x="1072433" y="790118"/>
                  </a:cubicBezTo>
                  <a:cubicBezTo>
                    <a:pt x="1075341" y="790107"/>
                    <a:pt x="1078197" y="789360"/>
                    <a:pt x="1080741" y="787938"/>
                  </a:cubicBezTo>
                  <a:cubicBezTo>
                    <a:pt x="1157388" y="744760"/>
                    <a:pt x="1197373" y="646571"/>
                    <a:pt x="1216379" y="580351"/>
                  </a:cubicBezTo>
                  <a:cubicBezTo>
                    <a:pt x="1234866" y="626228"/>
                    <a:pt x="1274228" y="692240"/>
                    <a:pt x="1357729" y="768217"/>
                  </a:cubicBezTo>
                  <a:cubicBezTo>
                    <a:pt x="1370089" y="766453"/>
                    <a:pt x="1382967" y="764896"/>
                    <a:pt x="1396157" y="763546"/>
                  </a:cubicBezTo>
                  <a:cubicBezTo>
                    <a:pt x="1259480" y="646364"/>
                    <a:pt x="1234451" y="552431"/>
                    <a:pt x="1229985" y="522954"/>
                  </a:cubicBezTo>
                  <a:cubicBezTo>
                    <a:pt x="1230712" y="519009"/>
                    <a:pt x="1231127" y="516415"/>
                    <a:pt x="1231231" y="515584"/>
                  </a:cubicBezTo>
                  <a:cubicBezTo>
                    <a:pt x="1231896" y="510862"/>
                    <a:pt x="1230546" y="506077"/>
                    <a:pt x="1227492" y="502403"/>
                  </a:cubicBezTo>
                  <a:lnTo>
                    <a:pt x="1212433" y="401100"/>
                  </a:lnTo>
                  <a:cubicBezTo>
                    <a:pt x="1258026" y="473236"/>
                    <a:pt x="1345993" y="577549"/>
                    <a:pt x="1504584" y="655913"/>
                  </a:cubicBezTo>
                  <a:cubicBezTo>
                    <a:pt x="1511698" y="659504"/>
                    <a:pt x="1520380" y="656650"/>
                    <a:pt x="1523974" y="649529"/>
                  </a:cubicBezTo>
                  <a:cubicBezTo>
                    <a:pt x="1523984" y="649519"/>
                    <a:pt x="1523995" y="649498"/>
                    <a:pt x="1524005" y="649478"/>
                  </a:cubicBezTo>
                  <a:cubicBezTo>
                    <a:pt x="1527537" y="642305"/>
                    <a:pt x="1524608" y="633639"/>
                    <a:pt x="1517462" y="630068"/>
                  </a:cubicBezTo>
                  <a:cubicBezTo>
                    <a:pt x="1290326" y="517141"/>
                    <a:pt x="1213056" y="347335"/>
                    <a:pt x="1199347" y="313084"/>
                  </a:cubicBezTo>
                  <a:lnTo>
                    <a:pt x="1162373" y="63980"/>
                  </a:lnTo>
                  <a:cubicBezTo>
                    <a:pt x="1202774" y="51109"/>
                    <a:pt x="1344332" y="11253"/>
                    <a:pt x="1446112" y="48203"/>
                  </a:cubicBezTo>
                  <a:cubicBezTo>
                    <a:pt x="1724242" y="149194"/>
                    <a:pt x="1873797" y="352214"/>
                    <a:pt x="1950236" y="504893"/>
                  </a:cubicBezTo>
                  <a:cubicBezTo>
                    <a:pt x="1999641" y="602407"/>
                    <a:pt x="2033592" y="707000"/>
                    <a:pt x="2050874" y="814924"/>
                  </a:cubicBezTo>
                  <a:cubicBezTo>
                    <a:pt x="2050874" y="814924"/>
                    <a:pt x="2050770" y="816896"/>
                    <a:pt x="2050667" y="817311"/>
                  </a:cubicBezTo>
                  <a:close/>
                </a:path>
              </a:pathLst>
            </a:custGeom>
            <a:solidFill>
              <a:srgbClr val="231F2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3C328DE5-3653-3F4B-A986-2CFD9021E434}"/>
                </a:ext>
              </a:extLst>
            </p:cNvPr>
            <p:cNvSpPr/>
            <p:nvPr/>
          </p:nvSpPr>
          <p:spPr>
            <a:xfrm>
              <a:off x="8044437" y="1943220"/>
              <a:ext cx="280163" cy="795056"/>
            </a:xfrm>
            <a:custGeom>
              <a:avLst/>
              <a:gdLst>
                <a:gd name="connsiteX0" fmla="*/ 0 w 280163"/>
                <a:gd name="connsiteY0" fmla="*/ 0 h 795056"/>
                <a:gd name="connsiteX1" fmla="*/ 211350 w 280163"/>
                <a:gd name="connsiteY1" fmla="*/ 795057 h 795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0163" h="795056">
                  <a:moveTo>
                    <a:pt x="0" y="0"/>
                  </a:moveTo>
                  <a:cubicBezTo>
                    <a:pt x="0" y="0"/>
                    <a:pt x="447522" y="211219"/>
                    <a:pt x="211350" y="795057"/>
                  </a:cubicBezTo>
                </a:path>
              </a:pathLst>
            </a:custGeom>
            <a:noFill/>
            <a:ln w="20749" cap="rnd">
              <a:solidFill>
                <a:srgbClr val="231F20"/>
              </a:solidFill>
              <a:custDash>
                <a:ds d="150000" sp="450000"/>
              </a:custDash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447C4ECA-D378-024F-8532-6DD9B275F814}"/>
                </a:ext>
              </a:extLst>
            </p:cNvPr>
            <p:cNvSpPr/>
            <p:nvPr/>
          </p:nvSpPr>
          <p:spPr>
            <a:xfrm>
              <a:off x="6610165" y="1014265"/>
              <a:ext cx="1639079" cy="1244167"/>
            </a:xfrm>
            <a:custGeom>
              <a:avLst/>
              <a:gdLst>
                <a:gd name="connsiteX0" fmla="*/ 1639079 w 1639079"/>
                <a:gd name="connsiteY0" fmla="*/ 558933 h 1244167"/>
                <a:gd name="connsiteX1" fmla="*/ 1339658 w 1639079"/>
                <a:gd name="connsiteY1" fmla="*/ 275992 h 1244167"/>
                <a:gd name="connsiteX2" fmla="*/ 1017700 w 1639079"/>
                <a:gd name="connsiteY2" fmla="*/ 6 h 1244167"/>
                <a:gd name="connsiteX3" fmla="*/ 829094 w 1639079"/>
                <a:gd name="connsiteY3" fmla="*/ 53874 h 1244167"/>
                <a:gd name="connsiteX4" fmla="*/ 640905 w 1639079"/>
                <a:gd name="connsiteY4" fmla="*/ 6 h 1244167"/>
                <a:gd name="connsiteX5" fmla="*/ 318946 w 1639079"/>
                <a:gd name="connsiteY5" fmla="*/ 275266 h 1244167"/>
                <a:gd name="connsiteX6" fmla="*/ 0 w 1639079"/>
                <a:gd name="connsiteY6" fmla="*/ 558933 h 1244167"/>
                <a:gd name="connsiteX7" fmla="*/ 188917 w 1639079"/>
                <a:gd name="connsiteY7" fmla="*/ 817378 h 1244167"/>
                <a:gd name="connsiteX8" fmla="*/ 188917 w 1639079"/>
                <a:gd name="connsiteY8" fmla="*/ 828380 h 1244167"/>
                <a:gd name="connsiteX9" fmla="*/ 510875 w 1639079"/>
                <a:gd name="connsiteY9" fmla="*/ 1112255 h 1244167"/>
                <a:gd name="connsiteX10" fmla="*/ 531647 w 1639079"/>
                <a:gd name="connsiteY10" fmla="*/ 1111632 h 1244167"/>
                <a:gd name="connsiteX11" fmla="*/ 686083 w 1639079"/>
                <a:gd name="connsiteY11" fmla="*/ 1224351 h 1244167"/>
                <a:gd name="connsiteX12" fmla="*/ 1047091 w 1639079"/>
                <a:gd name="connsiteY12" fmla="*/ 1146403 h 1244167"/>
                <a:gd name="connsiteX13" fmla="*/ 1057477 w 1639079"/>
                <a:gd name="connsiteY13" fmla="*/ 1146403 h 1244167"/>
                <a:gd name="connsiteX14" fmla="*/ 1379435 w 1639079"/>
                <a:gd name="connsiteY14" fmla="*/ 862632 h 1244167"/>
                <a:gd name="connsiteX15" fmla="*/ 1378085 w 1639079"/>
                <a:gd name="connsiteY15" fmla="*/ 837514 h 1244167"/>
                <a:gd name="connsiteX16" fmla="*/ 1639079 w 1639079"/>
                <a:gd name="connsiteY16" fmla="*/ 558933 h 1244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639079" h="1244167">
                  <a:moveTo>
                    <a:pt x="1639079" y="558933"/>
                  </a:moveTo>
                  <a:cubicBezTo>
                    <a:pt x="1639079" y="408951"/>
                    <a:pt x="1506973" y="286164"/>
                    <a:pt x="1339658" y="275992"/>
                  </a:cubicBezTo>
                  <a:cubicBezTo>
                    <a:pt x="1334881" y="122897"/>
                    <a:pt x="1192700" y="6"/>
                    <a:pt x="1017700" y="6"/>
                  </a:cubicBezTo>
                  <a:cubicBezTo>
                    <a:pt x="950982" y="-377"/>
                    <a:pt x="885541" y="18314"/>
                    <a:pt x="829094" y="53874"/>
                  </a:cubicBezTo>
                  <a:cubicBezTo>
                    <a:pt x="772762" y="18416"/>
                    <a:pt x="707477" y="-269"/>
                    <a:pt x="640905" y="6"/>
                  </a:cubicBezTo>
                  <a:cubicBezTo>
                    <a:pt x="466320" y="6"/>
                    <a:pt x="324243" y="122482"/>
                    <a:pt x="318946" y="275266"/>
                  </a:cubicBezTo>
                  <a:cubicBezTo>
                    <a:pt x="142389" y="276719"/>
                    <a:pt x="0" y="403139"/>
                    <a:pt x="0" y="558933"/>
                  </a:cubicBezTo>
                  <a:cubicBezTo>
                    <a:pt x="0" y="673832"/>
                    <a:pt x="77478" y="772747"/>
                    <a:pt x="188917" y="817378"/>
                  </a:cubicBezTo>
                  <a:cubicBezTo>
                    <a:pt x="188917" y="821011"/>
                    <a:pt x="188917" y="824747"/>
                    <a:pt x="188917" y="828380"/>
                  </a:cubicBezTo>
                  <a:cubicBezTo>
                    <a:pt x="188917" y="985108"/>
                    <a:pt x="333071" y="1112255"/>
                    <a:pt x="510875" y="1112255"/>
                  </a:cubicBezTo>
                  <a:cubicBezTo>
                    <a:pt x="517730" y="1112255"/>
                    <a:pt x="524480" y="1112255"/>
                    <a:pt x="531647" y="1111632"/>
                  </a:cubicBezTo>
                  <a:cubicBezTo>
                    <a:pt x="570178" y="1164307"/>
                    <a:pt x="624152" y="1203697"/>
                    <a:pt x="686083" y="1224351"/>
                  </a:cubicBezTo>
                  <a:cubicBezTo>
                    <a:pt x="816528" y="1269605"/>
                    <a:pt x="960163" y="1234731"/>
                    <a:pt x="1047091" y="1146403"/>
                  </a:cubicBezTo>
                  <a:lnTo>
                    <a:pt x="1057477" y="1146403"/>
                  </a:lnTo>
                  <a:cubicBezTo>
                    <a:pt x="1235281" y="1146403"/>
                    <a:pt x="1379435" y="1019360"/>
                    <a:pt x="1379435" y="862632"/>
                  </a:cubicBezTo>
                  <a:cubicBezTo>
                    <a:pt x="1379404" y="854242"/>
                    <a:pt x="1378958" y="845859"/>
                    <a:pt x="1378085" y="837514"/>
                  </a:cubicBezTo>
                  <a:cubicBezTo>
                    <a:pt x="1526498" y="812707"/>
                    <a:pt x="1639079" y="697497"/>
                    <a:pt x="1639079" y="558933"/>
                  </a:cubicBezTo>
                  <a:close/>
                </a:path>
              </a:pathLst>
            </a:custGeom>
            <a:noFill/>
            <a:ln w="31124" cap="rnd">
              <a:solidFill>
                <a:srgbClr val="231F2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64869256-6543-4D4B-85BB-BA0B2C1A4BF4}"/>
                </a:ext>
              </a:extLst>
            </p:cNvPr>
            <p:cNvSpPr/>
            <p:nvPr/>
          </p:nvSpPr>
          <p:spPr>
            <a:xfrm>
              <a:off x="10611691" y="3728984"/>
              <a:ext cx="246531" cy="141967"/>
            </a:xfrm>
            <a:custGeom>
              <a:avLst/>
              <a:gdLst>
                <a:gd name="connsiteX0" fmla="*/ 246454 w 246531"/>
                <a:gd name="connsiteY0" fmla="*/ 104624 h 141967"/>
                <a:gd name="connsiteX1" fmla="*/ 236068 w 246531"/>
                <a:gd name="connsiteY1" fmla="*/ 0 h 141967"/>
                <a:gd name="connsiteX2" fmla="*/ 147789 w 246531"/>
                <a:gd name="connsiteY2" fmla="*/ 72655 h 141967"/>
                <a:gd name="connsiteX3" fmla="*/ 93472 w 246531"/>
                <a:gd name="connsiteY3" fmla="*/ 78260 h 141967"/>
                <a:gd name="connsiteX4" fmla="*/ 0 w 246531"/>
                <a:gd name="connsiteY4" fmla="*/ 28855 h 141967"/>
                <a:gd name="connsiteX5" fmla="*/ 10386 w 246531"/>
                <a:gd name="connsiteY5" fmla="*/ 128704 h 141967"/>
                <a:gd name="connsiteX6" fmla="*/ 26795 w 246531"/>
                <a:gd name="connsiteY6" fmla="*/ 141886 h 141967"/>
                <a:gd name="connsiteX7" fmla="*/ 232848 w 246531"/>
                <a:gd name="connsiteY7" fmla="*/ 120919 h 141967"/>
                <a:gd name="connsiteX8" fmla="*/ 246485 w 246531"/>
                <a:gd name="connsiteY8" fmla="*/ 104956 h 141967"/>
                <a:gd name="connsiteX9" fmla="*/ 246454 w 246531"/>
                <a:gd name="connsiteY9" fmla="*/ 104624 h 1419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6531" h="141967">
                  <a:moveTo>
                    <a:pt x="246454" y="104624"/>
                  </a:moveTo>
                  <a:lnTo>
                    <a:pt x="236068" y="0"/>
                  </a:lnTo>
                  <a:lnTo>
                    <a:pt x="147789" y="72655"/>
                  </a:lnTo>
                  <a:cubicBezTo>
                    <a:pt x="132356" y="85017"/>
                    <a:pt x="111107" y="87218"/>
                    <a:pt x="93472" y="78260"/>
                  </a:cubicBezTo>
                  <a:lnTo>
                    <a:pt x="0" y="28855"/>
                  </a:lnTo>
                  <a:lnTo>
                    <a:pt x="10386" y="128704"/>
                  </a:lnTo>
                  <a:cubicBezTo>
                    <a:pt x="11310" y="136851"/>
                    <a:pt x="18632" y="142737"/>
                    <a:pt x="26795" y="141886"/>
                  </a:cubicBezTo>
                  <a:lnTo>
                    <a:pt x="232848" y="120919"/>
                  </a:lnTo>
                  <a:cubicBezTo>
                    <a:pt x="241022" y="120276"/>
                    <a:pt x="247129" y="113124"/>
                    <a:pt x="246485" y="104956"/>
                  </a:cubicBezTo>
                  <a:cubicBezTo>
                    <a:pt x="246475" y="104842"/>
                    <a:pt x="246464" y="104738"/>
                    <a:pt x="246454" y="104624"/>
                  </a:cubicBezTo>
                  <a:close/>
                </a:path>
              </a:pathLst>
            </a:custGeom>
            <a:noFill/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539837D1-C5E2-214F-88B1-8FB517430E5C}"/>
                </a:ext>
              </a:extLst>
            </p:cNvPr>
            <p:cNvSpPr/>
            <p:nvPr/>
          </p:nvSpPr>
          <p:spPr>
            <a:xfrm>
              <a:off x="10503204" y="3607929"/>
              <a:ext cx="452484" cy="392682"/>
            </a:xfrm>
            <a:custGeom>
              <a:avLst/>
              <a:gdLst>
                <a:gd name="connsiteX0" fmla="*/ 244125 w 452484"/>
                <a:gd name="connsiteY0" fmla="*/ 345352 h 392682"/>
                <a:gd name="connsiteX1" fmla="*/ 284733 w 452484"/>
                <a:gd name="connsiteY1" fmla="*/ 338191 h 392682"/>
                <a:gd name="connsiteX2" fmla="*/ 291068 w 452484"/>
                <a:gd name="connsiteY2" fmla="*/ 336634 h 392682"/>
                <a:gd name="connsiteX3" fmla="*/ 296573 w 452484"/>
                <a:gd name="connsiteY3" fmla="*/ 340267 h 392682"/>
                <a:gd name="connsiteX4" fmla="*/ 397522 w 452484"/>
                <a:gd name="connsiteY4" fmla="*/ 392682 h 392682"/>
                <a:gd name="connsiteX5" fmla="*/ 368131 w 452484"/>
                <a:gd name="connsiteY5" fmla="*/ 312658 h 392682"/>
                <a:gd name="connsiteX6" fmla="*/ 366469 w 452484"/>
                <a:gd name="connsiteY6" fmla="*/ 303316 h 392682"/>
                <a:gd name="connsiteX7" fmla="*/ 374154 w 452484"/>
                <a:gd name="connsiteY7" fmla="*/ 297815 h 392682"/>
                <a:gd name="connsiteX8" fmla="*/ 451840 w 452484"/>
                <a:gd name="connsiteY8" fmla="*/ 150221 h 392682"/>
                <a:gd name="connsiteX9" fmla="*/ 208502 w 452484"/>
                <a:gd name="connsiteY9" fmla="*/ 1589 h 392682"/>
                <a:gd name="connsiteX10" fmla="*/ 787 w 452484"/>
                <a:gd name="connsiteY10" fmla="*/ 196824 h 392682"/>
                <a:gd name="connsiteX11" fmla="*/ 244125 w 452484"/>
                <a:gd name="connsiteY11" fmla="*/ 345352 h 392682"/>
                <a:gd name="connsiteX12" fmla="*/ 88339 w 452484"/>
                <a:gd name="connsiteY12" fmla="*/ 253184 h 392682"/>
                <a:gd name="connsiteX13" fmla="*/ 74837 w 452484"/>
                <a:gd name="connsiteY13" fmla="*/ 120536 h 392682"/>
                <a:gd name="connsiteX14" fmla="*/ 114448 w 452484"/>
                <a:gd name="connsiteY14" fmla="*/ 71567 h 392682"/>
                <a:gd name="connsiteX15" fmla="*/ 114614 w 452484"/>
                <a:gd name="connsiteY15" fmla="*/ 71546 h 392682"/>
                <a:gd name="connsiteX16" fmla="*/ 322329 w 452484"/>
                <a:gd name="connsiteY16" fmla="*/ 50060 h 392682"/>
                <a:gd name="connsiteX17" fmla="*/ 371350 w 452484"/>
                <a:gd name="connsiteY17" fmla="*/ 89917 h 392682"/>
                <a:gd name="connsiteX18" fmla="*/ 385060 w 452484"/>
                <a:gd name="connsiteY18" fmla="*/ 222980 h 392682"/>
                <a:gd name="connsiteX19" fmla="*/ 345448 w 452484"/>
                <a:gd name="connsiteY19" fmla="*/ 271950 h 392682"/>
                <a:gd name="connsiteX20" fmla="*/ 345282 w 452484"/>
                <a:gd name="connsiteY20" fmla="*/ 271970 h 392682"/>
                <a:gd name="connsiteX21" fmla="*/ 137567 w 452484"/>
                <a:gd name="connsiteY21" fmla="*/ 293352 h 392682"/>
                <a:gd name="connsiteX22" fmla="*/ 88578 w 452484"/>
                <a:gd name="connsiteY22" fmla="*/ 253516 h 392682"/>
                <a:gd name="connsiteX23" fmla="*/ 88546 w 452484"/>
                <a:gd name="connsiteY23" fmla="*/ 253184 h 392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52484" h="392682">
                  <a:moveTo>
                    <a:pt x="244125" y="345352"/>
                  </a:moveTo>
                  <a:cubicBezTo>
                    <a:pt x="257802" y="343879"/>
                    <a:pt x="271377" y="341481"/>
                    <a:pt x="284733" y="338191"/>
                  </a:cubicBezTo>
                  <a:lnTo>
                    <a:pt x="291068" y="336634"/>
                  </a:lnTo>
                  <a:lnTo>
                    <a:pt x="296573" y="340267"/>
                  </a:lnTo>
                  <a:cubicBezTo>
                    <a:pt x="328436" y="360983"/>
                    <a:pt x="362242" y="378545"/>
                    <a:pt x="397522" y="392682"/>
                  </a:cubicBezTo>
                  <a:cubicBezTo>
                    <a:pt x="383075" y="367948"/>
                    <a:pt x="373126" y="340858"/>
                    <a:pt x="368131" y="312658"/>
                  </a:cubicBezTo>
                  <a:lnTo>
                    <a:pt x="366469" y="303316"/>
                  </a:lnTo>
                  <a:lnTo>
                    <a:pt x="374154" y="297815"/>
                  </a:lnTo>
                  <a:cubicBezTo>
                    <a:pt x="428472" y="259412"/>
                    <a:pt x="457240" y="204401"/>
                    <a:pt x="451840" y="150221"/>
                  </a:cubicBezTo>
                  <a:cubicBezTo>
                    <a:pt x="442077" y="55458"/>
                    <a:pt x="332923" y="-11281"/>
                    <a:pt x="208502" y="1589"/>
                  </a:cubicBezTo>
                  <a:cubicBezTo>
                    <a:pt x="84080" y="14459"/>
                    <a:pt x="-9599" y="102061"/>
                    <a:pt x="787" y="196824"/>
                  </a:cubicBezTo>
                  <a:cubicBezTo>
                    <a:pt x="11172" y="291588"/>
                    <a:pt x="119703" y="358223"/>
                    <a:pt x="244125" y="345352"/>
                  </a:cubicBezTo>
                  <a:close/>
                  <a:moveTo>
                    <a:pt x="88339" y="253184"/>
                  </a:moveTo>
                  <a:lnTo>
                    <a:pt x="74837" y="120536"/>
                  </a:lnTo>
                  <a:cubicBezTo>
                    <a:pt x="72241" y="96083"/>
                    <a:pt x="89979" y="74151"/>
                    <a:pt x="114448" y="71567"/>
                  </a:cubicBezTo>
                  <a:cubicBezTo>
                    <a:pt x="114500" y="71556"/>
                    <a:pt x="114562" y="71556"/>
                    <a:pt x="114614" y="71546"/>
                  </a:cubicBezTo>
                  <a:lnTo>
                    <a:pt x="322329" y="50060"/>
                  </a:lnTo>
                  <a:cubicBezTo>
                    <a:pt x="346860" y="47580"/>
                    <a:pt x="368785" y="65401"/>
                    <a:pt x="371350" y="89917"/>
                  </a:cubicBezTo>
                  <a:lnTo>
                    <a:pt x="385060" y="222980"/>
                  </a:lnTo>
                  <a:cubicBezTo>
                    <a:pt x="387656" y="247434"/>
                    <a:pt x="369917" y="269365"/>
                    <a:pt x="345448" y="271950"/>
                  </a:cubicBezTo>
                  <a:cubicBezTo>
                    <a:pt x="345396" y="271960"/>
                    <a:pt x="345334" y="271960"/>
                    <a:pt x="345282" y="271970"/>
                  </a:cubicBezTo>
                  <a:lnTo>
                    <a:pt x="137567" y="293352"/>
                  </a:lnTo>
                  <a:cubicBezTo>
                    <a:pt x="113036" y="295874"/>
                    <a:pt x="91101" y="278032"/>
                    <a:pt x="88578" y="253516"/>
                  </a:cubicBezTo>
                  <a:cubicBezTo>
                    <a:pt x="88567" y="253402"/>
                    <a:pt x="88557" y="253298"/>
                    <a:pt x="88546" y="253184"/>
                  </a:cubicBezTo>
                  <a:close/>
                </a:path>
              </a:pathLst>
            </a:custGeom>
            <a:noFill/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89B859DC-B5C7-4746-8490-5AA08AF73931}"/>
                </a:ext>
              </a:extLst>
            </p:cNvPr>
            <p:cNvSpPr/>
            <p:nvPr/>
          </p:nvSpPr>
          <p:spPr>
            <a:xfrm>
              <a:off x="10607640" y="3687089"/>
              <a:ext cx="234717" cy="96312"/>
            </a:xfrm>
            <a:custGeom>
              <a:avLst/>
              <a:gdLst>
                <a:gd name="connsiteX0" fmla="*/ 132418 w 234717"/>
                <a:gd name="connsiteY0" fmla="*/ 92131 h 96312"/>
                <a:gd name="connsiteX1" fmla="*/ 234718 w 234717"/>
                <a:gd name="connsiteY1" fmla="*/ 7331 h 96312"/>
                <a:gd name="connsiteX2" fmla="*/ 220385 w 234717"/>
                <a:gd name="connsiteY2" fmla="*/ 66 h 96312"/>
                <a:gd name="connsiteX3" fmla="*/ 13293 w 234717"/>
                <a:gd name="connsiteY3" fmla="*/ 21551 h 96312"/>
                <a:gd name="connsiteX4" fmla="*/ 0 w 234717"/>
                <a:gd name="connsiteY4" fmla="*/ 35667 h 96312"/>
                <a:gd name="connsiteX5" fmla="*/ 111024 w 234717"/>
                <a:gd name="connsiteY5" fmla="*/ 94310 h 96312"/>
                <a:gd name="connsiteX6" fmla="*/ 132418 w 234717"/>
                <a:gd name="connsiteY6" fmla="*/ 92131 h 96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4717" h="96312">
                  <a:moveTo>
                    <a:pt x="132418" y="92131"/>
                  </a:moveTo>
                  <a:lnTo>
                    <a:pt x="234718" y="7331"/>
                  </a:lnTo>
                  <a:cubicBezTo>
                    <a:pt x="231737" y="2349"/>
                    <a:pt x="226160" y="-474"/>
                    <a:pt x="220385" y="66"/>
                  </a:cubicBezTo>
                  <a:lnTo>
                    <a:pt x="13293" y="21551"/>
                  </a:lnTo>
                  <a:cubicBezTo>
                    <a:pt x="5951" y="22278"/>
                    <a:pt x="280" y="28297"/>
                    <a:pt x="0" y="35667"/>
                  </a:cubicBezTo>
                  <a:lnTo>
                    <a:pt x="111024" y="94310"/>
                  </a:lnTo>
                  <a:cubicBezTo>
                    <a:pt x="118003" y="97621"/>
                    <a:pt x="126249" y="96780"/>
                    <a:pt x="132418" y="92131"/>
                  </a:cubicBezTo>
                  <a:close/>
                </a:path>
              </a:pathLst>
            </a:custGeom>
            <a:noFill/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530D4365-866B-2C48-8B18-1B57E67A7A95}"/>
                </a:ext>
              </a:extLst>
            </p:cNvPr>
            <p:cNvSpPr/>
            <p:nvPr/>
          </p:nvSpPr>
          <p:spPr>
            <a:xfrm>
              <a:off x="10421112" y="5358227"/>
              <a:ext cx="99080" cy="135657"/>
            </a:xfrm>
            <a:custGeom>
              <a:avLst/>
              <a:gdLst>
                <a:gd name="connsiteX0" fmla="*/ 99080 w 99080"/>
                <a:gd name="connsiteY0" fmla="*/ 94244 h 135657"/>
                <a:gd name="connsiteX1" fmla="*/ 52137 w 99080"/>
                <a:gd name="connsiteY1" fmla="*/ 82827 h 135657"/>
                <a:gd name="connsiteX2" fmla="*/ 70312 w 99080"/>
                <a:gd name="connsiteY2" fmla="*/ 9134 h 135657"/>
                <a:gd name="connsiteX3" fmla="*/ 34066 w 99080"/>
                <a:gd name="connsiteY3" fmla="*/ 0 h 135657"/>
                <a:gd name="connsiteX4" fmla="*/ 0 w 99080"/>
                <a:gd name="connsiteY4" fmla="*/ 135658 h 135657"/>
                <a:gd name="connsiteX5" fmla="*/ 37908 w 99080"/>
                <a:gd name="connsiteY5" fmla="*/ 116249 h 135657"/>
                <a:gd name="connsiteX6" fmla="*/ 99080 w 99080"/>
                <a:gd name="connsiteY6" fmla="*/ 94244 h 13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080" h="135657">
                  <a:moveTo>
                    <a:pt x="99080" y="94244"/>
                  </a:moveTo>
                  <a:lnTo>
                    <a:pt x="52137" y="82827"/>
                  </a:lnTo>
                  <a:lnTo>
                    <a:pt x="70312" y="9134"/>
                  </a:lnTo>
                  <a:lnTo>
                    <a:pt x="34066" y="0"/>
                  </a:lnTo>
                  <a:lnTo>
                    <a:pt x="0" y="135658"/>
                  </a:lnTo>
                  <a:cubicBezTo>
                    <a:pt x="12297" y="128548"/>
                    <a:pt x="24947" y="122071"/>
                    <a:pt x="37908" y="116249"/>
                  </a:cubicBezTo>
                  <a:cubicBezTo>
                    <a:pt x="57683" y="107312"/>
                    <a:pt x="78143" y="99953"/>
                    <a:pt x="99080" y="94244"/>
                  </a:cubicBezTo>
                  <a:close/>
                </a:path>
              </a:pathLst>
            </a:custGeom>
            <a:solidFill>
              <a:srgbClr val="040407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52E029AF-481A-1B47-8032-2812A53D8620}"/>
                </a:ext>
              </a:extLst>
            </p:cNvPr>
            <p:cNvSpPr/>
            <p:nvPr/>
          </p:nvSpPr>
          <p:spPr>
            <a:xfrm>
              <a:off x="10529851" y="4944196"/>
              <a:ext cx="461933" cy="742988"/>
            </a:xfrm>
            <a:custGeom>
              <a:avLst/>
              <a:gdLst>
                <a:gd name="connsiteX0" fmla="*/ 405044 w 461933"/>
                <a:gd name="connsiteY0" fmla="*/ 34044 h 742988"/>
                <a:gd name="connsiteX1" fmla="*/ 269302 w 461933"/>
                <a:gd name="connsiteY1" fmla="*/ 0 h 742988"/>
                <a:gd name="connsiteX2" fmla="*/ 260163 w 461933"/>
                <a:gd name="connsiteY2" fmla="*/ 36224 h 742988"/>
                <a:gd name="connsiteX3" fmla="*/ 395905 w 461933"/>
                <a:gd name="connsiteY3" fmla="*/ 70268 h 742988"/>
                <a:gd name="connsiteX4" fmla="*/ 423115 w 461933"/>
                <a:gd name="connsiteY4" fmla="*/ 115626 h 742988"/>
                <a:gd name="connsiteX5" fmla="*/ 418546 w 461933"/>
                <a:gd name="connsiteY5" fmla="*/ 134620 h 742988"/>
                <a:gd name="connsiteX6" fmla="*/ 296617 w 461933"/>
                <a:gd name="connsiteY6" fmla="*/ 103482 h 742988"/>
                <a:gd name="connsiteX7" fmla="*/ 287581 w 461933"/>
                <a:gd name="connsiteY7" fmla="*/ 139706 h 742988"/>
                <a:gd name="connsiteX8" fmla="*/ 409406 w 461933"/>
                <a:gd name="connsiteY8" fmla="*/ 170325 h 742988"/>
                <a:gd name="connsiteX9" fmla="*/ 304302 w 461933"/>
                <a:gd name="connsiteY9" fmla="*/ 586951 h 742988"/>
                <a:gd name="connsiteX10" fmla="*/ 144154 w 461933"/>
                <a:gd name="connsiteY10" fmla="*/ 546576 h 742988"/>
                <a:gd name="connsiteX11" fmla="*/ 138857 w 461933"/>
                <a:gd name="connsiteY11" fmla="*/ 583111 h 742988"/>
                <a:gd name="connsiteX12" fmla="*/ 294644 w 461933"/>
                <a:gd name="connsiteY12" fmla="*/ 623175 h 742988"/>
                <a:gd name="connsiteX13" fmla="*/ 281038 w 461933"/>
                <a:gd name="connsiteY13" fmla="*/ 677563 h 742988"/>
                <a:gd name="connsiteX14" fmla="*/ 263902 w 461933"/>
                <a:gd name="connsiteY14" fmla="*/ 700501 h 742988"/>
                <a:gd name="connsiteX15" fmla="*/ 235653 w 461933"/>
                <a:gd name="connsiteY15" fmla="*/ 704652 h 742988"/>
                <a:gd name="connsiteX16" fmla="*/ 48086 w 461933"/>
                <a:gd name="connsiteY16" fmla="*/ 657634 h 742988"/>
                <a:gd name="connsiteX17" fmla="*/ 0 w 461933"/>
                <a:gd name="connsiteY17" fmla="*/ 683686 h 742988"/>
                <a:gd name="connsiteX18" fmla="*/ 227448 w 461933"/>
                <a:gd name="connsiteY18" fmla="*/ 740773 h 742988"/>
                <a:gd name="connsiteX19" fmla="*/ 253309 w 461933"/>
                <a:gd name="connsiteY19" fmla="*/ 742641 h 742988"/>
                <a:gd name="connsiteX20" fmla="*/ 284466 w 461933"/>
                <a:gd name="connsiteY20" fmla="*/ 732262 h 742988"/>
                <a:gd name="connsiteX21" fmla="*/ 318635 w 461933"/>
                <a:gd name="connsiteY21" fmla="*/ 686385 h 742988"/>
                <a:gd name="connsiteX22" fmla="*/ 459777 w 461933"/>
                <a:gd name="connsiteY22" fmla="*/ 124448 h 742988"/>
                <a:gd name="connsiteX23" fmla="*/ 405044 w 461933"/>
                <a:gd name="connsiteY23" fmla="*/ 34044 h 742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61933" h="742988">
                  <a:moveTo>
                    <a:pt x="405044" y="34044"/>
                  </a:moveTo>
                  <a:lnTo>
                    <a:pt x="269302" y="0"/>
                  </a:lnTo>
                  <a:lnTo>
                    <a:pt x="260163" y="36224"/>
                  </a:lnTo>
                  <a:lnTo>
                    <a:pt x="395905" y="70268"/>
                  </a:lnTo>
                  <a:cubicBezTo>
                    <a:pt x="415928" y="75323"/>
                    <a:pt x="428090" y="95594"/>
                    <a:pt x="423115" y="115626"/>
                  </a:cubicBezTo>
                  <a:lnTo>
                    <a:pt x="418546" y="134620"/>
                  </a:lnTo>
                  <a:lnTo>
                    <a:pt x="296617" y="103482"/>
                  </a:lnTo>
                  <a:lnTo>
                    <a:pt x="287581" y="139706"/>
                  </a:lnTo>
                  <a:lnTo>
                    <a:pt x="409406" y="170325"/>
                  </a:lnTo>
                  <a:lnTo>
                    <a:pt x="304302" y="586951"/>
                  </a:lnTo>
                  <a:lnTo>
                    <a:pt x="144154" y="546576"/>
                  </a:lnTo>
                  <a:cubicBezTo>
                    <a:pt x="147353" y="558968"/>
                    <a:pt x="145442" y="572129"/>
                    <a:pt x="138857" y="583111"/>
                  </a:cubicBezTo>
                  <a:lnTo>
                    <a:pt x="294644" y="623175"/>
                  </a:lnTo>
                  <a:lnTo>
                    <a:pt x="281038" y="677563"/>
                  </a:lnTo>
                  <a:cubicBezTo>
                    <a:pt x="278587" y="687174"/>
                    <a:pt x="272429" y="695425"/>
                    <a:pt x="263902" y="700501"/>
                  </a:cubicBezTo>
                  <a:cubicBezTo>
                    <a:pt x="255417" y="705607"/>
                    <a:pt x="245249" y="707102"/>
                    <a:pt x="235653" y="704652"/>
                  </a:cubicBezTo>
                  <a:lnTo>
                    <a:pt x="48086" y="657634"/>
                  </a:lnTo>
                  <a:cubicBezTo>
                    <a:pt x="32642" y="667349"/>
                    <a:pt x="16576" y="676058"/>
                    <a:pt x="0" y="683686"/>
                  </a:cubicBezTo>
                  <a:lnTo>
                    <a:pt x="227448" y="740773"/>
                  </a:lnTo>
                  <a:cubicBezTo>
                    <a:pt x="235902" y="742828"/>
                    <a:pt x="244646" y="743461"/>
                    <a:pt x="253309" y="742641"/>
                  </a:cubicBezTo>
                  <a:cubicBezTo>
                    <a:pt x="264328" y="741510"/>
                    <a:pt x="274963" y="737960"/>
                    <a:pt x="284466" y="732262"/>
                  </a:cubicBezTo>
                  <a:cubicBezTo>
                    <a:pt x="301540" y="722152"/>
                    <a:pt x="313847" y="705628"/>
                    <a:pt x="318635" y="686385"/>
                  </a:cubicBezTo>
                  <a:lnTo>
                    <a:pt x="459777" y="124448"/>
                  </a:lnTo>
                  <a:cubicBezTo>
                    <a:pt x="469571" y="84394"/>
                    <a:pt x="445092" y="43956"/>
                    <a:pt x="405044" y="34044"/>
                  </a:cubicBezTo>
                  <a:close/>
                </a:path>
              </a:pathLst>
            </a:custGeom>
            <a:solidFill>
              <a:srgbClr val="040407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DCA8CA71-9FAC-4942-9868-BFB2AAA28E90}"/>
                </a:ext>
              </a:extLst>
            </p:cNvPr>
            <p:cNvSpPr/>
            <p:nvPr/>
          </p:nvSpPr>
          <p:spPr>
            <a:xfrm>
              <a:off x="10623115" y="5547027"/>
              <a:ext cx="57536" cy="41932"/>
            </a:xfrm>
            <a:custGeom>
              <a:avLst/>
              <a:gdLst>
                <a:gd name="connsiteX0" fmla="*/ 57537 w 57536"/>
                <a:gd name="connsiteY0" fmla="*/ 5709 h 41932"/>
                <a:gd name="connsiteX1" fmla="*/ 33442 w 57536"/>
                <a:gd name="connsiteY1" fmla="*/ 0 h 41932"/>
                <a:gd name="connsiteX2" fmla="*/ 0 w 57536"/>
                <a:gd name="connsiteY2" fmla="*/ 29789 h 41932"/>
                <a:gd name="connsiteX3" fmla="*/ 48398 w 57536"/>
                <a:gd name="connsiteY3" fmla="*/ 41933 h 41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536" h="41932">
                  <a:moveTo>
                    <a:pt x="57537" y="5709"/>
                  </a:moveTo>
                  <a:lnTo>
                    <a:pt x="33442" y="0"/>
                  </a:lnTo>
                  <a:cubicBezTo>
                    <a:pt x="23192" y="10898"/>
                    <a:pt x="12006" y="20863"/>
                    <a:pt x="0" y="29789"/>
                  </a:cubicBezTo>
                  <a:lnTo>
                    <a:pt x="48398" y="41933"/>
                  </a:lnTo>
                  <a:close/>
                </a:path>
              </a:pathLst>
            </a:custGeom>
            <a:solidFill>
              <a:srgbClr val="040407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EE5954FF-F881-F248-9EB2-9719606BA62C}"/>
                </a:ext>
              </a:extLst>
            </p:cNvPr>
            <p:cNvSpPr/>
            <p:nvPr/>
          </p:nvSpPr>
          <p:spPr>
            <a:xfrm>
              <a:off x="10143981" y="4819271"/>
              <a:ext cx="643439" cy="577535"/>
            </a:xfrm>
            <a:custGeom>
              <a:avLst/>
              <a:gdLst>
                <a:gd name="connsiteX0" fmla="*/ 347443 w 643439"/>
                <a:gd name="connsiteY0" fmla="*/ 508752 h 577535"/>
                <a:gd name="connsiteX1" fmla="*/ 395633 w 643439"/>
                <a:gd name="connsiteY1" fmla="*/ 500656 h 577535"/>
                <a:gd name="connsiteX2" fmla="*/ 539995 w 643439"/>
                <a:gd name="connsiteY2" fmla="*/ 572689 h 577535"/>
                <a:gd name="connsiteX3" fmla="*/ 565544 w 643439"/>
                <a:gd name="connsiteY3" fmla="*/ 577463 h 577535"/>
                <a:gd name="connsiteX4" fmla="*/ 582369 w 643439"/>
                <a:gd name="connsiteY4" fmla="*/ 568641 h 577535"/>
                <a:gd name="connsiteX5" fmla="*/ 576968 w 643439"/>
                <a:gd name="connsiteY5" fmla="*/ 525255 h 577535"/>
                <a:gd name="connsiteX6" fmla="*/ 538644 w 643439"/>
                <a:gd name="connsiteY6" fmla="*/ 434955 h 577535"/>
                <a:gd name="connsiteX7" fmla="*/ 642502 w 643439"/>
                <a:gd name="connsiteY7" fmla="*/ 222386 h 577535"/>
                <a:gd name="connsiteX8" fmla="*/ 295618 w 643439"/>
                <a:gd name="connsiteY8" fmla="*/ 2241 h 577535"/>
                <a:gd name="connsiteX9" fmla="*/ 1078 w 643439"/>
                <a:gd name="connsiteY9" fmla="*/ 288710 h 577535"/>
                <a:gd name="connsiteX10" fmla="*/ 347443 w 643439"/>
                <a:gd name="connsiteY10" fmla="*/ 508752 h 577535"/>
                <a:gd name="connsiteX11" fmla="*/ 37740 w 643439"/>
                <a:gd name="connsiteY11" fmla="*/ 284766 h 577535"/>
                <a:gd name="connsiteX12" fmla="*/ 298942 w 643439"/>
                <a:gd name="connsiteY12" fmla="*/ 39399 h 577535"/>
                <a:gd name="connsiteX13" fmla="*/ 604802 w 643439"/>
                <a:gd name="connsiteY13" fmla="*/ 226227 h 577535"/>
                <a:gd name="connsiteX14" fmla="*/ 507176 w 643439"/>
                <a:gd name="connsiteY14" fmla="*/ 411809 h 577535"/>
                <a:gd name="connsiteX15" fmla="*/ 497413 w 643439"/>
                <a:gd name="connsiteY15" fmla="*/ 418660 h 577535"/>
                <a:gd name="connsiteX16" fmla="*/ 499594 w 643439"/>
                <a:gd name="connsiteY16" fmla="*/ 430388 h 577535"/>
                <a:gd name="connsiteX17" fmla="*/ 536464 w 643439"/>
                <a:gd name="connsiteY17" fmla="*/ 530964 h 577535"/>
                <a:gd name="connsiteX18" fmla="*/ 409550 w 643439"/>
                <a:gd name="connsiteY18" fmla="*/ 465055 h 577535"/>
                <a:gd name="connsiteX19" fmla="*/ 402695 w 643439"/>
                <a:gd name="connsiteY19" fmla="*/ 460488 h 577535"/>
                <a:gd name="connsiteX20" fmla="*/ 394698 w 643439"/>
                <a:gd name="connsiteY20" fmla="*/ 462460 h 577535"/>
                <a:gd name="connsiteX21" fmla="*/ 343600 w 643439"/>
                <a:gd name="connsiteY21" fmla="*/ 471490 h 577535"/>
                <a:gd name="connsiteX22" fmla="*/ 37325 w 643439"/>
                <a:gd name="connsiteY22" fmla="*/ 284766 h 577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43439" h="577535">
                  <a:moveTo>
                    <a:pt x="347443" y="508752"/>
                  </a:moveTo>
                  <a:cubicBezTo>
                    <a:pt x="363655" y="507050"/>
                    <a:pt x="379753" y="504341"/>
                    <a:pt x="395633" y="500656"/>
                  </a:cubicBezTo>
                  <a:cubicBezTo>
                    <a:pt x="441227" y="529418"/>
                    <a:pt x="489593" y="553549"/>
                    <a:pt x="539995" y="572689"/>
                  </a:cubicBezTo>
                  <a:cubicBezTo>
                    <a:pt x="548013" y="576280"/>
                    <a:pt x="556768" y="577910"/>
                    <a:pt x="565544" y="577463"/>
                  </a:cubicBezTo>
                  <a:cubicBezTo>
                    <a:pt x="572128" y="576955"/>
                    <a:pt x="578204" y="573758"/>
                    <a:pt x="582369" y="568641"/>
                  </a:cubicBezTo>
                  <a:cubicBezTo>
                    <a:pt x="595247" y="552657"/>
                    <a:pt x="581434" y="532002"/>
                    <a:pt x="576968" y="525255"/>
                  </a:cubicBezTo>
                  <a:cubicBezTo>
                    <a:pt x="558720" y="497781"/>
                    <a:pt x="545728" y="467162"/>
                    <a:pt x="538644" y="434955"/>
                  </a:cubicBezTo>
                  <a:cubicBezTo>
                    <a:pt x="611345" y="379114"/>
                    <a:pt x="650084" y="300024"/>
                    <a:pt x="642502" y="222386"/>
                  </a:cubicBezTo>
                  <a:cubicBezTo>
                    <a:pt x="628066" y="82681"/>
                    <a:pt x="472384" y="-16338"/>
                    <a:pt x="295618" y="2241"/>
                  </a:cubicBezTo>
                  <a:cubicBezTo>
                    <a:pt x="118852" y="20820"/>
                    <a:pt x="-13358" y="149005"/>
                    <a:pt x="1078" y="288710"/>
                  </a:cubicBezTo>
                  <a:cubicBezTo>
                    <a:pt x="15514" y="428416"/>
                    <a:pt x="170262" y="527020"/>
                    <a:pt x="347443" y="508752"/>
                  </a:cubicBezTo>
                  <a:close/>
                  <a:moveTo>
                    <a:pt x="37740" y="284766"/>
                  </a:moveTo>
                  <a:cubicBezTo>
                    <a:pt x="25381" y="165715"/>
                    <a:pt x="142532" y="55591"/>
                    <a:pt x="298942" y="39399"/>
                  </a:cubicBezTo>
                  <a:cubicBezTo>
                    <a:pt x="455351" y="23207"/>
                    <a:pt x="592443" y="107072"/>
                    <a:pt x="604802" y="226227"/>
                  </a:cubicBezTo>
                  <a:cubicBezTo>
                    <a:pt x="611864" y="294108"/>
                    <a:pt x="575306" y="363545"/>
                    <a:pt x="507176" y="411809"/>
                  </a:cubicBezTo>
                  <a:lnTo>
                    <a:pt x="497413" y="418660"/>
                  </a:lnTo>
                  <a:lnTo>
                    <a:pt x="499594" y="430388"/>
                  </a:lnTo>
                  <a:cubicBezTo>
                    <a:pt x="505857" y="465823"/>
                    <a:pt x="518330" y="499878"/>
                    <a:pt x="536464" y="530964"/>
                  </a:cubicBezTo>
                  <a:cubicBezTo>
                    <a:pt x="492085" y="513246"/>
                    <a:pt x="449566" y="491169"/>
                    <a:pt x="409550" y="465055"/>
                  </a:cubicBezTo>
                  <a:lnTo>
                    <a:pt x="402695" y="460488"/>
                  </a:lnTo>
                  <a:lnTo>
                    <a:pt x="394698" y="462460"/>
                  </a:lnTo>
                  <a:cubicBezTo>
                    <a:pt x="377894" y="466664"/>
                    <a:pt x="360820" y="469674"/>
                    <a:pt x="343600" y="471490"/>
                  </a:cubicBezTo>
                  <a:cubicBezTo>
                    <a:pt x="186879" y="487682"/>
                    <a:pt x="49684" y="403817"/>
                    <a:pt x="37325" y="284766"/>
                  </a:cubicBezTo>
                  <a:close/>
                </a:path>
              </a:pathLst>
            </a:custGeom>
            <a:solidFill>
              <a:srgbClr val="040407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2F46AFAC-7C25-8445-9C37-38091149B356}"/>
                </a:ext>
              </a:extLst>
            </p:cNvPr>
            <p:cNvSpPr/>
            <p:nvPr/>
          </p:nvSpPr>
          <p:spPr>
            <a:xfrm>
              <a:off x="10274170" y="4918886"/>
              <a:ext cx="389952" cy="306354"/>
            </a:xfrm>
            <a:custGeom>
              <a:avLst/>
              <a:gdLst>
                <a:gd name="connsiteX0" fmla="*/ 389657 w 389952"/>
                <a:gd name="connsiteY0" fmla="*/ 217535 h 306354"/>
                <a:gd name="connsiteX1" fmla="*/ 372313 w 389952"/>
                <a:gd name="connsiteY1" fmla="*/ 50220 h 306354"/>
                <a:gd name="connsiteX2" fmla="*/ 310726 w 389952"/>
                <a:gd name="connsiteY2" fmla="*/ 296 h 306354"/>
                <a:gd name="connsiteX3" fmla="*/ 50251 w 389952"/>
                <a:gd name="connsiteY3" fmla="*/ 27178 h 306354"/>
                <a:gd name="connsiteX4" fmla="*/ 296 w 389952"/>
                <a:gd name="connsiteY4" fmla="*/ 88727 h 306354"/>
                <a:gd name="connsiteX5" fmla="*/ 17536 w 389952"/>
                <a:gd name="connsiteY5" fmla="*/ 256042 h 306354"/>
                <a:gd name="connsiteX6" fmla="*/ 79124 w 389952"/>
                <a:gd name="connsiteY6" fmla="*/ 306070 h 306354"/>
                <a:gd name="connsiteX7" fmla="*/ 339599 w 389952"/>
                <a:gd name="connsiteY7" fmla="*/ 279084 h 306354"/>
                <a:gd name="connsiteX8" fmla="*/ 389657 w 389952"/>
                <a:gd name="connsiteY8" fmla="*/ 217535 h 306354"/>
                <a:gd name="connsiteX9" fmla="*/ 54094 w 389952"/>
                <a:gd name="connsiteY9" fmla="*/ 64336 h 306354"/>
                <a:gd name="connsiteX10" fmla="*/ 314569 w 389952"/>
                <a:gd name="connsiteY10" fmla="*/ 37453 h 306354"/>
                <a:gd name="connsiteX11" fmla="*/ 332536 w 389952"/>
                <a:gd name="connsiteY11" fmla="*/ 46587 h 306354"/>
                <a:gd name="connsiteX12" fmla="*/ 203960 w 389952"/>
                <a:gd name="connsiteY12" fmla="*/ 153079 h 306354"/>
                <a:gd name="connsiteX13" fmla="*/ 177061 w 389952"/>
                <a:gd name="connsiteY13" fmla="*/ 155778 h 306354"/>
                <a:gd name="connsiteX14" fmla="*/ 37477 w 389952"/>
                <a:gd name="connsiteY14" fmla="*/ 82085 h 306354"/>
                <a:gd name="connsiteX15" fmla="*/ 54094 w 389952"/>
                <a:gd name="connsiteY15" fmla="*/ 64336 h 306354"/>
                <a:gd name="connsiteX16" fmla="*/ 74865 w 389952"/>
                <a:gd name="connsiteY16" fmla="*/ 268809 h 306354"/>
                <a:gd name="connsiteX17" fmla="*/ 54146 w 389952"/>
                <a:gd name="connsiteY17" fmla="*/ 252638 h 306354"/>
                <a:gd name="connsiteX18" fmla="*/ 54094 w 389952"/>
                <a:gd name="connsiteY18" fmla="*/ 252202 h 306354"/>
                <a:gd name="connsiteX19" fmla="*/ 41112 w 389952"/>
                <a:gd name="connsiteY19" fmla="*/ 126716 h 306354"/>
                <a:gd name="connsiteX20" fmla="*/ 158886 w 389952"/>
                <a:gd name="connsiteY20" fmla="*/ 188992 h 306354"/>
                <a:gd name="connsiteX21" fmla="*/ 227121 w 389952"/>
                <a:gd name="connsiteY21" fmla="*/ 181934 h 306354"/>
                <a:gd name="connsiteX22" fmla="*/ 338040 w 389952"/>
                <a:gd name="connsiteY22" fmla="*/ 89973 h 306354"/>
                <a:gd name="connsiteX23" fmla="*/ 352269 w 389952"/>
                <a:gd name="connsiteY23" fmla="*/ 221168 h 306354"/>
                <a:gd name="connsiteX24" fmla="*/ 336088 w 389952"/>
                <a:gd name="connsiteY24" fmla="*/ 241874 h 306354"/>
                <a:gd name="connsiteX25" fmla="*/ 335652 w 389952"/>
                <a:gd name="connsiteY25" fmla="*/ 241926 h 306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89952" h="306354">
                  <a:moveTo>
                    <a:pt x="389657" y="217535"/>
                  </a:moveTo>
                  <a:lnTo>
                    <a:pt x="372313" y="50220"/>
                  </a:lnTo>
                  <a:cubicBezTo>
                    <a:pt x="369042" y="19466"/>
                    <a:pt x="341509" y="-2850"/>
                    <a:pt x="310726" y="296"/>
                  </a:cubicBezTo>
                  <a:lnTo>
                    <a:pt x="50251" y="27178"/>
                  </a:lnTo>
                  <a:cubicBezTo>
                    <a:pt x="19478" y="30447"/>
                    <a:pt x="-2851" y="57963"/>
                    <a:pt x="296" y="88727"/>
                  </a:cubicBezTo>
                  <a:lnTo>
                    <a:pt x="17536" y="256042"/>
                  </a:lnTo>
                  <a:cubicBezTo>
                    <a:pt x="20808" y="286807"/>
                    <a:pt x="48320" y="309153"/>
                    <a:pt x="79124" y="306070"/>
                  </a:cubicBezTo>
                  <a:lnTo>
                    <a:pt x="339599" y="279084"/>
                  </a:lnTo>
                  <a:cubicBezTo>
                    <a:pt x="370413" y="275867"/>
                    <a:pt x="392805" y="248330"/>
                    <a:pt x="389657" y="217535"/>
                  </a:cubicBezTo>
                  <a:close/>
                  <a:moveTo>
                    <a:pt x="54094" y="64336"/>
                  </a:moveTo>
                  <a:lnTo>
                    <a:pt x="314569" y="37453"/>
                  </a:lnTo>
                  <a:cubicBezTo>
                    <a:pt x="321839" y="36675"/>
                    <a:pt x="328880" y="40256"/>
                    <a:pt x="332536" y="46587"/>
                  </a:cubicBezTo>
                  <a:lnTo>
                    <a:pt x="203960" y="153079"/>
                  </a:lnTo>
                  <a:cubicBezTo>
                    <a:pt x="196223" y="158985"/>
                    <a:pt x="185817" y="160033"/>
                    <a:pt x="177061" y="155778"/>
                  </a:cubicBezTo>
                  <a:lnTo>
                    <a:pt x="37477" y="82085"/>
                  </a:lnTo>
                  <a:cubicBezTo>
                    <a:pt x="37923" y="72899"/>
                    <a:pt x="44954" y="65395"/>
                    <a:pt x="54094" y="64336"/>
                  </a:cubicBezTo>
                  <a:close/>
                  <a:moveTo>
                    <a:pt x="74865" y="268809"/>
                  </a:moveTo>
                  <a:cubicBezTo>
                    <a:pt x="64677" y="270065"/>
                    <a:pt x="55392" y="262820"/>
                    <a:pt x="54146" y="252638"/>
                  </a:cubicBezTo>
                  <a:cubicBezTo>
                    <a:pt x="54125" y="252492"/>
                    <a:pt x="54105" y="252347"/>
                    <a:pt x="54094" y="252202"/>
                  </a:cubicBezTo>
                  <a:lnTo>
                    <a:pt x="41112" y="126716"/>
                  </a:lnTo>
                  <a:lnTo>
                    <a:pt x="158886" y="188992"/>
                  </a:lnTo>
                  <a:cubicBezTo>
                    <a:pt x="181039" y="200264"/>
                    <a:pt x="207751" y="197503"/>
                    <a:pt x="227121" y="181934"/>
                  </a:cubicBezTo>
                  <a:lnTo>
                    <a:pt x="338040" y="89973"/>
                  </a:lnTo>
                  <a:lnTo>
                    <a:pt x="352269" y="221168"/>
                  </a:lnTo>
                  <a:cubicBezTo>
                    <a:pt x="353525" y="231350"/>
                    <a:pt x="346276" y="240629"/>
                    <a:pt x="336088" y="241874"/>
                  </a:cubicBezTo>
                  <a:cubicBezTo>
                    <a:pt x="335942" y="241895"/>
                    <a:pt x="335797" y="241916"/>
                    <a:pt x="335652" y="241926"/>
                  </a:cubicBezTo>
                  <a:close/>
                </a:path>
              </a:pathLst>
            </a:custGeom>
            <a:solidFill>
              <a:srgbClr val="040407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DC919FA6-47CD-4F43-BEDC-3022912ABFF2}"/>
                </a:ext>
              </a:extLst>
            </p:cNvPr>
            <p:cNvSpPr/>
            <p:nvPr/>
          </p:nvSpPr>
          <p:spPr>
            <a:xfrm>
              <a:off x="6833155" y="4851093"/>
              <a:ext cx="2176049" cy="1446982"/>
            </a:xfrm>
            <a:custGeom>
              <a:avLst/>
              <a:gdLst>
                <a:gd name="connsiteX0" fmla="*/ 1953863 w 2176049"/>
                <a:gd name="connsiteY0" fmla="*/ 1446982 h 1446982"/>
                <a:gd name="connsiteX1" fmla="*/ 330882 w 2176049"/>
                <a:gd name="connsiteY1" fmla="*/ 1446982 h 1446982"/>
                <a:gd name="connsiteX2" fmla="*/ 327143 w 2176049"/>
                <a:gd name="connsiteY2" fmla="*/ 1438160 h 1446982"/>
                <a:gd name="connsiteX3" fmla="*/ 31045 w 2176049"/>
                <a:gd name="connsiteY3" fmla="*/ 240593 h 1446982"/>
                <a:gd name="connsiteX4" fmla="*/ 1016237 w 2176049"/>
                <a:gd name="connsiteY4" fmla="*/ 0 h 1446982"/>
                <a:gd name="connsiteX5" fmla="*/ 2157840 w 2176049"/>
                <a:gd name="connsiteY5" fmla="*/ 209559 h 1446982"/>
                <a:gd name="connsiteX6" fmla="*/ 1956771 w 2176049"/>
                <a:gd name="connsiteY6" fmla="*/ 1436292 h 1446982"/>
                <a:gd name="connsiteX7" fmla="*/ 350096 w 2176049"/>
                <a:gd name="connsiteY7" fmla="*/ 1418024 h 1446982"/>
                <a:gd name="connsiteX8" fmla="*/ 1931742 w 2176049"/>
                <a:gd name="connsiteY8" fmla="*/ 1418024 h 1446982"/>
                <a:gd name="connsiteX9" fmla="*/ 2133121 w 2176049"/>
                <a:gd name="connsiteY9" fmla="*/ 224401 h 1446982"/>
                <a:gd name="connsiteX10" fmla="*/ 1016237 w 2176049"/>
                <a:gd name="connsiteY10" fmla="*/ 29477 h 1446982"/>
                <a:gd name="connsiteX11" fmla="*/ 51505 w 2176049"/>
                <a:gd name="connsiteY11" fmla="*/ 261559 h 1446982"/>
                <a:gd name="connsiteX12" fmla="*/ 152143 w 2176049"/>
                <a:gd name="connsiteY12" fmla="*/ 889924 h 1446982"/>
                <a:gd name="connsiteX13" fmla="*/ 350096 w 2176049"/>
                <a:gd name="connsiteY13" fmla="*/ 1418024 h 1446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76049" h="1446982">
                  <a:moveTo>
                    <a:pt x="1953863" y="1446982"/>
                  </a:moveTo>
                  <a:lnTo>
                    <a:pt x="330882" y="1446982"/>
                  </a:lnTo>
                  <a:lnTo>
                    <a:pt x="327143" y="1438160"/>
                  </a:lnTo>
                  <a:cubicBezTo>
                    <a:pt x="281861" y="1330630"/>
                    <a:pt x="-111759" y="383205"/>
                    <a:pt x="31045" y="240593"/>
                  </a:cubicBezTo>
                  <a:cubicBezTo>
                    <a:pt x="188493" y="83242"/>
                    <a:pt x="529561" y="0"/>
                    <a:pt x="1016237" y="0"/>
                  </a:cubicBezTo>
                  <a:cubicBezTo>
                    <a:pt x="1484116" y="0"/>
                    <a:pt x="2063952" y="54907"/>
                    <a:pt x="2157840" y="209559"/>
                  </a:cubicBezTo>
                  <a:cubicBezTo>
                    <a:pt x="2249026" y="359540"/>
                    <a:pt x="1968715" y="1392802"/>
                    <a:pt x="1956771" y="1436292"/>
                  </a:cubicBezTo>
                  <a:close/>
                  <a:moveTo>
                    <a:pt x="350096" y="1418024"/>
                  </a:moveTo>
                  <a:lnTo>
                    <a:pt x="1931742" y="1418024"/>
                  </a:lnTo>
                  <a:cubicBezTo>
                    <a:pt x="2013997" y="1114429"/>
                    <a:pt x="2202602" y="338574"/>
                    <a:pt x="2133121" y="224401"/>
                  </a:cubicBezTo>
                  <a:cubicBezTo>
                    <a:pt x="2063641" y="110228"/>
                    <a:pt x="1603863" y="29477"/>
                    <a:pt x="1016237" y="29477"/>
                  </a:cubicBezTo>
                  <a:cubicBezTo>
                    <a:pt x="537039" y="29477"/>
                    <a:pt x="203449" y="109710"/>
                    <a:pt x="51505" y="261559"/>
                  </a:cubicBezTo>
                  <a:cubicBezTo>
                    <a:pt x="21179" y="291867"/>
                    <a:pt x="-6032" y="413824"/>
                    <a:pt x="152143" y="889924"/>
                  </a:cubicBezTo>
                  <a:cubicBezTo>
                    <a:pt x="233671" y="1135291"/>
                    <a:pt x="330259" y="1370175"/>
                    <a:pt x="350096" y="1418024"/>
                  </a:cubicBezTo>
                  <a:close/>
                </a:path>
              </a:pathLst>
            </a:custGeom>
            <a:solidFill>
              <a:srgbClr val="231F2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D96D338D-E660-8A4B-8767-BAEA08AC245A}"/>
                </a:ext>
              </a:extLst>
            </p:cNvPr>
            <p:cNvSpPr/>
            <p:nvPr/>
          </p:nvSpPr>
          <p:spPr>
            <a:xfrm>
              <a:off x="7110966" y="6312606"/>
              <a:ext cx="1718010" cy="173542"/>
            </a:xfrm>
            <a:custGeom>
              <a:avLst/>
              <a:gdLst>
                <a:gd name="connsiteX0" fmla="*/ 1631186 w 1718010"/>
                <a:gd name="connsiteY0" fmla="*/ 173542 h 173542"/>
                <a:gd name="connsiteX1" fmla="*/ 86825 w 1718010"/>
                <a:gd name="connsiteY1" fmla="*/ 173542 h 173542"/>
                <a:gd name="connsiteX2" fmla="*/ 0 w 1718010"/>
                <a:gd name="connsiteY2" fmla="*/ 86771 h 173542"/>
                <a:gd name="connsiteX3" fmla="*/ 86825 w 1718010"/>
                <a:gd name="connsiteY3" fmla="*/ 0 h 173542"/>
                <a:gd name="connsiteX4" fmla="*/ 1631186 w 1718010"/>
                <a:gd name="connsiteY4" fmla="*/ 0 h 173542"/>
                <a:gd name="connsiteX5" fmla="*/ 1718011 w 1718010"/>
                <a:gd name="connsiteY5" fmla="*/ 86771 h 173542"/>
                <a:gd name="connsiteX6" fmla="*/ 1631186 w 1718010"/>
                <a:gd name="connsiteY6" fmla="*/ 173542 h 173542"/>
                <a:gd name="connsiteX7" fmla="*/ 86825 w 1718010"/>
                <a:gd name="connsiteY7" fmla="*/ 28855 h 173542"/>
                <a:gd name="connsiteX8" fmla="*/ 28872 w 1718010"/>
                <a:gd name="connsiteY8" fmla="*/ 86771 h 173542"/>
                <a:gd name="connsiteX9" fmla="*/ 86825 w 1718010"/>
                <a:gd name="connsiteY9" fmla="*/ 144688 h 173542"/>
                <a:gd name="connsiteX10" fmla="*/ 1631186 w 1718010"/>
                <a:gd name="connsiteY10" fmla="*/ 144688 h 173542"/>
                <a:gd name="connsiteX11" fmla="*/ 1689138 w 1718010"/>
                <a:gd name="connsiteY11" fmla="*/ 86771 h 173542"/>
                <a:gd name="connsiteX12" fmla="*/ 1631186 w 1718010"/>
                <a:gd name="connsiteY12" fmla="*/ 28855 h 173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18010" h="173542">
                  <a:moveTo>
                    <a:pt x="1631186" y="173542"/>
                  </a:moveTo>
                  <a:lnTo>
                    <a:pt x="86825" y="173542"/>
                  </a:lnTo>
                  <a:cubicBezTo>
                    <a:pt x="38874" y="173542"/>
                    <a:pt x="0" y="134693"/>
                    <a:pt x="0" y="86771"/>
                  </a:cubicBezTo>
                  <a:cubicBezTo>
                    <a:pt x="0" y="38850"/>
                    <a:pt x="38874" y="0"/>
                    <a:pt x="86825" y="0"/>
                  </a:cubicBezTo>
                  <a:lnTo>
                    <a:pt x="1631186" y="0"/>
                  </a:lnTo>
                  <a:cubicBezTo>
                    <a:pt x="1679137" y="0"/>
                    <a:pt x="1718011" y="38850"/>
                    <a:pt x="1718011" y="86771"/>
                  </a:cubicBezTo>
                  <a:cubicBezTo>
                    <a:pt x="1718011" y="134693"/>
                    <a:pt x="1679137" y="173542"/>
                    <a:pt x="1631186" y="173542"/>
                  </a:cubicBezTo>
                  <a:close/>
                  <a:moveTo>
                    <a:pt x="86825" y="28855"/>
                  </a:moveTo>
                  <a:cubicBezTo>
                    <a:pt x="54816" y="28855"/>
                    <a:pt x="28872" y="54782"/>
                    <a:pt x="28872" y="86771"/>
                  </a:cubicBezTo>
                  <a:cubicBezTo>
                    <a:pt x="28872" y="118760"/>
                    <a:pt x="54816" y="144688"/>
                    <a:pt x="86825" y="144688"/>
                  </a:cubicBezTo>
                  <a:lnTo>
                    <a:pt x="1631186" y="144688"/>
                  </a:lnTo>
                  <a:cubicBezTo>
                    <a:pt x="1663195" y="144688"/>
                    <a:pt x="1689138" y="118760"/>
                    <a:pt x="1689138" y="86771"/>
                  </a:cubicBezTo>
                  <a:cubicBezTo>
                    <a:pt x="1689138" y="54782"/>
                    <a:pt x="1663195" y="28855"/>
                    <a:pt x="1631186" y="28855"/>
                  </a:cubicBezTo>
                  <a:close/>
                </a:path>
              </a:pathLst>
            </a:custGeom>
            <a:solidFill>
              <a:srgbClr val="231F2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8E3BEB18-E5AB-2542-BDDC-279FE3339894}"/>
                </a:ext>
              </a:extLst>
            </p:cNvPr>
            <p:cNvSpPr/>
            <p:nvPr/>
          </p:nvSpPr>
          <p:spPr>
            <a:xfrm>
              <a:off x="11072187" y="5372043"/>
              <a:ext cx="520246" cy="1118881"/>
            </a:xfrm>
            <a:custGeom>
              <a:avLst/>
              <a:gdLst>
                <a:gd name="connsiteX0" fmla="*/ 516699 w 520246"/>
                <a:gd name="connsiteY0" fmla="*/ 408934 h 1118881"/>
                <a:gd name="connsiteX1" fmla="*/ 506313 w 520246"/>
                <a:gd name="connsiteY1" fmla="*/ 403952 h 1118881"/>
                <a:gd name="connsiteX2" fmla="*/ 436936 w 520246"/>
                <a:gd name="connsiteY2" fmla="*/ 403952 h 1118881"/>
                <a:gd name="connsiteX3" fmla="*/ 477129 w 520246"/>
                <a:gd name="connsiteY3" fmla="*/ 165227 h 1118881"/>
                <a:gd name="connsiteX4" fmla="*/ 477129 w 520246"/>
                <a:gd name="connsiteY4" fmla="*/ 161595 h 1118881"/>
                <a:gd name="connsiteX5" fmla="*/ 451373 w 520246"/>
                <a:gd name="connsiteY5" fmla="*/ 17115 h 1118881"/>
                <a:gd name="connsiteX6" fmla="*/ 440977 w 520246"/>
                <a:gd name="connsiteY6" fmla="*/ 6746 h 1118881"/>
                <a:gd name="connsiteX7" fmla="*/ 431224 w 520246"/>
                <a:gd name="connsiteY7" fmla="*/ 13586 h 1118881"/>
                <a:gd name="connsiteX8" fmla="*/ 352500 w 520246"/>
                <a:gd name="connsiteY8" fmla="*/ 150489 h 1118881"/>
                <a:gd name="connsiteX9" fmla="*/ 352500 w 520246"/>
                <a:gd name="connsiteY9" fmla="*/ 151734 h 1118881"/>
                <a:gd name="connsiteX10" fmla="*/ 351877 w 520246"/>
                <a:gd name="connsiteY10" fmla="*/ 153291 h 1118881"/>
                <a:gd name="connsiteX11" fmla="*/ 351877 w 520246"/>
                <a:gd name="connsiteY11" fmla="*/ 154018 h 1118881"/>
                <a:gd name="connsiteX12" fmla="*/ 312411 w 520246"/>
                <a:gd name="connsiteY12" fmla="*/ 377277 h 1118881"/>
                <a:gd name="connsiteX13" fmla="*/ 312411 w 520246"/>
                <a:gd name="connsiteY13" fmla="*/ 193563 h 1118881"/>
                <a:gd name="connsiteX14" fmla="*/ 311788 w 520246"/>
                <a:gd name="connsiteY14" fmla="*/ 189930 h 1118881"/>
                <a:gd name="connsiteX15" fmla="*/ 262352 w 520246"/>
                <a:gd name="connsiteY15" fmla="*/ 51574 h 1118881"/>
                <a:gd name="connsiteX16" fmla="*/ 251966 w 520246"/>
                <a:gd name="connsiteY16" fmla="*/ 44308 h 1118881"/>
                <a:gd name="connsiteX17" fmla="*/ 251966 w 520246"/>
                <a:gd name="connsiteY17" fmla="*/ 44308 h 1118881"/>
                <a:gd name="connsiteX18" fmla="*/ 241580 w 520246"/>
                <a:gd name="connsiteY18" fmla="*/ 51470 h 1118881"/>
                <a:gd name="connsiteX19" fmla="*/ 187782 w 520246"/>
                <a:gd name="connsiteY19" fmla="*/ 199168 h 1118881"/>
                <a:gd name="connsiteX20" fmla="*/ 187782 w 520246"/>
                <a:gd name="connsiteY20" fmla="*/ 200517 h 1118881"/>
                <a:gd name="connsiteX21" fmla="*/ 187782 w 520246"/>
                <a:gd name="connsiteY21" fmla="*/ 202178 h 1118881"/>
                <a:gd name="connsiteX22" fmla="*/ 187782 w 520246"/>
                <a:gd name="connsiteY22" fmla="*/ 202905 h 1118881"/>
                <a:gd name="connsiteX23" fmla="*/ 187782 w 520246"/>
                <a:gd name="connsiteY23" fmla="*/ 323824 h 1118881"/>
                <a:gd name="connsiteX24" fmla="*/ 146239 w 520246"/>
                <a:gd name="connsiteY24" fmla="*/ 134297 h 1118881"/>
                <a:gd name="connsiteX25" fmla="*/ 144889 w 520246"/>
                <a:gd name="connsiteY25" fmla="*/ 130872 h 1118881"/>
                <a:gd name="connsiteX26" fmla="*/ 67204 w 520246"/>
                <a:gd name="connsiteY26" fmla="*/ 6320 h 1118881"/>
                <a:gd name="connsiteX27" fmla="*/ 53578 w 520246"/>
                <a:gd name="connsiteY27" fmla="*/ 829 h 1118881"/>
                <a:gd name="connsiteX28" fmla="*/ 47263 w 520246"/>
                <a:gd name="connsiteY28" fmla="*/ 10576 h 1118881"/>
                <a:gd name="connsiteX29" fmla="*/ 25453 w 520246"/>
                <a:gd name="connsiteY29" fmla="*/ 166992 h 1118881"/>
                <a:gd name="connsiteX30" fmla="*/ 25453 w 520246"/>
                <a:gd name="connsiteY30" fmla="*/ 168341 h 1118881"/>
                <a:gd name="connsiteX31" fmla="*/ 25453 w 520246"/>
                <a:gd name="connsiteY31" fmla="*/ 170002 h 1118881"/>
                <a:gd name="connsiteX32" fmla="*/ 25453 w 520246"/>
                <a:gd name="connsiteY32" fmla="*/ 170729 h 1118881"/>
                <a:gd name="connsiteX33" fmla="*/ 75097 w 520246"/>
                <a:gd name="connsiteY33" fmla="*/ 404160 h 1118881"/>
                <a:gd name="connsiteX34" fmla="*/ 13925 w 520246"/>
                <a:gd name="connsiteY34" fmla="*/ 404160 h 1118881"/>
                <a:gd name="connsiteX35" fmla="*/ 3539 w 520246"/>
                <a:gd name="connsiteY35" fmla="*/ 409142 h 1118881"/>
                <a:gd name="connsiteX36" fmla="*/ 112 w 520246"/>
                <a:gd name="connsiteY36" fmla="*/ 420663 h 1118881"/>
                <a:gd name="connsiteX37" fmla="*/ 96907 w 520246"/>
                <a:gd name="connsiteY37" fmla="*/ 1106425 h 1118881"/>
                <a:gd name="connsiteX38" fmla="*/ 111239 w 520246"/>
                <a:gd name="connsiteY38" fmla="*/ 1118881 h 1118881"/>
                <a:gd name="connsiteX39" fmla="*/ 410764 w 520246"/>
                <a:gd name="connsiteY39" fmla="*/ 1118881 h 1118881"/>
                <a:gd name="connsiteX40" fmla="*/ 425096 w 520246"/>
                <a:gd name="connsiteY40" fmla="*/ 1106425 h 1118881"/>
                <a:gd name="connsiteX41" fmla="*/ 520126 w 520246"/>
                <a:gd name="connsiteY41" fmla="*/ 420455 h 1118881"/>
                <a:gd name="connsiteX42" fmla="*/ 516699 w 520246"/>
                <a:gd name="connsiteY42" fmla="*/ 408934 h 1118881"/>
                <a:gd name="connsiteX43" fmla="*/ 329755 w 520246"/>
                <a:gd name="connsiteY43" fmla="*/ 403952 h 1118881"/>
                <a:gd name="connsiteX44" fmla="*/ 366833 w 520246"/>
                <a:gd name="connsiteY44" fmla="*/ 188581 h 1118881"/>
                <a:gd name="connsiteX45" fmla="*/ 384177 w 520246"/>
                <a:gd name="connsiteY45" fmla="*/ 221172 h 1118881"/>
                <a:gd name="connsiteX46" fmla="*/ 397855 w 520246"/>
                <a:gd name="connsiteY46" fmla="*/ 226507 h 1118881"/>
                <a:gd name="connsiteX47" fmla="*/ 402352 w 520246"/>
                <a:gd name="connsiteY47" fmla="*/ 222729 h 1118881"/>
                <a:gd name="connsiteX48" fmla="*/ 428939 w 520246"/>
                <a:gd name="connsiteY48" fmla="*/ 187855 h 1118881"/>
                <a:gd name="connsiteX49" fmla="*/ 440779 w 520246"/>
                <a:gd name="connsiteY49" fmla="*/ 222002 h 1118881"/>
                <a:gd name="connsiteX50" fmla="*/ 443895 w 520246"/>
                <a:gd name="connsiteY50" fmla="*/ 226466 h 1118881"/>
                <a:gd name="connsiteX51" fmla="*/ 413984 w 520246"/>
                <a:gd name="connsiteY51" fmla="*/ 403952 h 1118881"/>
                <a:gd name="connsiteX52" fmla="*/ 231091 w 520246"/>
                <a:gd name="connsiteY52" fmla="*/ 263935 h 1118881"/>
                <a:gd name="connsiteX53" fmla="*/ 239711 w 520246"/>
                <a:gd name="connsiteY53" fmla="*/ 268087 h 1118881"/>
                <a:gd name="connsiteX54" fmla="*/ 240646 w 520246"/>
                <a:gd name="connsiteY54" fmla="*/ 268087 h 1118881"/>
                <a:gd name="connsiteX55" fmla="*/ 249266 w 520246"/>
                <a:gd name="connsiteY55" fmla="*/ 262274 h 1118881"/>
                <a:gd name="connsiteX56" fmla="*/ 270037 w 520246"/>
                <a:gd name="connsiteY56" fmla="*/ 223456 h 1118881"/>
                <a:gd name="connsiteX57" fmla="*/ 287485 w 520246"/>
                <a:gd name="connsiteY57" fmla="*/ 255113 h 1118881"/>
                <a:gd name="connsiteX58" fmla="*/ 291017 w 520246"/>
                <a:gd name="connsiteY58" fmla="*/ 258745 h 1118881"/>
                <a:gd name="connsiteX59" fmla="*/ 291017 w 520246"/>
                <a:gd name="connsiteY59" fmla="*/ 404056 h 1118881"/>
                <a:gd name="connsiteX60" fmla="*/ 208554 w 520246"/>
                <a:gd name="connsiteY60" fmla="*/ 404056 h 1118881"/>
                <a:gd name="connsiteX61" fmla="*/ 208554 w 520246"/>
                <a:gd name="connsiteY61" fmla="*/ 235080 h 1118881"/>
                <a:gd name="connsiteX62" fmla="*/ 406506 w 520246"/>
                <a:gd name="connsiteY62" fmla="*/ 99008 h 1118881"/>
                <a:gd name="connsiteX63" fmla="*/ 444414 w 520246"/>
                <a:gd name="connsiteY63" fmla="*/ 105443 h 1118881"/>
                <a:gd name="connsiteX64" fmla="*/ 454800 w 520246"/>
                <a:gd name="connsiteY64" fmla="*/ 163255 h 1118881"/>
                <a:gd name="connsiteX65" fmla="*/ 451165 w 520246"/>
                <a:gd name="connsiteY65" fmla="*/ 184845 h 1118881"/>
                <a:gd name="connsiteX66" fmla="*/ 443168 w 520246"/>
                <a:gd name="connsiteY66" fmla="*/ 161595 h 1118881"/>
                <a:gd name="connsiteX67" fmla="*/ 434652 w 520246"/>
                <a:gd name="connsiteY67" fmla="*/ 154433 h 1118881"/>
                <a:gd name="connsiteX68" fmla="*/ 424266 w 520246"/>
                <a:gd name="connsiteY68" fmla="*/ 158585 h 1118881"/>
                <a:gd name="connsiteX69" fmla="*/ 395497 w 520246"/>
                <a:gd name="connsiteY69" fmla="*/ 196054 h 1118881"/>
                <a:gd name="connsiteX70" fmla="*/ 374726 w 520246"/>
                <a:gd name="connsiteY70" fmla="*/ 155679 h 1118881"/>
                <a:gd name="connsiteX71" fmla="*/ 434756 w 520246"/>
                <a:gd name="connsiteY71" fmla="*/ 49913 h 1118881"/>
                <a:gd name="connsiteX72" fmla="*/ 440468 w 520246"/>
                <a:gd name="connsiteY72" fmla="*/ 82816 h 1118881"/>
                <a:gd name="connsiteX73" fmla="*/ 418034 w 520246"/>
                <a:gd name="connsiteY73" fmla="*/ 78975 h 1118881"/>
                <a:gd name="connsiteX74" fmla="*/ 290601 w 520246"/>
                <a:gd name="connsiteY74" fmla="*/ 216605 h 1118881"/>
                <a:gd name="connsiteX75" fmla="*/ 278866 w 520246"/>
                <a:gd name="connsiteY75" fmla="*/ 195224 h 1118881"/>
                <a:gd name="connsiteX76" fmla="*/ 269207 w 520246"/>
                <a:gd name="connsiteY76" fmla="*/ 189619 h 1118881"/>
                <a:gd name="connsiteX77" fmla="*/ 259755 w 520246"/>
                <a:gd name="connsiteY77" fmla="*/ 195431 h 1118881"/>
                <a:gd name="connsiteX78" fmla="*/ 237946 w 520246"/>
                <a:gd name="connsiteY78" fmla="*/ 236949 h 1118881"/>
                <a:gd name="connsiteX79" fmla="*/ 209904 w 520246"/>
                <a:gd name="connsiteY79" fmla="*/ 200725 h 1118881"/>
                <a:gd name="connsiteX80" fmla="*/ 232441 w 520246"/>
                <a:gd name="connsiteY80" fmla="*/ 139383 h 1118881"/>
                <a:gd name="connsiteX81" fmla="*/ 270868 w 520246"/>
                <a:gd name="connsiteY81" fmla="*/ 139383 h 1118881"/>
                <a:gd name="connsiteX82" fmla="*/ 290601 w 520246"/>
                <a:gd name="connsiteY82" fmla="*/ 194601 h 1118881"/>
                <a:gd name="connsiteX83" fmla="*/ 251862 w 520246"/>
                <a:gd name="connsiteY83" fmla="*/ 86552 h 1118881"/>
                <a:gd name="connsiteX84" fmla="*/ 263079 w 520246"/>
                <a:gd name="connsiteY84" fmla="*/ 117690 h 1118881"/>
                <a:gd name="connsiteX85" fmla="*/ 240438 w 520246"/>
                <a:gd name="connsiteY85" fmla="*/ 117690 h 1118881"/>
                <a:gd name="connsiteX86" fmla="*/ 129934 w 520246"/>
                <a:gd name="connsiteY86" fmla="*/ 162425 h 1118881"/>
                <a:gd name="connsiteX87" fmla="*/ 113836 w 520246"/>
                <a:gd name="connsiteY87" fmla="*/ 143950 h 1118881"/>
                <a:gd name="connsiteX88" fmla="*/ 103450 w 520246"/>
                <a:gd name="connsiteY88" fmla="*/ 140525 h 1118881"/>
                <a:gd name="connsiteX89" fmla="*/ 95453 w 520246"/>
                <a:gd name="connsiteY89" fmla="*/ 148206 h 1118881"/>
                <a:gd name="connsiteX90" fmla="*/ 82990 w 520246"/>
                <a:gd name="connsiteY90" fmla="*/ 193667 h 1118881"/>
                <a:gd name="connsiteX91" fmla="*/ 47887 w 520246"/>
                <a:gd name="connsiteY91" fmla="*/ 164190 h 1118881"/>
                <a:gd name="connsiteX92" fmla="*/ 56922 w 520246"/>
                <a:gd name="connsiteY92" fmla="*/ 99526 h 1118881"/>
                <a:gd name="connsiteX93" fmla="*/ 94518 w 520246"/>
                <a:gd name="connsiteY93" fmla="*/ 91327 h 1118881"/>
                <a:gd name="connsiteX94" fmla="*/ 125676 w 520246"/>
                <a:gd name="connsiteY94" fmla="*/ 141148 h 1118881"/>
                <a:gd name="connsiteX95" fmla="*/ 82159 w 520246"/>
                <a:gd name="connsiteY95" fmla="*/ 71814 h 1118881"/>
                <a:gd name="connsiteX96" fmla="*/ 59934 w 520246"/>
                <a:gd name="connsiteY96" fmla="*/ 76588 h 1118881"/>
                <a:gd name="connsiteX97" fmla="*/ 64503 w 520246"/>
                <a:gd name="connsiteY97" fmla="*/ 43478 h 1118881"/>
                <a:gd name="connsiteX98" fmla="*/ 53391 w 520246"/>
                <a:gd name="connsiteY98" fmla="*/ 197300 h 1118881"/>
                <a:gd name="connsiteX99" fmla="*/ 81744 w 520246"/>
                <a:gd name="connsiteY99" fmla="*/ 221172 h 1118881"/>
                <a:gd name="connsiteX100" fmla="*/ 88702 w 520246"/>
                <a:gd name="connsiteY100" fmla="*/ 223767 h 1118881"/>
                <a:gd name="connsiteX101" fmla="*/ 91922 w 520246"/>
                <a:gd name="connsiteY101" fmla="*/ 223248 h 1118881"/>
                <a:gd name="connsiteX102" fmla="*/ 99192 w 520246"/>
                <a:gd name="connsiteY102" fmla="*/ 215775 h 1118881"/>
                <a:gd name="connsiteX103" fmla="*/ 110824 w 520246"/>
                <a:gd name="connsiteY103" fmla="*/ 173531 h 1118881"/>
                <a:gd name="connsiteX104" fmla="*/ 134503 w 520246"/>
                <a:gd name="connsiteY104" fmla="*/ 200725 h 1118881"/>
                <a:gd name="connsiteX105" fmla="*/ 138865 w 520246"/>
                <a:gd name="connsiteY105" fmla="*/ 203631 h 1118881"/>
                <a:gd name="connsiteX106" fmla="*/ 182381 w 520246"/>
                <a:gd name="connsiteY106" fmla="*/ 404367 h 1118881"/>
                <a:gd name="connsiteX107" fmla="*/ 97426 w 520246"/>
                <a:gd name="connsiteY107" fmla="*/ 404367 h 1118881"/>
                <a:gd name="connsiteX108" fmla="*/ 489592 w 520246"/>
                <a:gd name="connsiteY108" fmla="*/ 433326 h 1118881"/>
                <a:gd name="connsiteX109" fmla="*/ 484295 w 520246"/>
                <a:gd name="connsiteY109" fmla="*/ 470691 h 1118881"/>
                <a:gd name="connsiteX110" fmla="*/ 38747 w 520246"/>
                <a:gd name="connsiteY110" fmla="*/ 470691 h 1118881"/>
                <a:gd name="connsiteX111" fmla="*/ 36047 w 520246"/>
                <a:gd name="connsiteY111" fmla="*/ 471210 h 1118881"/>
                <a:gd name="connsiteX112" fmla="*/ 30750 w 520246"/>
                <a:gd name="connsiteY112" fmla="*/ 433429 h 1118881"/>
                <a:gd name="connsiteX113" fmla="*/ 398094 w 520246"/>
                <a:gd name="connsiteY113" fmla="*/ 1090130 h 1118881"/>
                <a:gd name="connsiteX114" fmla="*/ 123390 w 520246"/>
                <a:gd name="connsiteY114" fmla="*/ 1090130 h 1118881"/>
                <a:gd name="connsiteX115" fmla="*/ 39370 w 520246"/>
                <a:gd name="connsiteY115" fmla="*/ 494252 h 1118881"/>
                <a:gd name="connsiteX116" fmla="*/ 480661 w 520246"/>
                <a:gd name="connsiteY116" fmla="*/ 494252 h 1118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</a:cxnLst>
              <a:rect l="l" t="t" r="r" b="b"/>
              <a:pathLst>
                <a:path w="520246" h="1118881">
                  <a:moveTo>
                    <a:pt x="516699" y="408934"/>
                  </a:moveTo>
                  <a:cubicBezTo>
                    <a:pt x="514061" y="405935"/>
                    <a:pt x="510312" y="404139"/>
                    <a:pt x="506313" y="403952"/>
                  </a:cubicBezTo>
                  <a:lnTo>
                    <a:pt x="436936" y="403952"/>
                  </a:lnTo>
                  <a:lnTo>
                    <a:pt x="477129" y="165227"/>
                  </a:lnTo>
                  <a:cubicBezTo>
                    <a:pt x="477347" y="164024"/>
                    <a:pt x="477347" y="162799"/>
                    <a:pt x="477129" y="161595"/>
                  </a:cubicBezTo>
                  <a:lnTo>
                    <a:pt x="451373" y="17115"/>
                  </a:lnTo>
                  <a:cubicBezTo>
                    <a:pt x="451363" y="11385"/>
                    <a:pt x="446710" y="6746"/>
                    <a:pt x="440977" y="6746"/>
                  </a:cubicBezTo>
                  <a:cubicBezTo>
                    <a:pt x="436614" y="6756"/>
                    <a:pt x="432710" y="9486"/>
                    <a:pt x="431224" y="13586"/>
                  </a:cubicBezTo>
                  <a:lnTo>
                    <a:pt x="352500" y="150489"/>
                  </a:lnTo>
                  <a:cubicBezTo>
                    <a:pt x="352438" y="150904"/>
                    <a:pt x="352438" y="151319"/>
                    <a:pt x="352500" y="151734"/>
                  </a:cubicBezTo>
                  <a:lnTo>
                    <a:pt x="351877" y="153291"/>
                  </a:lnTo>
                  <a:cubicBezTo>
                    <a:pt x="351877" y="153291"/>
                    <a:pt x="351877" y="153810"/>
                    <a:pt x="351877" y="154018"/>
                  </a:cubicBezTo>
                  <a:lnTo>
                    <a:pt x="312411" y="377277"/>
                  </a:lnTo>
                  <a:lnTo>
                    <a:pt x="312411" y="193563"/>
                  </a:lnTo>
                  <a:cubicBezTo>
                    <a:pt x="312421" y="192328"/>
                    <a:pt x="312214" y="191093"/>
                    <a:pt x="311788" y="189930"/>
                  </a:cubicBezTo>
                  <a:lnTo>
                    <a:pt x="262352" y="51574"/>
                  </a:lnTo>
                  <a:cubicBezTo>
                    <a:pt x="260940" y="47080"/>
                    <a:pt x="256681" y="44090"/>
                    <a:pt x="251966" y="44308"/>
                  </a:cubicBezTo>
                  <a:lnTo>
                    <a:pt x="251966" y="44308"/>
                  </a:lnTo>
                  <a:cubicBezTo>
                    <a:pt x="247282" y="44080"/>
                    <a:pt x="243024" y="47018"/>
                    <a:pt x="241580" y="51470"/>
                  </a:cubicBezTo>
                  <a:lnTo>
                    <a:pt x="187782" y="199168"/>
                  </a:lnTo>
                  <a:cubicBezTo>
                    <a:pt x="187730" y="199614"/>
                    <a:pt x="187730" y="200071"/>
                    <a:pt x="187782" y="200517"/>
                  </a:cubicBezTo>
                  <a:cubicBezTo>
                    <a:pt x="187678" y="201067"/>
                    <a:pt x="187678" y="201628"/>
                    <a:pt x="187782" y="202178"/>
                  </a:cubicBezTo>
                  <a:cubicBezTo>
                    <a:pt x="187782" y="202178"/>
                    <a:pt x="187782" y="202697"/>
                    <a:pt x="187782" y="202905"/>
                  </a:cubicBezTo>
                  <a:lnTo>
                    <a:pt x="187782" y="323824"/>
                  </a:lnTo>
                  <a:lnTo>
                    <a:pt x="146239" y="134297"/>
                  </a:lnTo>
                  <a:cubicBezTo>
                    <a:pt x="145927" y="133103"/>
                    <a:pt x="145471" y="131962"/>
                    <a:pt x="144889" y="130872"/>
                  </a:cubicBezTo>
                  <a:lnTo>
                    <a:pt x="67204" y="6320"/>
                  </a:lnTo>
                  <a:cubicBezTo>
                    <a:pt x="64961" y="1047"/>
                    <a:pt x="58864" y="-1413"/>
                    <a:pt x="53578" y="829"/>
                  </a:cubicBezTo>
                  <a:cubicBezTo>
                    <a:pt x="49683" y="2490"/>
                    <a:pt x="47180" y="6341"/>
                    <a:pt x="47263" y="10576"/>
                  </a:cubicBezTo>
                  <a:lnTo>
                    <a:pt x="25453" y="166992"/>
                  </a:lnTo>
                  <a:cubicBezTo>
                    <a:pt x="25453" y="166992"/>
                    <a:pt x="25453" y="167926"/>
                    <a:pt x="25453" y="168341"/>
                  </a:cubicBezTo>
                  <a:lnTo>
                    <a:pt x="25453" y="170002"/>
                  </a:lnTo>
                  <a:cubicBezTo>
                    <a:pt x="25453" y="170002"/>
                    <a:pt x="25453" y="170521"/>
                    <a:pt x="25453" y="170729"/>
                  </a:cubicBezTo>
                  <a:lnTo>
                    <a:pt x="75097" y="404160"/>
                  </a:lnTo>
                  <a:lnTo>
                    <a:pt x="13925" y="404160"/>
                  </a:lnTo>
                  <a:cubicBezTo>
                    <a:pt x="9926" y="404347"/>
                    <a:pt x="6177" y="406142"/>
                    <a:pt x="3539" y="409142"/>
                  </a:cubicBezTo>
                  <a:cubicBezTo>
                    <a:pt x="849" y="412339"/>
                    <a:pt x="-397" y="416511"/>
                    <a:pt x="112" y="420663"/>
                  </a:cubicBezTo>
                  <a:lnTo>
                    <a:pt x="96907" y="1106425"/>
                  </a:lnTo>
                  <a:cubicBezTo>
                    <a:pt x="97852" y="1113597"/>
                    <a:pt x="104000" y="1118943"/>
                    <a:pt x="111239" y="1118881"/>
                  </a:cubicBezTo>
                  <a:lnTo>
                    <a:pt x="410764" y="1118881"/>
                  </a:lnTo>
                  <a:cubicBezTo>
                    <a:pt x="417972" y="1118849"/>
                    <a:pt x="424068" y="1113556"/>
                    <a:pt x="425096" y="1106425"/>
                  </a:cubicBezTo>
                  <a:lnTo>
                    <a:pt x="520126" y="420455"/>
                  </a:lnTo>
                  <a:cubicBezTo>
                    <a:pt x="520656" y="416303"/>
                    <a:pt x="519420" y="412121"/>
                    <a:pt x="516699" y="408934"/>
                  </a:cubicBezTo>
                  <a:close/>
                  <a:moveTo>
                    <a:pt x="329755" y="403952"/>
                  </a:moveTo>
                  <a:lnTo>
                    <a:pt x="366833" y="188581"/>
                  </a:lnTo>
                  <a:lnTo>
                    <a:pt x="384177" y="221172"/>
                  </a:lnTo>
                  <a:cubicBezTo>
                    <a:pt x="386483" y="226424"/>
                    <a:pt x="392610" y="228811"/>
                    <a:pt x="397855" y="226507"/>
                  </a:cubicBezTo>
                  <a:cubicBezTo>
                    <a:pt x="399693" y="225708"/>
                    <a:pt x="401251" y="224400"/>
                    <a:pt x="402352" y="222729"/>
                  </a:cubicBezTo>
                  <a:lnTo>
                    <a:pt x="428939" y="187855"/>
                  </a:lnTo>
                  <a:lnTo>
                    <a:pt x="440779" y="222002"/>
                  </a:lnTo>
                  <a:cubicBezTo>
                    <a:pt x="441433" y="223726"/>
                    <a:pt x="442503" y="225251"/>
                    <a:pt x="443895" y="226466"/>
                  </a:cubicBezTo>
                  <a:lnTo>
                    <a:pt x="413984" y="403952"/>
                  </a:lnTo>
                  <a:close/>
                  <a:moveTo>
                    <a:pt x="231091" y="263935"/>
                  </a:moveTo>
                  <a:cubicBezTo>
                    <a:pt x="233178" y="266561"/>
                    <a:pt x="236356" y="268087"/>
                    <a:pt x="239711" y="268087"/>
                  </a:cubicBezTo>
                  <a:lnTo>
                    <a:pt x="240646" y="268087"/>
                  </a:lnTo>
                  <a:cubicBezTo>
                    <a:pt x="244354" y="267827"/>
                    <a:pt x="247635" y="265616"/>
                    <a:pt x="249266" y="262274"/>
                  </a:cubicBezTo>
                  <a:lnTo>
                    <a:pt x="270037" y="223456"/>
                  </a:lnTo>
                  <a:lnTo>
                    <a:pt x="287485" y="255113"/>
                  </a:lnTo>
                  <a:cubicBezTo>
                    <a:pt x="288347" y="256597"/>
                    <a:pt x="289552" y="257842"/>
                    <a:pt x="291017" y="258745"/>
                  </a:cubicBezTo>
                  <a:lnTo>
                    <a:pt x="291017" y="404056"/>
                  </a:lnTo>
                  <a:lnTo>
                    <a:pt x="208554" y="404056"/>
                  </a:lnTo>
                  <a:lnTo>
                    <a:pt x="208554" y="235080"/>
                  </a:lnTo>
                  <a:close/>
                  <a:moveTo>
                    <a:pt x="406506" y="99008"/>
                  </a:moveTo>
                  <a:lnTo>
                    <a:pt x="444414" y="105443"/>
                  </a:lnTo>
                  <a:lnTo>
                    <a:pt x="454800" y="163255"/>
                  </a:lnTo>
                  <a:lnTo>
                    <a:pt x="451165" y="184845"/>
                  </a:lnTo>
                  <a:lnTo>
                    <a:pt x="443168" y="161595"/>
                  </a:lnTo>
                  <a:cubicBezTo>
                    <a:pt x="441953" y="157765"/>
                    <a:pt x="438640" y="154973"/>
                    <a:pt x="434652" y="154433"/>
                  </a:cubicBezTo>
                  <a:cubicBezTo>
                    <a:pt x="430674" y="153676"/>
                    <a:pt x="426624" y="155294"/>
                    <a:pt x="424266" y="158585"/>
                  </a:cubicBezTo>
                  <a:lnTo>
                    <a:pt x="395497" y="196054"/>
                  </a:lnTo>
                  <a:lnTo>
                    <a:pt x="374726" y="155679"/>
                  </a:lnTo>
                  <a:close/>
                  <a:moveTo>
                    <a:pt x="434756" y="49913"/>
                  </a:moveTo>
                  <a:lnTo>
                    <a:pt x="440468" y="82816"/>
                  </a:lnTo>
                  <a:lnTo>
                    <a:pt x="418034" y="78975"/>
                  </a:lnTo>
                  <a:close/>
                  <a:moveTo>
                    <a:pt x="290601" y="216605"/>
                  </a:moveTo>
                  <a:lnTo>
                    <a:pt x="278866" y="195224"/>
                  </a:lnTo>
                  <a:cubicBezTo>
                    <a:pt x="276788" y="191861"/>
                    <a:pt x="273164" y="189754"/>
                    <a:pt x="269207" y="189619"/>
                  </a:cubicBezTo>
                  <a:cubicBezTo>
                    <a:pt x="265197" y="189567"/>
                    <a:pt x="261521" y="191830"/>
                    <a:pt x="259755" y="195431"/>
                  </a:cubicBezTo>
                  <a:lnTo>
                    <a:pt x="237946" y="236949"/>
                  </a:lnTo>
                  <a:lnTo>
                    <a:pt x="209904" y="200725"/>
                  </a:lnTo>
                  <a:lnTo>
                    <a:pt x="232441" y="139383"/>
                  </a:lnTo>
                  <a:lnTo>
                    <a:pt x="270868" y="139383"/>
                  </a:lnTo>
                  <a:lnTo>
                    <a:pt x="290601" y="194601"/>
                  </a:lnTo>
                  <a:close/>
                  <a:moveTo>
                    <a:pt x="251862" y="86552"/>
                  </a:moveTo>
                  <a:lnTo>
                    <a:pt x="263079" y="117690"/>
                  </a:lnTo>
                  <a:lnTo>
                    <a:pt x="240438" y="117690"/>
                  </a:lnTo>
                  <a:close/>
                  <a:moveTo>
                    <a:pt x="129934" y="162425"/>
                  </a:moveTo>
                  <a:lnTo>
                    <a:pt x="113836" y="143950"/>
                  </a:lnTo>
                  <a:cubicBezTo>
                    <a:pt x="111301" y="140929"/>
                    <a:pt x="107283" y="139601"/>
                    <a:pt x="103450" y="140525"/>
                  </a:cubicBezTo>
                  <a:cubicBezTo>
                    <a:pt x="99586" y="141438"/>
                    <a:pt x="96523" y="144386"/>
                    <a:pt x="95453" y="148206"/>
                  </a:cubicBezTo>
                  <a:lnTo>
                    <a:pt x="82990" y="193667"/>
                  </a:lnTo>
                  <a:lnTo>
                    <a:pt x="47887" y="164190"/>
                  </a:lnTo>
                  <a:lnTo>
                    <a:pt x="56922" y="99526"/>
                  </a:lnTo>
                  <a:lnTo>
                    <a:pt x="94518" y="91327"/>
                  </a:lnTo>
                  <a:lnTo>
                    <a:pt x="125676" y="141148"/>
                  </a:lnTo>
                  <a:close/>
                  <a:moveTo>
                    <a:pt x="82159" y="71814"/>
                  </a:moveTo>
                  <a:lnTo>
                    <a:pt x="59934" y="76588"/>
                  </a:lnTo>
                  <a:lnTo>
                    <a:pt x="64503" y="43478"/>
                  </a:lnTo>
                  <a:close/>
                  <a:moveTo>
                    <a:pt x="53391" y="197300"/>
                  </a:moveTo>
                  <a:lnTo>
                    <a:pt x="81744" y="221172"/>
                  </a:lnTo>
                  <a:cubicBezTo>
                    <a:pt x="83665" y="222864"/>
                    <a:pt x="86137" y="223788"/>
                    <a:pt x="88702" y="223767"/>
                  </a:cubicBezTo>
                  <a:cubicBezTo>
                    <a:pt x="89793" y="223757"/>
                    <a:pt x="90883" y="223580"/>
                    <a:pt x="91922" y="223248"/>
                  </a:cubicBezTo>
                  <a:cubicBezTo>
                    <a:pt x="95516" y="222241"/>
                    <a:pt x="98288" y="219387"/>
                    <a:pt x="99192" y="215775"/>
                  </a:cubicBezTo>
                  <a:lnTo>
                    <a:pt x="110824" y="173531"/>
                  </a:lnTo>
                  <a:lnTo>
                    <a:pt x="134503" y="200725"/>
                  </a:lnTo>
                  <a:cubicBezTo>
                    <a:pt x="135687" y="202053"/>
                    <a:pt x="137183" y="203050"/>
                    <a:pt x="138865" y="203631"/>
                  </a:cubicBezTo>
                  <a:lnTo>
                    <a:pt x="182381" y="404367"/>
                  </a:lnTo>
                  <a:lnTo>
                    <a:pt x="97426" y="404367"/>
                  </a:lnTo>
                  <a:close/>
                  <a:moveTo>
                    <a:pt x="489592" y="433326"/>
                  </a:moveTo>
                  <a:lnTo>
                    <a:pt x="484295" y="470691"/>
                  </a:lnTo>
                  <a:lnTo>
                    <a:pt x="38747" y="470691"/>
                  </a:lnTo>
                  <a:cubicBezTo>
                    <a:pt x="37833" y="470764"/>
                    <a:pt x="36929" y="470940"/>
                    <a:pt x="36047" y="471210"/>
                  </a:cubicBezTo>
                  <a:lnTo>
                    <a:pt x="30750" y="433429"/>
                  </a:lnTo>
                  <a:close/>
                  <a:moveTo>
                    <a:pt x="398094" y="1090130"/>
                  </a:moveTo>
                  <a:lnTo>
                    <a:pt x="123390" y="1090130"/>
                  </a:lnTo>
                  <a:lnTo>
                    <a:pt x="39370" y="494252"/>
                  </a:lnTo>
                  <a:lnTo>
                    <a:pt x="480661" y="494252"/>
                  </a:lnTo>
                  <a:close/>
                </a:path>
              </a:pathLst>
            </a:custGeom>
            <a:solidFill>
              <a:srgbClr val="231F2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D305A99-CAFA-E64F-B301-3A286BFDBADA}"/>
                </a:ext>
              </a:extLst>
            </p:cNvPr>
            <p:cNvSpPr/>
            <p:nvPr/>
          </p:nvSpPr>
          <p:spPr>
            <a:xfrm>
              <a:off x="11163381" y="6013656"/>
              <a:ext cx="215432" cy="408971"/>
            </a:xfrm>
            <a:custGeom>
              <a:avLst/>
              <a:gdLst>
                <a:gd name="connsiteX0" fmla="*/ 204600 w 215432"/>
                <a:gd name="connsiteY0" fmla="*/ 385203 h 408971"/>
                <a:gd name="connsiteX1" fmla="*/ 75817 w 215432"/>
                <a:gd name="connsiteY1" fmla="*/ 385203 h 408971"/>
                <a:gd name="connsiteX2" fmla="*/ 23057 w 215432"/>
                <a:gd name="connsiteY2" fmla="*/ 8018 h 408971"/>
                <a:gd name="connsiteX3" fmla="*/ 8309 w 215432"/>
                <a:gd name="connsiteY3" fmla="*/ 545 h 408971"/>
                <a:gd name="connsiteX4" fmla="*/ 520 w 215432"/>
                <a:gd name="connsiteY4" fmla="*/ 15387 h 408971"/>
                <a:gd name="connsiteX5" fmla="*/ 53591 w 215432"/>
                <a:gd name="connsiteY5" fmla="*/ 398592 h 408971"/>
                <a:gd name="connsiteX6" fmla="*/ 65327 w 215432"/>
                <a:gd name="connsiteY6" fmla="*/ 408972 h 408971"/>
                <a:gd name="connsiteX7" fmla="*/ 204600 w 215432"/>
                <a:gd name="connsiteY7" fmla="*/ 408972 h 408971"/>
                <a:gd name="connsiteX8" fmla="*/ 215380 w 215432"/>
                <a:gd name="connsiteY8" fmla="*/ 395976 h 408971"/>
                <a:gd name="connsiteX9" fmla="*/ 204600 w 215432"/>
                <a:gd name="connsiteY9" fmla="*/ 385203 h 408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5432" h="408971">
                  <a:moveTo>
                    <a:pt x="204600" y="385203"/>
                  </a:moveTo>
                  <a:lnTo>
                    <a:pt x="75817" y="385203"/>
                  </a:lnTo>
                  <a:cubicBezTo>
                    <a:pt x="65431" y="305178"/>
                    <a:pt x="28250" y="23587"/>
                    <a:pt x="23057" y="8018"/>
                  </a:cubicBezTo>
                  <a:cubicBezTo>
                    <a:pt x="20980" y="1936"/>
                    <a:pt x="14437" y="-1375"/>
                    <a:pt x="8309" y="545"/>
                  </a:cubicBezTo>
                  <a:cubicBezTo>
                    <a:pt x="2088" y="2527"/>
                    <a:pt x="-1380" y="9139"/>
                    <a:pt x="520" y="15387"/>
                  </a:cubicBezTo>
                  <a:cubicBezTo>
                    <a:pt x="4571" y="29503"/>
                    <a:pt x="34482" y="252348"/>
                    <a:pt x="53591" y="398592"/>
                  </a:cubicBezTo>
                  <a:cubicBezTo>
                    <a:pt x="54329" y="404519"/>
                    <a:pt x="59355" y="408961"/>
                    <a:pt x="65327" y="408972"/>
                  </a:cubicBezTo>
                  <a:lnTo>
                    <a:pt x="204600" y="408972"/>
                  </a:lnTo>
                  <a:cubicBezTo>
                    <a:pt x="211164" y="408359"/>
                    <a:pt x="215993" y="402536"/>
                    <a:pt x="215380" y="395976"/>
                  </a:cubicBezTo>
                  <a:cubicBezTo>
                    <a:pt x="214840" y="390258"/>
                    <a:pt x="210322" y="385732"/>
                    <a:pt x="204600" y="385203"/>
                  </a:cubicBezTo>
                  <a:close/>
                </a:path>
              </a:pathLst>
            </a:custGeom>
            <a:solidFill>
              <a:srgbClr val="231F2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C73B4918-ED19-0044-8BF1-8BCF8A495668}"/>
                </a:ext>
              </a:extLst>
            </p:cNvPr>
            <p:cNvSpPr/>
            <p:nvPr/>
          </p:nvSpPr>
          <p:spPr>
            <a:xfrm>
              <a:off x="4790367" y="6272269"/>
              <a:ext cx="142290" cy="138733"/>
            </a:xfrm>
            <a:custGeom>
              <a:avLst/>
              <a:gdLst>
                <a:gd name="connsiteX0" fmla="*/ 11327 w 142290"/>
                <a:gd name="connsiteY0" fmla="*/ 138734 h 138733"/>
                <a:gd name="connsiteX1" fmla="*/ 16 w 142290"/>
                <a:gd name="connsiteY1" fmla="*/ 126195 h 138733"/>
                <a:gd name="connsiteX2" fmla="*/ 10496 w 142290"/>
                <a:gd name="connsiteY2" fmla="*/ 114965 h 138733"/>
                <a:gd name="connsiteX3" fmla="*/ 23686 w 142290"/>
                <a:gd name="connsiteY3" fmla="*/ 114135 h 138733"/>
                <a:gd name="connsiteX4" fmla="*/ 118300 w 142290"/>
                <a:gd name="connsiteY4" fmla="*/ 71372 h 138733"/>
                <a:gd name="connsiteX5" fmla="*/ 35214 w 142290"/>
                <a:gd name="connsiteY5" fmla="*/ 25703 h 138733"/>
                <a:gd name="connsiteX6" fmla="*/ 12781 w 142290"/>
                <a:gd name="connsiteY6" fmla="*/ 23523 h 138733"/>
                <a:gd name="connsiteX7" fmla="*/ 2395 w 142290"/>
                <a:gd name="connsiteY7" fmla="*/ 10445 h 138733"/>
                <a:gd name="connsiteX8" fmla="*/ 15585 w 142290"/>
                <a:gd name="connsiteY8" fmla="*/ 66 h 138733"/>
                <a:gd name="connsiteX9" fmla="*/ 37291 w 142290"/>
                <a:gd name="connsiteY9" fmla="*/ 2142 h 138733"/>
                <a:gd name="connsiteX10" fmla="*/ 142291 w 142290"/>
                <a:gd name="connsiteY10" fmla="*/ 71475 h 138733"/>
                <a:gd name="connsiteX11" fmla="*/ 25451 w 142290"/>
                <a:gd name="connsiteY11" fmla="*/ 137903 h 138733"/>
                <a:gd name="connsiteX12" fmla="*/ 12365 w 142290"/>
                <a:gd name="connsiteY12" fmla="*/ 138734 h 138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2290" h="138733">
                  <a:moveTo>
                    <a:pt x="11327" y="138734"/>
                  </a:moveTo>
                  <a:cubicBezTo>
                    <a:pt x="4742" y="138391"/>
                    <a:pt x="-326" y="132786"/>
                    <a:pt x="16" y="126195"/>
                  </a:cubicBezTo>
                  <a:cubicBezTo>
                    <a:pt x="318" y="120404"/>
                    <a:pt x="4732" y="115671"/>
                    <a:pt x="10496" y="114965"/>
                  </a:cubicBezTo>
                  <a:lnTo>
                    <a:pt x="23686" y="114135"/>
                  </a:lnTo>
                  <a:cubicBezTo>
                    <a:pt x="80807" y="110398"/>
                    <a:pt x="118300" y="105312"/>
                    <a:pt x="118300" y="71372"/>
                  </a:cubicBezTo>
                  <a:cubicBezTo>
                    <a:pt x="118300" y="37431"/>
                    <a:pt x="91712" y="30477"/>
                    <a:pt x="35214" y="25703"/>
                  </a:cubicBezTo>
                  <a:cubicBezTo>
                    <a:pt x="27601" y="25080"/>
                    <a:pt x="20123" y="24353"/>
                    <a:pt x="12781" y="23523"/>
                  </a:cubicBezTo>
                  <a:cubicBezTo>
                    <a:pt x="6310" y="22765"/>
                    <a:pt x="1668" y="16922"/>
                    <a:pt x="2395" y="10445"/>
                  </a:cubicBezTo>
                  <a:cubicBezTo>
                    <a:pt x="3257" y="3989"/>
                    <a:pt x="9104" y="-609"/>
                    <a:pt x="15585" y="66"/>
                  </a:cubicBezTo>
                  <a:cubicBezTo>
                    <a:pt x="22647" y="896"/>
                    <a:pt x="30021" y="1519"/>
                    <a:pt x="37291" y="2142"/>
                  </a:cubicBezTo>
                  <a:cubicBezTo>
                    <a:pt x="84131" y="6086"/>
                    <a:pt x="142291" y="11068"/>
                    <a:pt x="142291" y="71475"/>
                  </a:cubicBezTo>
                  <a:cubicBezTo>
                    <a:pt x="142291" y="130223"/>
                    <a:pt x="77484" y="134478"/>
                    <a:pt x="25451" y="137903"/>
                  </a:cubicBezTo>
                  <a:lnTo>
                    <a:pt x="12365" y="138734"/>
                  </a:lnTo>
                  <a:close/>
                </a:path>
              </a:pathLst>
            </a:custGeom>
            <a:solidFill>
              <a:srgbClr val="231F2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 42">
              <a:extLst>
                <a:ext uri="{FF2B5EF4-FFF2-40B4-BE49-F238E27FC236}">
                  <a16:creationId xmlns:a16="http://schemas.microsoft.com/office/drawing/2014/main" id="{4C0A127B-6FD2-6648-8995-45086AA96556}"/>
                </a:ext>
              </a:extLst>
            </p:cNvPr>
            <p:cNvSpPr/>
            <p:nvPr/>
          </p:nvSpPr>
          <p:spPr>
            <a:xfrm>
              <a:off x="4096709" y="6123162"/>
              <a:ext cx="715058" cy="440831"/>
            </a:xfrm>
            <a:custGeom>
              <a:avLst/>
              <a:gdLst>
                <a:gd name="connsiteX0" fmla="*/ 700519 w 715058"/>
                <a:gd name="connsiteY0" fmla="*/ 440831 h 440831"/>
                <a:gd name="connsiteX1" fmla="*/ 14540 w 715058"/>
                <a:gd name="connsiteY1" fmla="*/ 440831 h 440831"/>
                <a:gd name="connsiteX2" fmla="*/ 0 w 715058"/>
                <a:gd name="connsiteY2" fmla="*/ 426300 h 440831"/>
                <a:gd name="connsiteX3" fmla="*/ 0 w 715058"/>
                <a:gd name="connsiteY3" fmla="*/ 13307 h 440831"/>
                <a:gd name="connsiteX4" fmla="*/ 15716 w 715058"/>
                <a:gd name="connsiteY4" fmla="*/ 52 h 440831"/>
                <a:gd name="connsiteX5" fmla="*/ 28976 w 715058"/>
                <a:gd name="connsiteY5" fmla="*/ 13307 h 440831"/>
                <a:gd name="connsiteX6" fmla="*/ 28976 w 715058"/>
                <a:gd name="connsiteY6" fmla="*/ 411873 h 440831"/>
                <a:gd name="connsiteX7" fmla="*/ 686083 w 715058"/>
                <a:gd name="connsiteY7" fmla="*/ 411873 h 440831"/>
                <a:gd name="connsiteX8" fmla="*/ 686083 w 715058"/>
                <a:gd name="connsiteY8" fmla="*/ 13307 h 440831"/>
                <a:gd name="connsiteX9" fmla="*/ 701796 w 715058"/>
                <a:gd name="connsiteY9" fmla="*/ 52 h 440831"/>
                <a:gd name="connsiteX10" fmla="*/ 715059 w 715058"/>
                <a:gd name="connsiteY10" fmla="*/ 13307 h 440831"/>
                <a:gd name="connsiteX11" fmla="*/ 715059 w 715058"/>
                <a:gd name="connsiteY11" fmla="*/ 426612 h 440831"/>
                <a:gd name="connsiteX12" fmla="*/ 700519 w 715058"/>
                <a:gd name="connsiteY12" fmla="*/ 440831 h 440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15058" h="440831">
                  <a:moveTo>
                    <a:pt x="700519" y="440831"/>
                  </a:moveTo>
                  <a:lnTo>
                    <a:pt x="14540" y="440831"/>
                  </a:lnTo>
                  <a:cubicBezTo>
                    <a:pt x="6510" y="440831"/>
                    <a:pt x="0" y="434323"/>
                    <a:pt x="0" y="426300"/>
                  </a:cubicBezTo>
                  <a:lnTo>
                    <a:pt x="0" y="13307"/>
                  </a:lnTo>
                  <a:cubicBezTo>
                    <a:pt x="678" y="5315"/>
                    <a:pt x="7715" y="-622"/>
                    <a:pt x="15716" y="52"/>
                  </a:cubicBezTo>
                  <a:cubicBezTo>
                    <a:pt x="22777" y="654"/>
                    <a:pt x="28378" y="6249"/>
                    <a:pt x="28976" y="13307"/>
                  </a:cubicBezTo>
                  <a:lnTo>
                    <a:pt x="28976" y="411873"/>
                  </a:lnTo>
                  <a:lnTo>
                    <a:pt x="686083" y="411873"/>
                  </a:lnTo>
                  <a:lnTo>
                    <a:pt x="686083" y="13307"/>
                  </a:lnTo>
                  <a:cubicBezTo>
                    <a:pt x="686758" y="5315"/>
                    <a:pt x="693799" y="-622"/>
                    <a:pt x="701796" y="52"/>
                  </a:cubicBezTo>
                  <a:cubicBezTo>
                    <a:pt x="708859" y="654"/>
                    <a:pt x="714457" y="6249"/>
                    <a:pt x="715059" y="13307"/>
                  </a:cubicBezTo>
                  <a:lnTo>
                    <a:pt x="715059" y="426612"/>
                  </a:lnTo>
                  <a:cubicBezTo>
                    <a:pt x="714893" y="434510"/>
                    <a:pt x="708433" y="440831"/>
                    <a:pt x="700519" y="440831"/>
                  </a:cubicBezTo>
                  <a:close/>
                </a:path>
              </a:pathLst>
            </a:custGeom>
            <a:solidFill>
              <a:srgbClr val="231F2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 43">
              <a:extLst>
                <a:ext uri="{FF2B5EF4-FFF2-40B4-BE49-F238E27FC236}">
                  <a16:creationId xmlns:a16="http://schemas.microsoft.com/office/drawing/2014/main" id="{941F5161-77E7-B241-87DF-AFDB0367F4D4}"/>
                </a:ext>
              </a:extLst>
            </p:cNvPr>
            <p:cNvSpPr/>
            <p:nvPr/>
          </p:nvSpPr>
          <p:spPr>
            <a:xfrm>
              <a:off x="4097228" y="6060251"/>
              <a:ext cx="714124" cy="190390"/>
            </a:xfrm>
            <a:custGeom>
              <a:avLst/>
              <a:gdLst>
                <a:gd name="connsiteX0" fmla="*/ 357166 w 714124"/>
                <a:gd name="connsiteY0" fmla="*/ 190391 h 190390"/>
                <a:gd name="connsiteX1" fmla="*/ 0 w 714124"/>
                <a:gd name="connsiteY1" fmla="*/ 76218 h 190390"/>
                <a:gd name="connsiteX2" fmla="*/ 210727 w 714124"/>
                <a:gd name="connsiteY2" fmla="*/ 345 h 190390"/>
                <a:gd name="connsiteX3" fmla="*/ 226202 w 714124"/>
                <a:gd name="connsiteY3" fmla="*/ 13527 h 190390"/>
                <a:gd name="connsiteX4" fmla="*/ 213012 w 714124"/>
                <a:gd name="connsiteY4" fmla="*/ 28992 h 190390"/>
                <a:gd name="connsiteX5" fmla="*/ 28768 w 714124"/>
                <a:gd name="connsiteY5" fmla="*/ 76218 h 190390"/>
                <a:gd name="connsiteX6" fmla="*/ 357166 w 714124"/>
                <a:gd name="connsiteY6" fmla="*/ 161848 h 190390"/>
                <a:gd name="connsiteX7" fmla="*/ 685667 w 714124"/>
                <a:gd name="connsiteY7" fmla="*/ 76218 h 190390"/>
                <a:gd name="connsiteX8" fmla="*/ 523650 w 714124"/>
                <a:gd name="connsiteY8" fmla="*/ 28992 h 190390"/>
                <a:gd name="connsiteX9" fmla="*/ 510860 w 714124"/>
                <a:gd name="connsiteY9" fmla="*/ 13465 h 190390"/>
                <a:gd name="connsiteX10" fmla="*/ 510875 w 714124"/>
                <a:gd name="connsiteY10" fmla="*/ 13320 h 190390"/>
                <a:gd name="connsiteX11" fmla="*/ 526246 w 714124"/>
                <a:gd name="connsiteY11" fmla="*/ 34 h 190390"/>
                <a:gd name="connsiteX12" fmla="*/ 714124 w 714124"/>
                <a:gd name="connsiteY12" fmla="*/ 75907 h 190390"/>
                <a:gd name="connsiteX13" fmla="*/ 357166 w 714124"/>
                <a:gd name="connsiteY13" fmla="*/ 190391 h 190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14124" h="190390">
                  <a:moveTo>
                    <a:pt x="357166" y="190391"/>
                  </a:moveTo>
                  <a:cubicBezTo>
                    <a:pt x="183620" y="190391"/>
                    <a:pt x="0" y="131644"/>
                    <a:pt x="0" y="76218"/>
                  </a:cubicBezTo>
                  <a:cubicBezTo>
                    <a:pt x="0" y="24322"/>
                    <a:pt x="132003" y="6677"/>
                    <a:pt x="210727" y="345"/>
                  </a:cubicBezTo>
                  <a:cubicBezTo>
                    <a:pt x="218643" y="-288"/>
                    <a:pt x="225570" y="5618"/>
                    <a:pt x="226202" y="13527"/>
                  </a:cubicBezTo>
                  <a:cubicBezTo>
                    <a:pt x="226833" y="21436"/>
                    <a:pt x="220928" y="28359"/>
                    <a:pt x="213012" y="28992"/>
                  </a:cubicBezTo>
                  <a:cubicBezTo>
                    <a:pt x="74154" y="39683"/>
                    <a:pt x="28768" y="67604"/>
                    <a:pt x="28768" y="76218"/>
                  </a:cubicBezTo>
                  <a:cubicBezTo>
                    <a:pt x="32300" y="98119"/>
                    <a:pt x="166172" y="161848"/>
                    <a:pt x="357166" y="161848"/>
                  </a:cubicBezTo>
                  <a:cubicBezTo>
                    <a:pt x="548160" y="161848"/>
                    <a:pt x="682032" y="97807"/>
                    <a:pt x="685667" y="76218"/>
                  </a:cubicBezTo>
                  <a:cubicBezTo>
                    <a:pt x="684317" y="68330"/>
                    <a:pt x="641736" y="41032"/>
                    <a:pt x="523650" y="28992"/>
                  </a:cubicBezTo>
                  <a:cubicBezTo>
                    <a:pt x="515828" y="28235"/>
                    <a:pt x="510102" y="21281"/>
                    <a:pt x="510860" y="13465"/>
                  </a:cubicBezTo>
                  <a:cubicBezTo>
                    <a:pt x="510865" y="13413"/>
                    <a:pt x="510870" y="13372"/>
                    <a:pt x="510875" y="13320"/>
                  </a:cubicBezTo>
                  <a:cubicBezTo>
                    <a:pt x="511484" y="5431"/>
                    <a:pt x="518342" y="-506"/>
                    <a:pt x="526246" y="34"/>
                  </a:cubicBezTo>
                  <a:cubicBezTo>
                    <a:pt x="570385" y="4497"/>
                    <a:pt x="714124" y="23284"/>
                    <a:pt x="714124" y="75907"/>
                  </a:cubicBezTo>
                  <a:cubicBezTo>
                    <a:pt x="714436" y="131436"/>
                    <a:pt x="530816" y="190391"/>
                    <a:pt x="357166" y="190391"/>
                  </a:cubicBezTo>
                  <a:close/>
                </a:path>
              </a:pathLst>
            </a:custGeom>
            <a:solidFill>
              <a:srgbClr val="231F2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 44">
              <a:extLst>
                <a:ext uri="{FF2B5EF4-FFF2-40B4-BE49-F238E27FC236}">
                  <a16:creationId xmlns:a16="http://schemas.microsoft.com/office/drawing/2014/main" id="{F0CAAA6B-5135-2846-917A-571800B009D6}"/>
                </a:ext>
              </a:extLst>
            </p:cNvPr>
            <p:cNvSpPr/>
            <p:nvPr/>
          </p:nvSpPr>
          <p:spPr>
            <a:xfrm>
              <a:off x="4792579" y="6209907"/>
              <a:ext cx="215255" cy="268249"/>
            </a:xfrm>
            <a:custGeom>
              <a:avLst/>
              <a:gdLst>
                <a:gd name="connsiteX0" fmla="*/ 27394 w 215255"/>
                <a:gd name="connsiteY0" fmla="*/ 268249 h 268249"/>
                <a:gd name="connsiteX1" fmla="*/ 13581 w 215255"/>
                <a:gd name="connsiteY1" fmla="*/ 268249 h 268249"/>
                <a:gd name="connsiteX2" fmla="*/ 28 w 215255"/>
                <a:gd name="connsiteY2" fmla="*/ 252940 h 268249"/>
                <a:gd name="connsiteX3" fmla="*/ 15346 w 215255"/>
                <a:gd name="connsiteY3" fmla="*/ 239395 h 268249"/>
                <a:gd name="connsiteX4" fmla="*/ 161370 w 215255"/>
                <a:gd name="connsiteY4" fmla="*/ 200577 h 268249"/>
                <a:gd name="connsiteX5" fmla="*/ 186192 w 215255"/>
                <a:gd name="connsiteY5" fmla="*/ 140169 h 268249"/>
                <a:gd name="connsiteX6" fmla="*/ 156489 w 215255"/>
                <a:gd name="connsiteY6" fmla="*/ 66268 h 268249"/>
                <a:gd name="connsiteX7" fmla="*/ 17631 w 215255"/>
                <a:gd name="connsiteY7" fmla="*/ 29214 h 268249"/>
                <a:gd name="connsiteX8" fmla="*/ 2292 w 215255"/>
                <a:gd name="connsiteY8" fmla="*/ 15741 h 268249"/>
                <a:gd name="connsiteX9" fmla="*/ 15243 w 215255"/>
                <a:gd name="connsiteY9" fmla="*/ 463 h 268249"/>
                <a:gd name="connsiteX10" fmla="*/ 176118 w 215255"/>
                <a:gd name="connsiteY10" fmla="*/ 44886 h 268249"/>
                <a:gd name="connsiteX11" fmla="*/ 215168 w 215255"/>
                <a:gd name="connsiteY11" fmla="*/ 140169 h 268249"/>
                <a:gd name="connsiteX12" fmla="*/ 181207 w 215255"/>
                <a:gd name="connsiteY12" fmla="*/ 221750 h 268249"/>
                <a:gd name="connsiteX13" fmla="*/ 27394 w 215255"/>
                <a:gd name="connsiteY13" fmla="*/ 268249 h 268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5255" h="268249">
                  <a:moveTo>
                    <a:pt x="27394" y="268249"/>
                  </a:moveTo>
                  <a:cubicBezTo>
                    <a:pt x="19501" y="268249"/>
                    <a:pt x="14516" y="268249"/>
                    <a:pt x="13581" y="268249"/>
                  </a:cubicBezTo>
                  <a:cubicBezTo>
                    <a:pt x="5605" y="267762"/>
                    <a:pt x="-461" y="260912"/>
                    <a:pt x="28" y="252940"/>
                  </a:cubicBezTo>
                  <a:cubicBezTo>
                    <a:pt x="516" y="244969"/>
                    <a:pt x="7370" y="238907"/>
                    <a:pt x="15346" y="239395"/>
                  </a:cubicBezTo>
                  <a:cubicBezTo>
                    <a:pt x="16385" y="239395"/>
                    <a:pt x="114219" y="244896"/>
                    <a:pt x="161370" y="200577"/>
                  </a:cubicBezTo>
                  <a:cubicBezTo>
                    <a:pt x="178060" y="185018"/>
                    <a:pt x="187116" y="162962"/>
                    <a:pt x="186192" y="140169"/>
                  </a:cubicBezTo>
                  <a:cubicBezTo>
                    <a:pt x="187677" y="112362"/>
                    <a:pt x="176803" y="85324"/>
                    <a:pt x="156489" y="66268"/>
                  </a:cubicBezTo>
                  <a:cubicBezTo>
                    <a:pt x="108403" y="22052"/>
                    <a:pt x="18566" y="29214"/>
                    <a:pt x="17631" y="29214"/>
                  </a:cubicBezTo>
                  <a:cubicBezTo>
                    <a:pt x="9676" y="29722"/>
                    <a:pt x="2811" y="23702"/>
                    <a:pt x="2292" y="15741"/>
                  </a:cubicBezTo>
                  <a:cubicBezTo>
                    <a:pt x="1793" y="7998"/>
                    <a:pt x="7516" y="1252"/>
                    <a:pt x="15243" y="463"/>
                  </a:cubicBezTo>
                  <a:cubicBezTo>
                    <a:pt x="19397" y="463"/>
                    <a:pt x="119100" y="-7737"/>
                    <a:pt x="176118" y="44886"/>
                  </a:cubicBezTo>
                  <a:cubicBezTo>
                    <a:pt x="202280" y="69527"/>
                    <a:pt x="216508" y="104266"/>
                    <a:pt x="215168" y="140169"/>
                  </a:cubicBezTo>
                  <a:cubicBezTo>
                    <a:pt x="216072" y="170974"/>
                    <a:pt x="203702" y="200680"/>
                    <a:pt x="181207" y="221750"/>
                  </a:cubicBezTo>
                  <a:cubicBezTo>
                    <a:pt x="136133" y="263579"/>
                    <a:pt x="59382" y="268249"/>
                    <a:pt x="27394" y="268249"/>
                  </a:cubicBezTo>
                  <a:close/>
                </a:path>
              </a:pathLst>
            </a:custGeom>
            <a:solidFill>
              <a:srgbClr val="231F2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 45">
              <a:extLst>
                <a:ext uri="{FF2B5EF4-FFF2-40B4-BE49-F238E27FC236}">
                  <a16:creationId xmlns:a16="http://schemas.microsoft.com/office/drawing/2014/main" id="{28FBCBCE-B6E0-9147-AA09-591616F5AEEF}"/>
                </a:ext>
              </a:extLst>
            </p:cNvPr>
            <p:cNvSpPr/>
            <p:nvPr/>
          </p:nvSpPr>
          <p:spPr>
            <a:xfrm>
              <a:off x="4330443" y="5877554"/>
              <a:ext cx="271520" cy="297319"/>
            </a:xfrm>
            <a:custGeom>
              <a:avLst/>
              <a:gdLst>
                <a:gd name="connsiteX0" fmla="*/ 121770 w 271520"/>
                <a:gd name="connsiteY0" fmla="*/ 297319 h 297319"/>
                <a:gd name="connsiteX1" fmla="*/ 113254 w 271520"/>
                <a:gd name="connsiteY1" fmla="*/ 294620 h 297319"/>
                <a:gd name="connsiteX2" fmla="*/ 96844 w 271520"/>
                <a:gd name="connsiteY2" fmla="*/ 266077 h 297319"/>
                <a:gd name="connsiteX3" fmla="*/ 113981 w 271520"/>
                <a:gd name="connsiteY3" fmla="*/ 238156 h 297319"/>
                <a:gd name="connsiteX4" fmla="*/ 121770 w 271520"/>
                <a:gd name="connsiteY4" fmla="*/ 235977 h 297319"/>
                <a:gd name="connsiteX5" fmla="*/ 209945 w 271520"/>
                <a:gd name="connsiteY5" fmla="*/ 235977 h 297319"/>
                <a:gd name="connsiteX6" fmla="*/ 229678 w 271520"/>
                <a:gd name="connsiteY6" fmla="*/ 230994 h 297319"/>
                <a:gd name="connsiteX7" fmla="*/ 231963 w 271520"/>
                <a:gd name="connsiteY7" fmla="*/ 224663 h 297319"/>
                <a:gd name="connsiteX8" fmla="*/ 208906 w 271520"/>
                <a:gd name="connsiteY8" fmla="*/ 207018 h 297319"/>
                <a:gd name="connsiteX9" fmla="*/ 48758 w 271520"/>
                <a:gd name="connsiteY9" fmla="*/ 207018 h 297319"/>
                <a:gd name="connsiteX10" fmla="*/ 49 w 271520"/>
                <a:gd name="connsiteY10" fmla="*/ 143185 h 297319"/>
                <a:gd name="connsiteX11" fmla="*/ 16666 w 271520"/>
                <a:gd name="connsiteY11" fmla="*/ 103848 h 297319"/>
                <a:gd name="connsiteX12" fmla="*/ 73269 w 271520"/>
                <a:gd name="connsiteY12" fmla="*/ 90147 h 297319"/>
                <a:gd name="connsiteX13" fmla="*/ 217734 w 271520"/>
                <a:gd name="connsiteY13" fmla="*/ 90147 h 297319"/>
                <a:gd name="connsiteX14" fmla="*/ 235598 w 271520"/>
                <a:gd name="connsiteY14" fmla="*/ 84646 h 297319"/>
                <a:gd name="connsiteX15" fmla="*/ 242452 w 271520"/>
                <a:gd name="connsiteY15" fmla="*/ 63887 h 297319"/>
                <a:gd name="connsiteX16" fmla="*/ 211295 w 271520"/>
                <a:gd name="connsiteY16" fmla="*/ 29013 h 297319"/>
                <a:gd name="connsiteX17" fmla="*/ 78877 w 271520"/>
                <a:gd name="connsiteY17" fmla="*/ 29013 h 297319"/>
                <a:gd name="connsiteX18" fmla="*/ 63161 w 271520"/>
                <a:gd name="connsiteY18" fmla="*/ 15758 h 297319"/>
                <a:gd name="connsiteX19" fmla="*/ 76422 w 271520"/>
                <a:gd name="connsiteY19" fmla="*/ 54 h 297319"/>
                <a:gd name="connsiteX20" fmla="*/ 78877 w 271520"/>
                <a:gd name="connsiteY20" fmla="*/ 54 h 297319"/>
                <a:gd name="connsiteX21" fmla="*/ 213268 w 271520"/>
                <a:gd name="connsiteY21" fmla="*/ 54 h 297319"/>
                <a:gd name="connsiteX22" fmla="*/ 271429 w 271520"/>
                <a:gd name="connsiteY22" fmla="*/ 63784 h 297319"/>
                <a:gd name="connsiteX23" fmla="*/ 254915 w 271520"/>
                <a:gd name="connsiteY23" fmla="*/ 106235 h 297319"/>
                <a:gd name="connsiteX24" fmla="*/ 215553 w 271520"/>
                <a:gd name="connsiteY24" fmla="*/ 119001 h 297319"/>
                <a:gd name="connsiteX25" fmla="*/ 72334 w 271520"/>
                <a:gd name="connsiteY25" fmla="*/ 119001 h 297319"/>
                <a:gd name="connsiteX26" fmla="*/ 70257 w 271520"/>
                <a:gd name="connsiteY26" fmla="*/ 119001 h 297319"/>
                <a:gd name="connsiteX27" fmla="*/ 35464 w 271520"/>
                <a:gd name="connsiteY27" fmla="*/ 125852 h 297319"/>
                <a:gd name="connsiteX28" fmla="*/ 28921 w 271520"/>
                <a:gd name="connsiteY28" fmla="*/ 143289 h 297319"/>
                <a:gd name="connsiteX29" fmla="*/ 49693 w 271520"/>
                <a:gd name="connsiteY29" fmla="*/ 178164 h 297319"/>
                <a:gd name="connsiteX30" fmla="*/ 211399 w 271520"/>
                <a:gd name="connsiteY30" fmla="*/ 178164 h 297319"/>
                <a:gd name="connsiteX31" fmla="*/ 260731 w 271520"/>
                <a:gd name="connsiteY31" fmla="*/ 224663 h 297319"/>
                <a:gd name="connsiteX32" fmla="*/ 249307 w 271520"/>
                <a:gd name="connsiteY32" fmla="*/ 252064 h 297319"/>
                <a:gd name="connsiteX33" fmla="*/ 208906 w 271520"/>
                <a:gd name="connsiteY33" fmla="*/ 264831 h 297319"/>
                <a:gd name="connsiteX34" fmla="*/ 126859 w 271520"/>
                <a:gd name="connsiteY34" fmla="*/ 264831 h 297319"/>
                <a:gd name="connsiteX35" fmla="*/ 125509 w 271520"/>
                <a:gd name="connsiteY35" fmla="*/ 266699 h 297319"/>
                <a:gd name="connsiteX36" fmla="*/ 125509 w 271520"/>
                <a:gd name="connsiteY36" fmla="*/ 266699 h 297319"/>
                <a:gd name="connsiteX37" fmla="*/ 130079 w 271520"/>
                <a:gd name="connsiteY37" fmla="*/ 270851 h 297319"/>
                <a:gd name="connsiteX38" fmla="*/ 133409 w 271520"/>
                <a:gd name="connsiteY38" fmla="*/ 290977 h 297319"/>
                <a:gd name="connsiteX39" fmla="*/ 121562 w 271520"/>
                <a:gd name="connsiteY39" fmla="*/ 297007 h 297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271520" h="297319">
                  <a:moveTo>
                    <a:pt x="121770" y="297319"/>
                  </a:moveTo>
                  <a:cubicBezTo>
                    <a:pt x="118717" y="297350"/>
                    <a:pt x="115732" y="296405"/>
                    <a:pt x="113254" y="294620"/>
                  </a:cubicBezTo>
                  <a:cubicBezTo>
                    <a:pt x="103149" y="288641"/>
                    <a:pt x="96921" y="277805"/>
                    <a:pt x="96844" y="266077"/>
                  </a:cubicBezTo>
                  <a:cubicBezTo>
                    <a:pt x="97984" y="254639"/>
                    <a:pt x="104296" y="244353"/>
                    <a:pt x="113981" y="238156"/>
                  </a:cubicBezTo>
                  <a:cubicBezTo>
                    <a:pt x="116316" y="236703"/>
                    <a:pt x="119019" y="235945"/>
                    <a:pt x="121770" y="235977"/>
                  </a:cubicBezTo>
                  <a:lnTo>
                    <a:pt x="209945" y="235977"/>
                  </a:lnTo>
                  <a:cubicBezTo>
                    <a:pt x="216895" y="236568"/>
                    <a:pt x="223844" y="234814"/>
                    <a:pt x="229678" y="230994"/>
                  </a:cubicBezTo>
                  <a:cubicBezTo>
                    <a:pt x="231387" y="229355"/>
                    <a:pt x="232233" y="227019"/>
                    <a:pt x="231963" y="224663"/>
                  </a:cubicBezTo>
                  <a:cubicBezTo>
                    <a:pt x="231963" y="211481"/>
                    <a:pt x="212749" y="207641"/>
                    <a:pt x="208906" y="207018"/>
                  </a:cubicBezTo>
                  <a:lnTo>
                    <a:pt x="48758" y="207018"/>
                  </a:lnTo>
                  <a:cubicBezTo>
                    <a:pt x="31310" y="205877"/>
                    <a:pt x="49" y="191242"/>
                    <a:pt x="49" y="143185"/>
                  </a:cubicBezTo>
                  <a:cubicBezTo>
                    <a:pt x="-615" y="128239"/>
                    <a:pt x="5488" y="113791"/>
                    <a:pt x="16666" y="103848"/>
                  </a:cubicBezTo>
                  <a:cubicBezTo>
                    <a:pt x="36399" y="86722"/>
                    <a:pt x="66310" y="89213"/>
                    <a:pt x="73269" y="90147"/>
                  </a:cubicBezTo>
                  <a:lnTo>
                    <a:pt x="217734" y="90147"/>
                  </a:lnTo>
                  <a:cubicBezTo>
                    <a:pt x="224160" y="90542"/>
                    <a:pt x="230510" y="88590"/>
                    <a:pt x="235598" y="84646"/>
                  </a:cubicBezTo>
                  <a:cubicBezTo>
                    <a:pt x="240710" y="78999"/>
                    <a:pt x="243200" y="71464"/>
                    <a:pt x="242452" y="63887"/>
                  </a:cubicBezTo>
                  <a:cubicBezTo>
                    <a:pt x="243011" y="45827"/>
                    <a:pt x="229314" y="30497"/>
                    <a:pt x="211295" y="29013"/>
                  </a:cubicBezTo>
                  <a:lnTo>
                    <a:pt x="78877" y="29013"/>
                  </a:lnTo>
                  <a:cubicBezTo>
                    <a:pt x="70876" y="29687"/>
                    <a:pt x="63839" y="23761"/>
                    <a:pt x="63161" y="15758"/>
                  </a:cubicBezTo>
                  <a:cubicBezTo>
                    <a:pt x="62483" y="7766"/>
                    <a:pt x="68419" y="729"/>
                    <a:pt x="76422" y="54"/>
                  </a:cubicBezTo>
                  <a:cubicBezTo>
                    <a:pt x="77238" y="-18"/>
                    <a:pt x="78060" y="-18"/>
                    <a:pt x="78877" y="54"/>
                  </a:cubicBezTo>
                  <a:lnTo>
                    <a:pt x="213268" y="54"/>
                  </a:lnTo>
                  <a:cubicBezTo>
                    <a:pt x="246620" y="2265"/>
                    <a:pt x="272282" y="30393"/>
                    <a:pt x="271429" y="63784"/>
                  </a:cubicBezTo>
                  <a:cubicBezTo>
                    <a:pt x="272348" y="79654"/>
                    <a:pt x="266322" y="95150"/>
                    <a:pt x="254915" y="106235"/>
                  </a:cubicBezTo>
                  <a:cubicBezTo>
                    <a:pt x="243929" y="115400"/>
                    <a:pt x="229830" y="119967"/>
                    <a:pt x="215553" y="119001"/>
                  </a:cubicBezTo>
                  <a:lnTo>
                    <a:pt x="72334" y="119001"/>
                  </a:lnTo>
                  <a:lnTo>
                    <a:pt x="70257" y="119001"/>
                  </a:lnTo>
                  <a:cubicBezTo>
                    <a:pt x="58212" y="117009"/>
                    <a:pt x="45854" y="119448"/>
                    <a:pt x="35464" y="125852"/>
                  </a:cubicBezTo>
                  <a:cubicBezTo>
                    <a:pt x="30796" y="130398"/>
                    <a:pt x="28398" y="136792"/>
                    <a:pt x="28921" y="143289"/>
                  </a:cubicBezTo>
                  <a:cubicBezTo>
                    <a:pt x="28921" y="173389"/>
                    <a:pt x="45331" y="177541"/>
                    <a:pt x="49693" y="178164"/>
                  </a:cubicBezTo>
                  <a:lnTo>
                    <a:pt x="211399" y="178164"/>
                  </a:lnTo>
                  <a:cubicBezTo>
                    <a:pt x="228432" y="180136"/>
                    <a:pt x="260731" y="192487"/>
                    <a:pt x="260731" y="224663"/>
                  </a:cubicBezTo>
                  <a:cubicBezTo>
                    <a:pt x="261001" y="235011"/>
                    <a:pt x="256846" y="244976"/>
                    <a:pt x="249307" y="252064"/>
                  </a:cubicBezTo>
                  <a:cubicBezTo>
                    <a:pt x="237921" y="261240"/>
                    <a:pt x="223499" y="265796"/>
                    <a:pt x="208906" y="264831"/>
                  </a:cubicBezTo>
                  <a:lnTo>
                    <a:pt x="126859" y="264831"/>
                  </a:lnTo>
                  <a:cubicBezTo>
                    <a:pt x="126346" y="265402"/>
                    <a:pt x="125893" y="266035"/>
                    <a:pt x="125509" y="266699"/>
                  </a:cubicBezTo>
                  <a:lnTo>
                    <a:pt x="125509" y="266699"/>
                  </a:lnTo>
                  <a:cubicBezTo>
                    <a:pt x="126885" y="268236"/>
                    <a:pt x="128417" y="269626"/>
                    <a:pt x="130079" y="270851"/>
                  </a:cubicBezTo>
                  <a:cubicBezTo>
                    <a:pt x="136560" y="275491"/>
                    <a:pt x="138052" y="284500"/>
                    <a:pt x="133409" y="290977"/>
                  </a:cubicBezTo>
                  <a:cubicBezTo>
                    <a:pt x="130676" y="294796"/>
                    <a:pt x="126257" y="297038"/>
                    <a:pt x="121562" y="297007"/>
                  </a:cubicBezTo>
                  <a:close/>
                </a:path>
              </a:pathLst>
            </a:custGeom>
            <a:solidFill>
              <a:srgbClr val="231F2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 46">
              <a:extLst>
                <a:ext uri="{FF2B5EF4-FFF2-40B4-BE49-F238E27FC236}">
                  <a16:creationId xmlns:a16="http://schemas.microsoft.com/office/drawing/2014/main" id="{B1DA5FF9-41C5-ED4A-9382-709A2D6A5723}"/>
                </a:ext>
              </a:extLst>
            </p:cNvPr>
            <p:cNvSpPr/>
            <p:nvPr/>
          </p:nvSpPr>
          <p:spPr>
            <a:xfrm>
              <a:off x="4252695" y="6258616"/>
              <a:ext cx="415512" cy="60841"/>
            </a:xfrm>
            <a:custGeom>
              <a:avLst/>
              <a:gdLst>
                <a:gd name="connsiteX0" fmla="*/ 203049 w 415512"/>
                <a:gd name="connsiteY0" fmla="*/ 60841 h 60841"/>
                <a:gd name="connsiteX1" fmla="*/ 9667 w 415512"/>
                <a:gd name="connsiteY1" fmla="*/ 27938 h 60841"/>
                <a:gd name="connsiteX2" fmla="*/ 787 w 415512"/>
                <a:gd name="connsiteY2" fmla="*/ 9723 h 60841"/>
                <a:gd name="connsiteX3" fmla="*/ 19014 w 415512"/>
                <a:gd name="connsiteY3" fmla="*/ 849 h 60841"/>
                <a:gd name="connsiteX4" fmla="*/ 396328 w 415512"/>
                <a:gd name="connsiteY4" fmla="*/ 849 h 60841"/>
                <a:gd name="connsiteX5" fmla="*/ 414663 w 415512"/>
                <a:gd name="connsiteY5" fmla="*/ 9484 h 60841"/>
                <a:gd name="connsiteX6" fmla="*/ 406024 w 415512"/>
                <a:gd name="connsiteY6" fmla="*/ 27804 h 60841"/>
                <a:gd name="connsiteX7" fmla="*/ 404948 w 415512"/>
                <a:gd name="connsiteY7" fmla="*/ 28146 h 60841"/>
                <a:gd name="connsiteX8" fmla="*/ 203049 w 415512"/>
                <a:gd name="connsiteY8" fmla="*/ 60841 h 60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5512" h="60841">
                  <a:moveTo>
                    <a:pt x="203049" y="60841"/>
                  </a:moveTo>
                  <a:cubicBezTo>
                    <a:pt x="137201" y="60768"/>
                    <a:pt x="71832" y="49642"/>
                    <a:pt x="9667" y="27938"/>
                  </a:cubicBezTo>
                  <a:cubicBezTo>
                    <a:pt x="2182" y="25354"/>
                    <a:pt x="-1794" y="17206"/>
                    <a:pt x="787" y="9723"/>
                  </a:cubicBezTo>
                  <a:cubicBezTo>
                    <a:pt x="3368" y="2239"/>
                    <a:pt x="11529" y="-1736"/>
                    <a:pt x="19014" y="849"/>
                  </a:cubicBezTo>
                  <a:cubicBezTo>
                    <a:pt x="140112" y="42366"/>
                    <a:pt x="263598" y="42366"/>
                    <a:pt x="396328" y="849"/>
                  </a:cubicBezTo>
                  <a:cubicBezTo>
                    <a:pt x="403777" y="-1829"/>
                    <a:pt x="411986" y="2042"/>
                    <a:pt x="414663" y="9484"/>
                  </a:cubicBezTo>
                  <a:cubicBezTo>
                    <a:pt x="417342" y="16926"/>
                    <a:pt x="413473" y="25136"/>
                    <a:pt x="406024" y="27804"/>
                  </a:cubicBezTo>
                  <a:cubicBezTo>
                    <a:pt x="405670" y="27938"/>
                    <a:pt x="405312" y="28042"/>
                    <a:pt x="404948" y="28146"/>
                  </a:cubicBezTo>
                  <a:cubicBezTo>
                    <a:pt x="339730" y="49351"/>
                    <a:pt x="271631" y="60374"/>
                    <a:pt x="203049" y="60841"/>
                  </a:cubicBezTo>
                  <a:close/>
                </a:path>
              </a:pathLst>
            </a:custGeom>
            <a:solidFill>
              <a:srgbClr val="231F2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 47">
              <a:extLst>
                <a:ext uri="{FF2B5EF4-FFF2-40B4-BE49-F238E27FC236}">
                  <a16:creationId xmlns:a16="http://schemas.microsoft.com/office/drawing/2014/main" id="{E96FF835-2B99-4C4D-987A-DA266CFD27C4}"/>
                </a:ext>
              </a:extLst>
            </p:cNvPr>
            <p:cNvSpPr/>
            <p:nvPr/>
          </p:nvSpPr>
          <p:spPr>
            <a:xfrm>
              <a:off x="7617686" y="5355113"/>
              <a:ext cx="593649" cy="593282"/>
            </a:xfrm>
            <a:custGeom>
              <a:avLst/>
              <a:gdLst>
                <a:gd name="connsiteX0" fmla="*/ 296825 w 593649"/>
                <a:gd name="connsiteY0" fmla="*/ 593282 h 593282"/>
                <a:gd name="connsiteX1" fmla="*/ 0 w 593649"/>
                <a:gd name="connsiteY1" fmla="*/ 296641 h 593282"/>
                <a:gd name="connsiteX2" fmla="*/ 296825 w 593649"/>
                <a:gd name="connsiteY2" fmla="*/ 0 h 593282"/>
                <a:gd name="connsiteX3" fmla="*/ 593650 w 593649"/>
                <a:gd name="connsiteY3" fmla="*/ 296641 h 593282"/>
                <a:gd name="connsiteX4" fmla="*/ 296825 w 593649"/>
                <a:gd name="connsiteY4" fmla="*/ 593282 h 593282"/>
                <a:gd name="connsiteX5" fmla="*/ 296825 w 593649"/>
                <a:gd name="connsiteY5" fmla="*/ 28958 h 593282"/>
                <a:gd name="connsiteX6" fmla="*/ 28976 w 593649"/>
                <a:gd name="connsiteY6" fmla="*/ 296641 h 593282"/>
                <a:gd name="connsiteX7" fmla="*/ 296825 w 593649"/>
                <a:gd name="connsiteY7" fmla="*/ 564324 h 593282"/>
                <a:gd name="connsiteX8" fmla="*/ 564674 w 593649"/>
                <a:gd name="connsiteY8" fmla="*/ 296641 h 593282"/>
                <a:gd name="connsiteX9" fmla="*/ 296825 w 593649"/>
                <a:gd name="connsiteY9" fmla="*/ 28958 h 593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3649" h="593282">
                  <a:moveTo>
                    <a:pt x="296825" y="593282"/>
                  </a:moveTo>
                  <a:cubicBezTo>
                    <a:pt x="132896" y="593282"/>
                    <a:pt x="0" y="460469"/>
                    <a:pt x="0" y="296641"/>
                  </a:cubicBezTo>
                  <a:cubicBezTo>
                    <a:pt x="0" y="132814"/>
                    <a:pt x="132896" y="0"/>
                    <a:pt x="296825" y="0"/>
                  </a:cubicBezTo>
                  <a:cubicBezTo>
                    <a:pt x="460754" y="0"/>
                    <a:pt x="593650" y="132814"/>
                    <a:pt x="593650" y="296641"/>
                  </a:cubicBezTo>
                  <a:cubicBezTo>
                    <a:pt x="593473" y="460396"/>
                    <a:pt x="460681" y="593106"/>
                    <a:pt x="296825" y="593282"/>
                  </a:cubicBezTo>
                  <a:close/>
                  <a:moveTo>
                    <a:pt x="296825" y="28958"/>
                  </a:moveTo>
                  <a:cubicBezTo>
                    <a:pt x="148901" y="28958"/>
                    <a:pt x="28976" y="148808"/>
                    <a:pt x="28976" y="296641"/>
                  </a:cubicBezTo>
                  <a:cubicBezTo>
                    <a:pt x="28976" y="444474"/>
                    <a:pt x="148901" y="564324"/>
                    <a:pt x="296825" y="564324"/>
                  </a:cubicBezTo>
                  <a:cubicBezTo>
                    <a:pt x="444749" y="564324"/>
                    <a:pt x="564674" y="444474"/>
                    <a:pt x="564674" y="296641"/>
                  </a:cubicBezTo>
                  <a:cubicBezTo>
                    <a:pt x="564497" y="148871"/>
                    <a:pt x="444687" y="29135"/>
                    <a:pt x="296825" y="28958"/>
                  </a:cubicBezTo>
                  <a:close/>
                </a:path>
              </a:pathLst>
            </a:custGeom>
            <a:solidFill>
              <a:srgbClr val="231F2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 48">
              <a:extLst>
                <a:ext uri="{FF2B5EF4-FFF2-40B4-BE49-F238E27FC236}">
                  <a16:creationId xmlns:a16="http://schemas.microsoft.com/office/drawing/2014/main" id="{73A9668C-0ADF-8B43-AD9C-A5EE40EF62C3}"/>
                </a:ext>
              </a:extLst>
            </p:cNvPr>
            <p:cNvSpPr/>
            <p:nvPr/>
          </p:nvSpPr>
          <p:spPr>
            <a:xfrm>
              <a:off x="7902256" y="5301763"/>
              <a:ext cx="415430" cy="415173"/>
            </a:xfrm>
            <a:custGeom>
              <a:avLst/>
              <a:gdLst>
                <a:gd name="connsiteX0" fmla="*/ 207715 w 415430"/>
                <a:gd name="connsiteY0" fmla="*/ 415173 h 415173"/>
                <a:gd name="connsiteX1" fmla="*/ 0 w 415430"/>
                <a:gd name="connsiteY1" fmla="*/ 207587 h 415173"/>
                <a:gd name="connsiteX2" fmla="*/ 207715 w 415430"/>
                <a:gd name="connsiteY2" fmla="*/ 0 h 415173"/>
                <a:gd name="connsiteX3" fmla="*/ 415430 w 415430"/>
                <a:gd name="connsiteY3" fmla="*/ 207587 h 415173"/>
                <a:gd name="connsiteX4" fmla="*/ 207715 w 415430"/>
                <a:gd name="connsiteY4" fmla="*/ 415173 h 415173"/>
                <a:gd name="connsiteX5" fmla="*/ 207715 w 415430"/>
                <a:gd name="connsiteY5" fmla="*/ 29270 h 415173"/>
                <a:gd name="connsiteX6" fmla="*/ 28976 w 415430"/>
                <a:gd name="connsiteY6" fmla="*/ 207690 h 415173"/>
                <a:gd name="connsiteX7" fmla="*/ 207507 w 415430"/>
                <a:gd name="connsiteY7" fmla="*/ 386319 h 415173"/>
                <a:gd name="connsiteX8" fmla="*/ 386246 w 415430"/>
                <a:gd name="connsiteY8" fmla="*/ 207898 h 415173"/>
                <a:gd name="connsiteX9" fmla="*/ 386246 w 415430"/>
                <a:gd name="connsiteY9" fmla="*/ 207690 h 415173"/>
                <a:gd name="connsiteX10" fmla="*/ 207715 w 415430"/>
                <a:gd name="connsiteY10" fmla="*/ 29270 h 415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5430" h="415173">
                  <a:moveTo>
                    <a:pt x="207715" y="415173"/>
                  </a:moveTo>
                  <a:cubicBezTo>
                    <a:pt x="92994" y="415173"/>
                    <a:pt x="0" y="322237"/>
                    <a:pt x="0" y="207587"/>
                  </a:cubicBezTo>
                  <a:cubicBezTo>
                    <a:pt x="0" y="92937"/>
                    <a:pt x="92994" y="0"/>
                    <a:pt x="207715" y="0"/>
                  </a:cubicBezTo>
                  <a:cubicBezTo>
                    <a:pt x="322436" y="0"/>
                    <a:pt x="415430" y="92937"/>
                    <a:pt x="415430" y="207587"/>
                  </a:cubicBezTo>
                  <a:cubicBezTo>
                    <a:pt x="415430" y="322237"/>
                    <a:pt x="322436" y="415173"/>
                    <a:pt x="207715" y="415173"/>
                  </a:cubicBezTo>
                  <a:close/>
                  <a:moveTo>
                    <a:pt x="207715" y="29270"/>
                  </a:moveTo>
                  <a:cubicBezTo>
                    <a:pt x="109061" y="29208"/>
                    <a:pt x="29038" y="109097"/>
                    <a:pt x="28976" y="207690"/>
                  </a:cubicBezTo>
                  <a:cubicBezTo>
                    <a:pt x="28914" y="306284"/>
                    <a:pt x="108853" y="386257"/>
                    <a:pt x="207507" y="386319"/>
                  </a:cubicBezTo>
                  <a:cubicBezTo>
                    <a:pt x="306161" y="386381"/>
                    <a:pt x="386184" y="306491"/>
                    <a:pt x="386246" y="207898"/>
                  </a:cubicBezTo>
                  <a:cubicBezTo>
                    <a:pt x="386246" y="207825"/>
                    <a:pt x="386246" y="207763"/>
                    <a:pt x="386246" y="207690"/>
                  </a:cubicBezTo>
                  <a:cubicBezTo>
                    <a:pt x="386080" y="109222"/>
                    <a:pt x="306245" y="29446"/>
                    <a:pt x="207715" y="29270"/>
                  </a:cubicBezTo>
                  <a:close/>
                </a:path>
              </a:pathLst>
            </a:custGeom>
            <a:solidFill>
              <a:srgbClr val="231F2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 49">
              <a:extLst>
                <a:ext uri="{FF2B5EF4-FFF2-40B4-BE49-F238E27FC236}">
                  <a16:creationId xmlns:a16="http://schemas.microsoft.com/office/drawing/2014/main" id="{DBEFA9F2-2D32-C44B-8FB0-42CC2BE8A918}"/>
                </a:ext>
              </a:extLst>
            </p:cNvPr>
            <p:cNvSpPr/>
            <p:nvPr/>
          </p:nvSpPr>
          <p:spPr>
            <a:xfrm>
              <a:off x="5480818" y="2861480"/>
              <a:ext cx="27833" cy="27816"/>
            </a:xfrm>
            <a:custGeom>
              <a:avLst/>
              <a:gdLst>
                <a:gd name="connsiteX0" fmla="*/ 13917 w 27833"/>
                <a:gd name="connsiteY0" fmla="*/ 0 h 27816"/>
                <a:gd name="connsiteX1" fmla="*/ 0 w 27833"/>
                <a:gd name="connsiteY1" fmla="*/ 13908 h 27816"/>
                <a:gd name="connsiteX2" fmla="*/ 13917 w 27833"/>
                <a:gd name="connsiteY2" fmla="*/ 27817 h 27816"/>
                <a:gd name="connsiteX3" fmla="*/ 27834 w 27833"/>
                <a:gd name="connsiteY3" fmla="*/ 13908 h 27816"/>
                <a:gd name="connsiteX4" fmla="*/ 13917 w 27833"/>
                <a:gd name="connsiteY4" fmla="*/ 0 h 27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33" h="27816">
                  <a:moveTo>
                    <a:pt x="13917" y="0"/>
                  </a:moveTo>
                  <a:cubicBezTo>
                    <a:pt x="6231" y="0"/>
                    <a:pt x="0" y="6228"/>
                    <a:pt x="0" y="13908"/>
                  </a:cubicBezTo>
                  <a:cubicBezTo>
                    <a:pt x="0" y="21589"/>
                    <a:pt x="6231" y="27817"/>
                    <a:pt x="13917" y="27817"/>
                  </a:cubicBezTo>
                  <a:cubicBezTo>
                    <a:pt x="21602" y="27817"/>
                    <a:pt x="27834" y="21589"/>
                    <a:pt x="27834" y="13908"/>
                  </a:cubicBezTo>
                  <a:cubicBezTo>
                    <a:pt x="27834" y="6228"/>
                    <a:pt x="21602" y="0"/>
                    <a:pt x="13917" y="0"/>
                  </a:cubicBez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 50">
              <a:extLst>
                <a:ext uri="{FF2B5EF4-FFF2-40B4-BE49-F238E27FC236}">
                  <a16:creationId xmlns:a16="http://schemas.microsoft.com/office/drawing/2014/main" id="{0D6582CD-D629-7F4E-A872-36686C48599F}"/>
                </a:ext>
              </a:extLst>
            </p:cNvPr>
            <p:cNvSpPr/>
            <p:nvPr/>
          </p:nvSpPr>
          <p:spPr>
            <a:xfrm>
              <a:off x="5383608" y="2525812"/>
              <a:ext cx="222462" cy="393480"/>
            </a:xfrm>
            <a:custGeom>
              <a:avLst/>
              <a:gdLst>
                <a:gd name="connsiteX0" fmla="*/ 178739 w 222462"/>
                <a:gd name="connsiteY0" fmla="*/ 0 h 393480"/>
                <a:gd name="connsiteX1" fmla="*/ 43724 w 222462"/>
                <a:gd name="connsiteY1" fmla="*/ 0 h 393480"/>
                <a:gd name="connsiteX2" fmla="*/ 0 w 222462"/>
                <a:gd name="connsiteY2" fmla="*/ 43697 h 393480"/>
                <a:gd name="connsiteX3" fmla="*/ 0 w 222462"/>
                <a:gd name="connsiteY3" fmla="*/ 349783 h 393480"/>
                <a:gd name="connsiteX4" fmla="*/ 43724 w 222462"/>
                <a:gd name="connsiteY4" fmla="*/ 393480 h 393480"/>
                <a:gd name="connsiteX5" fmla="*/ 178739 w 222462"/>
                <a:gd name="connsiteY5" fmla="*/ 393480 h 393480"/>
                <a:gd name="connsiteX6" fmla="*/ 222463 w 222462"/>
                <a:gd name="connsiteY6" fmla="*/ 349783 h 393480"/>
                <a:gd name="connsiteX7" fmla="*/ 222463 w 222462"/>
                <a:gd name="connsiteY7" fmla="*/ 43697 h 393480"/>
                <a:gd name="connsiteX8" fmla="*/ 178739 w 222462"/>
                <a:gd name="connsiteY8" fmla="*/ 0 h 393480"/>
                <a:gd name="connsiteX9" fmla="*/ 43724 w 222462"/>
                <a:gd name="connsiteY9" fmla="*/ 23769 h 393480"/>
                <a:gd name="connsiteX10" fmla="*/ 178739 w 222462"/>
                <a:gd name="connsiteY10" fmla="*/ 23769 h 393480"/>
                <a:gd name="connsiteX11" fmla="*/ 198679 w 222462"/>
                <a:gd name="connsiteY11" fmla="*/ 43697 h 393480"/>
                <a:gd name="connsiteX12" fmla="*/ 198679 w 222462"/>
                <a:gd name="connsiteY12" fmla="*/ 51689 h 393480"/>
                <a:gd name="connsiteX13" fmla="*/ 23576 w 222462"/>
                <a:gd name="connsiteY13" fmla="*/ 51689 h 393480"/>
                <a:gd name="connsiteX14" fmla="*/ 23576 w 222462"/>
                <a:gd name="connsiteY14" fmla="*/ 43697 h 393480"/>
                <a:gd name="connsiteX15" fmla="*/ 43516 w 222462"/>
                <a:gd name="connsiteY15" fmla="*/ 23769 h 393480"/>
                <a:gd name="connsiteX16" fmla="*/ 198887 w 222462"/>
                <a:gd name="connsiteY16" fmla="*/ 67569 h 393480"/>
                <a:gd name="connsiteX17" fmla="*/ 198887 w 222462"/>
                <a:gd name="connsiteY17" fmla="*/ 313975 h 393480"/>
                <a:gd name="connsiteX18" fmla="*/ 23576 w 222462"/>
                <a:gd name="connsiteY18" fmla="*/ 313975 h 393480"/>
                <a:gd name="connsiteX19" fmla="*/ 23576 w 222462"/>
                <a:gd name="connsiteY19" fmla="*/ 67569 h 393480"/>
                <a:gd name="connsiteX20" fmla="*/ 178946 w 222462"/>
                <a:gd name="connsiteY20" fmla="*/ 369712 h 393480"/>
                <a:gd name="connsiteX21" fmla="*/ 43932 w 222462"/>
                <a:gd name="connsiteY21" fmla="*/ 369712 h 393480"/>
                <a:gd name="connsiteX22" fmla="*/ 23991 w 222462"/>
                <a:gd name="connsiteY22" fmla="*/ 349783 h 393480"/>
                <a:gd name="connsiteX23" fmla="*/ 23991 w 222462"/>
                <a:gd name="connsiteY23" fmla="*/ 329959 h 393480"/>
                <a:gd name="connsiteX24" fmla="*/ 199095 w 222462"/>
                <a:gd name="connsiteY24" fmla="*/ 329959 h 393480"/>
                <a:gd name="connsiteX25" fmla="*/ 199095 w 222462"/>
                <a:gd name="connsiteY25" fmla="*/ 349783 h 393480"/>
                <a:gd name="connsiteX26" fmla="*/ 179154 w 222462"/>
                <a:gd name="connsiteY26" fmla="*/ 369712 h 393480"/>
                <a:gd name="connsiteX27" fmla="*/ 178739 w 222462"/>
                <a:gd name="connsiteY27" fmla="*/ 369712 h 393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22462" h="393480">
                  <a:moveTo>
                    <a:pt x="178739" y="0"/>
                  </a:moveTo>
                  <a:lnTo>
                    <a:pt x="43724" y="0"/>
                  </a:lnTo>
                  <a:cubicBezTo>
                    <a:pt x="19598" y="52"/>
                    <a:pt x="52" y="19586"/>
                    <a:pt x="0" y="43697"/>
                  </a:cubicBezTo>
                  <a:lnTo>
                    <a:pt x="0" y="349783"/>
                  </a:lnTo>
                  <a:cubicBezTo>
                    <a:pt x="52" y="373895"/>
                    <a:pt x="19598" y="393428"/>
                    <a:pt x="43724" y="393480"/>
                  </a:cubicBezTo>
                  <a:lnTo>
                    <a:pt x="178739" y="393480"/>
                  </a:lnTo>
                  <a:cubicBezTo>
                    <a:pt x="202865" y="393428"/>
                    <a:pt x="222401" y="373895"/>
                    <a:pt x="222463" y="349783"/>
                  </a:cubicBezTo>
                  <a:lnTo>
                    <a:pt x="222463" y="43697"/>
                  </a:lnTo>
                  <a:cubicBezTo>
                    <a:pt x="222411" y="19586"/>
                    <a:pt x="202865" y="52"/>
                    <a:pt x="178739" y="0"/>
                  </a:cubicBezTo>
                  <a:close/>
                  <a:moveTo>
                    <a:pt x="43724" y="23769"/>
                  </a:moveTo>
                  <a:lnTo>
                    <a:pt x="178739" y="23769"/>
                  </a:lnTo>
                  <a:cubicBezTo>
                    <a:pt x="189748" y="23769"/>
                    <a:pt x="198679" y="32695"/>
                    <a:pt x="198679" y="43697"/>
                  </a:cubicBezTo>
                  <a:lnTo>
                    <a:pt x="198679" y="51689"/>
                  </a:lnTo>
                  <a:lnTo>
                    <a:pt x="23576" y="51689"/>
                  </a:lnTo>
                  <a:lnTo>
                    <a:pt x="23576" y="43697"/>
                  </a:lnTo>
                  <a:cubicBezTo>
                    <a:pt x="23576" y="32695"/>
                    <a:pt x="32507" y="23769"/>
                    <a:pt x="43516" y="23769"/>
                  </a:cubicBezTo>
                  <a:close/>
                  <a:moveTo>
                    <a:pt x="198887" y="67569"/>
                  </a:moveTo>
                  <a:lnTo>
                    <a:pt x="198887" y="313975"/>
                  </a:lnTo>
                  <a:lnTo>
                    <a:pt x="23576" y="313975"/>
                  </a:lnTo>
                  <a:lnTo>
                    <a:pt x="23576" y="67569"/>
                  </a:lnTo>
                  <a:close/>
                  <a:moveTo>
                    <a:pt x="178946" y="369712"/>
                  </a:moveTo>
                  <a:lnTo>
                    <a:pt x="43932" y="369712"/>
                  </a:lnTo>
                  <a:cubicBezTo>
                    <a:pt x="32923" y="369712"/>
                    <a:pt x="23991" y="360785"/>
                    <a:pt x="23991" y="349783"/>
                  </a:cubicBezTo>
                  <a:lnTo>
                    <a:pt x="23991" y="329959"/>
                  </a:lnTo>
                  <a:lnTo>
                    <a:pt x="199095" y="329959"/>
                  </a:lnTo>
                  <a:lnTo>
                    <a:pt x="199095" y="349783"/>
                  </a:lnTo>
                  <a:cubicBezTo>
                    <a:pt x="199095" y="360785"/>
                    <a:pt x="190174" y="369712"/>
                    <a:pt x="179154" y="369712"/>
                  </a:cubicBezTo>
                  <a:cubicBezTo>
                    <a:pt x="179019" y="369712"/>
                    <a:pt x="178874" y="369712"/>
                    <a:pt x="178739" y="369712"/>
                  </a:cubicBez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 51">
              <a:extLst>
                <a:ext uri="{FF2B5EF4-FFF2-40B4-BE49-F238E27FC236}">
                  <a16:creationId xmlns:a16="http://schemas.microsoft.com/office/drawing/2014/main" id="{60972C78-303C-6642-97A8-F57CD359CAFC}"/>
                </a:ext>
              </a:extLst>
            </p:cNvPr>
            <p:cNvSpPr/>
            <p:nvPr/>
          </p:nvSpPr>
          <p:spPr>
            <a:xfrm>
              <a:off x="4905967" y="2303175"/>
              <a:ext cx="644955" cy="500906"/>
            </a:xfrm>
            <a:custGeom>
              <a:avLst/>
              <a:gdLst>
                <a:gd name="connsiteX0" fmla="*/ 23887 w 644955"/>
                <a:gd name="connsiteY0" fmla="*/ 87394 h 500906"/>
                <a:gd name="connsiteX1" fmla="*/ 621068 w 644955"/>
                <a:gd name="connsiteY1" fmla="*/ 87394 h 500906"/>
                <a:gd name="connsiteX2" fmla="*/ 621068 w 644955"/>
                <a:gd name="connsiteY2" fmla="*/ 198764 h 500906"/>
                <a:gd name="connsiteX3" fmla="*/ 644955 w 644955"/>
                <a:gd name="connsiteY3" fmla="*/ 198764 h 500906"/>
                <a:gd name="connsiteX4" fmla="*/ 644955 w 644955"/>
                <a:gd name="connsiteY4" fmla="*/ 43697 h 500906"/>
                <a:gd name="connsiteX5" fmla="*/ 601231 w 644955"/>
                <a:gd name="connsiteY5" fmla="*/ 0 h 500906"/>
                <a:gd name="connsiteX6" fmla="*/ 43828 w 644955"/>
                <a:gd name="connsiteY6" fmla="*/ 0 h 500906"/>
                <a:gd name="connsiteX7" fmla="*/ 0 w 644955"/>
                <a:gd name="connsiteY7" fmla="*/ 43697 h 500906"/>
                <a:gd name="connsiteX8" fmla="*/ 0 w 644955"/>
                <a:gd name="connsiteY8" fmla="*/ 457106 h 500906"/>
                <a:gd name="connsiteX9" fmla="*/ 43828 w 644955"/>
                <a:gd name="connsiteY9" fmla="*/ 500906 h 500906"/>
                <a:gd name="connsiteX10" fmla="*/ 453546 w 644955"/>
                <a:gd name="connsiteY10" fmla="*/ 500906 h 500906"/>
                <a:gd name="connsiteX11" fmla="*/ 453546 w 644955"/>
                <a:gd name="connsiteY11" fmla="*/ 477034 h 500906"/>
                <a:gd name="connsiteX12" fmla="*/ 43828 w 644955"/>
                <a:gd name="connsiteY12" fmla="*/ 477034 h 500906"/>
                <a:gd name="connsiteX13" fmla="*/ 23887 w 644955"/>
                <a:gd name="connsiteY13" fmla="*/ 457106 h 500906"/>
                <a:gd name="connsiteX14" fmla="*/ 23887 w 644955"/>
                <a:gd name="connsiteY14" fmla="*/ 437281 h 500906"/>
                <a:gd name="connsiteX15" fmla="*/ 453546 w 644955"/>
                <a:gd name="connsiteY15" fmla="*/ 437281 h 500906"/>
                <a:gd name="connsiteX16" fmla="*/ 453546 w 644955"/>
                <a:gd name="connsiteY16" fmla="*/ 421401 h 500906"/>
                <a:gd name="connsiteX17" fmla="*/ 23887 w 644955"/>
                <a:gd name="connsiteY17" fmla="*/ 421401 h 500906"/>
                <a:gd name="connsiteX18" fmla="*/ 43828 w 644955"/>
                <a:gd name="connsiteY18" fmla="*/ 23872 h 500906"/>
                <a:gd name="connsiteX19" fmla="*/ 600296 w 644955"/>
                <a:gd name="connsiteY19" fmla="*/ 23872 h 500906"/>
                <a:gd name="connsiteX20" fmla="*/ 620133 w 644955"/>
                <a:gd name="connsiteY20" fmla="*/ 43489 h 500906"/>
                <a:gd name="connsiteX21" fmla="*/ 620133 w 644955"/>
                <a:gd name="connsiteY21" fmla="*/ 43697 h 500906"/>
                <a:gd name="connsiteX22" fmla="*/ 620133 w 644955"/>
                <a:gd name="connsiteY22" fmla="*/ 71514 h 500906"/>
                <a:gd name="connsiteX23" fmla="*/ 23887 w 644955"/>
                <a:gd name="connsiteY23" fmla="*/ 71514 h 500906"/>
                <a:gd name="connsiteX24" fmla="*/ 23887 w 644955"/>
                <a:gd name="connsiteY24" fmla="*/ 43697 h 500906"/>
                <a:gd name="connsiteX25" fmla="*/ 43828 w 644955"/>
                <a:gd name="connsiteY25" fmla="*/ 24080 h 500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644955" h="500906">
                  <a:moveTo>
                    <a:pt x="23887" y="87394"/>
                  </a:moveTo>
                  <a:lnTo>
                    <a:pt x="621068" y="87394"/>
                  </a:lnTo>
                  <a:lnTo>
                    <a:pt x="621068" y="198764"/>
                  </a:lnTo>
                  <a:lnTo>
                    <a:pt x="644955" y="198764"/>
                  </a:lnTo>
                  <a:lnTo>
                    <a:pt x="644955" y="43697"/>
                  </a:lnTo>
                  <a:cubicBezTo>
                    <a:pt x="644903" y="19586"/>
                    <a:pt x="625357" y="52"/>
                    <a:pt x="601231" y="0"/>
                  </a:cubicBezTo>
                  <a:lnTo>
                    <a:pt x="43828" y="0"/>
                  </a:lnTo>
                  <a:cubicBezTo>
                    <a:pt x="19660" y="0"/>
                    <a:pt x="62" y="19544"/>
                    <a:pt x="0" y="43697"/>
                  </a:cubicBezTo>
                  <a:lnTo>
                    <a:pt x="0" y="457106"/>
                  </a:lnTo>
                  <a:cubicBezTo>
                    <a:pt x="0" y="481300"/>
                    <a:pt x="19619" y="500906"/>
                    <a:pt x="43828" y="500906"/>
                  </a:cubicBezTo>
                  <a:lnTo>
                    <a:pt x="453546" y="500906"/>
                  </a:lnTo>
                  <a:lnTo>
                    <a:pt x="453546" y="477034"/>
                  </a:lnTo>
                  <a:lnTo>
                    <a:pt x="43828" y="477034"/>
                  </a:lnTo>
                  <a:cubicBezTo>
                    <a:pt x="32819" y="477034"/>
                    <a:pt x="23887" y="468108"/>
                    <a:pt x="23887" y="457106"/>
                  </a:cubicBezTo>
                  <a:lnTo>
                    <a:pt x="23887" y="437281"/>
                  </a:lnTo>
                  <a:lnTo>
                    <a:pt x="453546" y="437281"/>
                  </a:lnTo>
                  <a:lnTo>
                    <a:pt x="453546" y="421401"/>
                  </a:lnTo>
                  <a:lnTo>
                    <a:pt x="23887" y="421401"/>
                  </a:lnTo>
                  <a:close/>
                  <a:moveTo>
                    <a:pt x="43828" y="23872"/>
                  </a:moveTo>
                  <a:lnTo>
                    <a:pt x="600296" y="23872"/>
                  </a:lnTo>
                  <a:cubicBezTo>
                    <a:pt x="611191" y="23810"/>
                    <a:pt x="620071" y="32601"/>
                    <a:pt x="620133" y="43489"/>
                  </a:cubicBezTo>
                  <a:cubicBezTo>
                    <a:pt x="620133" y="43562"/>
                    <a:pt x="620133" y="43624"/>
                    <a:pt x="620133" y="43697"/>
                  </a:cubicBezTo>
                  <a:lnTo>
                    <a:pt x="620133" y="71514"/>
                  </a:lnTo>
                  <a:lnTo>
                    <a:pt x="23887" y="71514"/>
                  </a:lnTo>
                  <a:lnTo>
                    <a:pt x="23887" y="43697"/>
                  </a:lnTo>
                  <a:cubicBezTo>
                    <a:pt x="24002" y="32788"/>
                    <a:pt x="32913" y="24018"/>
                    <a:pt x="43828" y="24080"/>
                  </a:cubicBez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 52">
              <a:extLst>
                <a:ext uri="{FF2B5EF4-FFF2-40B4-BE49-F238E27FC236}">
                  <a16:creationId xmlns:a16="http://schemas.microsoft.com/office/drawing/2014/main" id="{7FA31027-1608-8047-B5BB-4F7BD402793C}"/>
                </a:ext>
              </a:extLst>
            </p:cNvPr>
            <p:cNvSpPr/>
            <p:nvPr/>
          </p:nvSpPr>
          <p:spPr>
            <a:xfrm>
              <a:off x="5068711" y="2819962"/>
              <a:ext cx="290801" cy="98914"/>
            </a:xfrm>
            <a:custGeom>
              <a:avLst/>
              <a:gdLst>
                <a:gd name="connsiteX0" fmla="*/ 250608 w 290801"/>
                <a:gd name="connsiteY0" fmla="*/ 75562 h 98914"/>
                <a:gd name="connsiteX1" fmla="*/ 222774 w 290801"/>
                <a:gd name="connsiteY1" fmla="*/ 47641 h 98914"/>
                <a:gd name="connsiteX2" fmla="*/ 222774 w 290801"/>
                <a:gd name="connsiteY2" fmla="*/ 0 h 98914"/>
                <a:gd name="connsiteX3" fmla="*/ 198887 w 290801"/>
                <a:gd name="connsiteY3" fmla="*/ 0 h 98914"/>
                <a:gd name="connsiteX4" fmla="*/ 198887 w 290801"/>
                <a:gd name="connsiteY4" fmla="*/ 47641 h 98914"/>
                <a:gd name="connsiteX5" fmla="*/ 207092 w 290801"/>
                <a:gd name="connsiteY5" fmla="*/ 75562 h 98914"/>
                <a:gd name="connsiteX6" fmla="*/ 111128 w 290801"/>
                <a:gd name="connsiteY6" fmla="*/ 75562 h 98914"/>
                <a:gd name="connsiteX7" fmla="*/ 119332 w 290801"/>
                <a:gd name="connsiteY7" fmla="*/ 47641 h 98914"/>
                <a:gd name="connsiteX8" fmla="*/ 119332 w 290801"/>
                <a:gd name="connsiteY8" fmla="*/ 0 h 98914"/>
                <a:gd name="connsiteX9" fmla="*/ 95445 w 290801"/>
                <a:gd name="connsiteY9" fmla="*/ 0 h 98914"/>
                <a:gd name="connsiteX10" fmla="*/ 95445 w 290801"/>
                <a:gd name="connsiteY10" fmla="*/ 47641 h 98914"/>
                <a:gd name="connsiteX11" fmla="*/ 67611 w 290801"/>
                <a:gd name="connsiteY11" fmla="*/ 75562 h 98914"/>
                <a:gd name="connsiteX12" fmla="*/ 0 w 290801"/>
                <a:gd name="connsiteY12" fmla="*/ 75562 h 98914"/>
                <a:gd name="connsiteX13" fmla="*/ 0 w 290801"/>
                <a:gd name="connsiteY13" fmla="*/ 98915 h 98914"/>
                <a:gd name="connsiteX14" fmla="*/ 290801 w 290801"/>
                <a:gd name="connsiteY14" fmla="*/ 98915 h 98914"/>
                <a:gd name="connsiteX15" fmla="*/ 290801 w 290801"/>
                <a:gd name="connsiteY15" fmla="*/ 75146 h 98914"/>
                <a:gd name="connsiteX16" fmla="*/ 250608 w 290801"/>
                <a:gd name="connsiteY16" fmla="*/ 75146 h 98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0801" h="98914">
                  <a:moveTo>
                    <a:pt x="250608" y="75562"/>
                  </a:moveTo>
                  <a:cubicBezTo>
                    <a:pt x="235217" y="75499"/>
                    <a:pt x="222774" y="63023"/>
                    <a:pt x="222774" y="47641"/>
                  </a:cubicBezTo>
                  <a:lnTo>
                    <a:pt x="222774" y="0"/>
                  </a:lnTo>
                  <a:lnTo>
                    <a:pt x="198887" y="0"/>
                  </a:lnTo>
                  <a:lnTo>
                    <a:pt x="198887" y="47641"/>
                  </a:lnTo>
                  <a:cubicBezTo>
                    <a:pt x="198898" y="57543"/>
                    <a:pt x="201754" y="67227"/>
                    <a:pt x="207092" y="75562"/>
                  </a:cubicBezTo>
                  <a:lnTo>
                    <a:pt x="111128" y="75562"/>
                  </a:lnTo>
                  <a:cubicBezTo>
                    <a:pt x="116466" y="67227"/>
                    <a:pt x="119322" y="57543"/>
                    <a:pt x="119332" y="47641"/>
                  </a:cubicBezTo>
                  <a:lnTo>
                    <a:pt x="119332" y="0"/>
                  </a:lnTo>
                  <a:lnTo>
                    <a:pt x="95445" y="0"/>
                  </a:lnTo>
                  <a:lnTo>
                    <a:pt x="95445" y="47641"/>
                  </a:lnTo>
                  <a:cubicBezTo>
                    <a:pt x="95445" y="63023"/>
                    <a:pt x="83003" y="75499"/>
                    <a:pt x="67611" y="75562"/>
                  </a:cubicBezTo>
                  <a:lnTo>
                    <a:pt x="0" y="75562"/>
                  </a:lnTo>
                  <a:lnTo>
                    <a:pt x="0" y="98915"/>
                  </a:lnTo>
                  <a:lnTo>
                    <a:pt x="290801" y="98915"/>
                  </a:lnTo>
                  <a:lnTo>
                    <a:pt x="290801" y="75146"/>
                  </a:lnTo>
                  <a:lnTo>
                    <a:pt x="250608" y="75146"/>
                  </a:ln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 53">
              <a:extLst>
                <a:ext uri="{FF2B5EF4-FFF2-40B4-BE49-F238E27FC236}">
                  <a16:creationId xmlns:a16="http://schemas.microsoft.com/office/drawing/2014/main" id="{5DEA49BC-B446-1941-A993-02D5E77B490C}"/>
                </a:ext>
              </a:extLst>
            </p:cNvPr>
            <p:cNvSpPr/>
            <p:nvPr/>
          </p:nvSpPr>
          <p:spPr>
            <a:xfrm>
              <a:off x="5217851" y="2339918"/>
              <a:ext cx="20771" cy="20758"/>
            </a:xfrm>
            <a:custGeom>
              <a:avLst/>
              <a:gdLst>
                <a:gd name="connsiteX0" fmla="*/ 10386 w 20771"/>
                <a:gd name="connsiteY0" fmla="*/ 20759 h 20758"/>
                <a:gd name="connsiteX1" fmla="*/ 20772 w 20771"/>
                <a:gd name="connsiteY1" fmla="*/ 10379 h 20758"/>
                <a:gd name="connsiteX2" fmla="*/ 10386 w 20771"/>
                <a:gd name="connsiteY2" fmla="*/ 0 h 20758"/>
                <a:gd name="connsiteX3" fmla="*/ 0 w 20771"/>
                <a:gd name="connsiteY3" fmla="*/ 10379 h 20758"/>
                <a:gd name="connsiteX4" fmla="*/ 10386 w 20771"/>
                <a:gd name="connsiteY4" fmla="*/ 20759 h 20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771" h="20758">
                  <a:moveTo>
                    <a:pt x="10386" y="20759"/>
                  </a:moveTo>
                  <a:cubicBezTo>
                    <a:pt x="16119" y="20759"/>
                    <a:pt x="20772" y="16109"/>
                    <a:pt x="20772" y="10379"/>
                  </a:cubicBezTo>
                  <a:cubicBezTo>
                    <a:pt x="20772" y="4650"/>
                    <a:pt x="16119" y="0"/>
                    <a:pt x="10386" y="0"/>
                  </a:cubicBezTo>
                  <a:cubicBezTo>
                    <a:pt x="4653" y="0"/>
                    <a:pt x="0" y="4650"/>
                    <a:pt x="0" y="10379"/>
                  </a:cubicBezTo>
                  <a:cubicBezTo>
                    <a:pt x="0" y="16109"/>
                    <a:pt x="4653" y="20759"/>
                    <a:pt x="10386" y="20759"/>
                  </a:cubicBez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eform 54">
              <a:extLst>
                <a:ext uri="{FF2B5EF4-FFF2-40B4-BE49-F238E27FC236}">
                  <a16:creationId xmlns:a16="http://schemas.microsoft.com/office/drawing/2014/main" id="{F961D1D6-B1E1-C04C-B641-523BE80336CF}"/>
                </a:ext>
              </a:extLst>
            </p:cNvPr>
            <p:cNvSpPr/>
            <p:nvPr/>
          </p:nvSpPr>
          <p:spPr>
            <a:xfrm>
              <a:off x="5258044" y="2747930"/>
              <a:ext cx="20771" cy="20758"/>
            </a:xfrm>
            <a:custGeom>
              <a:avLst/>
              <a:gdLst>
                <a:gd name="connsiteX0" fmla="*/ 0 w 20771"/>
                <a:gd name="connsiteY0" fmla="*/ 10379 h 20758"/>
                <a:gd name="connsiteX1" fmla="*/ 10386 w 20771"/>
                <a:gd name="connsiteY1" fmla="*/ 20759 h 20758"/>
                <a:gd name="connsiteX2" fmla="*/ 20772 w 20771"/>
                <a:gd name="connsiteY2" fmla="*/ 10379 h 20758"/>
                <a:gd name="connsiteX3" fmla="*/ 10386 w 20771"/>
                <a:gd name="connsiteY3" fmla="*/ 0 h 20758"/>
                <a:gd name="connsiteX4" fmla="*/ 0 w 20771"/>
                <a:gd name="connsiteY4" fmla="*/ 10379 h 20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771" h="20758">
                  <a:moveTo>
                    <a:pt x="0" y="10379"/>
                  </a:moveTo>
                  <a:cubicBezTo>
                    <a:pt x="0" y="16109"/>
                    <a:pt x="4653" y="20759"/>
                    <a:pt x="10386" y="20759"/>
                  </a:cubicBezTo>
                  <a:cubicBezTo>
                    <a:pt x="16119" y="20759"/>
                    <a:pt x="20772" y="16109"/>
                    <a:pt x="20772" y="10379"/>
                  </a:cubicBezTo>
                  <a:cubicBezTo>
                    <a:pt x="20772" y="4650"/>
                    <a:pt x="16119" y="0"/>
                    <a:pt x="10386" y="0"/>
                  </a:cubicBezTo>
                  <a:cubicBezTo>
                    <a:pt x="4653" y="0"/>
                    <a:pt x="0" y="4650"/>
                    <a:pt x="0" y="10379"/>
                  </a:cubicBez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 55">
              <a:extLst>
                <a:ext uri="{FF2B5EF4-FFF2-40B4-BE49-F238E27FC236}">
                  <a16:creationId xmlns:a16="http://schemas.microsoft.com/office/drawing/2014/main" id="{AAEB32E0-D9FA-B040-B5A7-FB7D3B54DD12}"/>
                </a:ext>
              </a:extLst>
            </p:cNvPr>
            <p:cNvSpPr/>
            <p:nvPr/>
          </p:nvSpPr>
          <p:spPr>
            <a:xfrm>
              <a:off x="5218266" y="2747930"/>
              <a:ext cx="20771" cy="20758"/>
            </a:xfrm>
            <a:custGeom>
              <a:avLst/>
              <a:gdLst>
                <a:gd name="connsiteX0" fmla="*/ 0 w 20771"/>
                <a:gd name="connsiteY0" fmla="*/ 10379 h 20758"/>
                <a:gd name="connsiteX1" fmla="*/ 10386 w 20771"/>
                <a:gd name="connsiteY1" fmla="*/ 20759 h 20758"/>
                <a:gd name="connsiteX2" fmla="*/ 20772 w 20771"/>
                <a:gd name="connsiteY2" fmla="*/ 10379 h 20758"/>
                <a:gd name="connsiteX3" fmla="*/ 10386 w 20771"/>
                <a:gd name="connsiteY3" fmla="*/ 0 h 20758"/>
                <a:gd name="connsiteX4" fmla="*/ 0 w 20771"/>
                <a:gd name="connsiteY4" fmla="*/ 10379 h 20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771" h="20758">
                  <a:moveTo>
                    <a:pt x="0" y="10379"/>
                  </a:moveTo>
                  <a:cubicBezTo>
                    <a:pt x="0" y="16109"/>
                    <a:pt x="4653" y="20759"/>
                    <a:pt x="10386" y="20759"/>
                  </a:cubicBezTo>
                  <a:cubicBezTo>
                    <a:pt x="16119" y="20759"/>
                    <a:pt x="20772" y="16109"/>
                    <a:pt x="20772" y="10379"/>
                  </a:cubicBezTo>
                  <a:cubicBezTo>
                    <a:pt x="20772" y="4650"/>
                    <a:pt x="16119" y="0"/>
                    <a:pt x="10386" y="0"/>
                  </a:cubicBezTo>
                  <a:cubicBezTo>
                    <a:pt x="4653" y="0"/>
                    <a:pt x="0" y="4650"/>
                    <a:pt x="0" y="10379"/>
                  </a:cubicBez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 56">
              <a:extLst>
                <a:ext uri="{FF2B5EF4-FFF2-40B4-BE49-F238E27FC236}">
                  <a16:creationId xmlns:a16="http://schemas.microsoft.com/office/drawing/2014/main" id="{C78FECCB-16E9-8742-B2D6-59424101374C}"/>
                </a:ext>
              </a:extLst>
            </p:cNvPr>
            <p:cNvSpPr/>
            <p:nvPr/>
          </p:nvSpPr>
          <p:spPr>
            <a:xfrm>
              <a:off x="5178489" y="2747930"/>
              <a:ext cx="20771" cy="20758"/>
            </a:xfrm>
            <a:custGeom>
              <a:avLst/>
              <a:gdLst>
                <a:gd name="connsiteX0" fmla="*/ 0 w 20771"/>
                <a:gd name="connsiteY0" fmla="*/ 10379 h 20758"/>
                <a:gd name="connsiteX1" fmla="*/ 10386 w 20771"/>
                <a:gd name="connsiteY1" fmla="*/ 20759 h 20758"/>
                <a:gd name="connsiteX2" fmla="*/ 20772 w 20771"/>
                <a:gd name="connsiteY2" fmla="*/ 10379 h 20758"/>
                <a:gd name="connsiteX3" fmla="*/ 10386 w 20771"/>
                <a:gd name="connsiteY3" fmla="*/ 0 h 20758"/>
                <a:gd name="connsiteX4" fmla="*/ 0 w 20771"/>
                <a:gd name="connsiteY4" fmla="*/ 10379 h 20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771" h="20758">
                  <a:moveTo>
                    <a:pt x="0" y="10379"/>
                  </a:moveTo>
                  <a:cubicBezTo>
                    <a:pt x="0" y="16109"/>
                    <a:pt x="4653" y="20759"/>
                    <a:pt x="10386" y="20759"/>
                  </a:cubicBezTo>
                  <a:cubicBezTo>
                    <a:pt x="16119" y="20759"/>
                    <a:pt x="20772" y="16109"/>
                    <a:pt x="20772" y="10379"/>
                  </a:cubicBezTo>
                  <a:cubicBezTo>
                    <a:pt x="20772" y="4650"/>
                    <a:pt x="16119" y="0"/>
                    <a:pt x="10386" y="0"/>
                  </a:cubicBezTo>
                  <a:cubicBezTo>
                    <a:pt x="4653" y="0"/>
                    <a:pt x="0" y="4650"/>
                    <a:pt x="0" y="10379"/>
                  </a:cubicBez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eform 57">
              <a:extLst>
                <a:ext uri="{FF2B5EF4-FFF2-40B4-BE49-F238E27FC236}">
                  <a16:creationId xmlns:a16="http://schemas.microsoft.com/office/drawing/2014/main" id="{E9EC1AF9-3366-CA4E-BDE7-FC7969E3CD7E}"/>
                </a:ext>
              </a:extLst>
            </p:cNvPr>
            <p:cNvSpPr/>
            <p:nvPr/>
          </p:nvSpPr>
          <p:spPr>
            <a:xfrm>
              <a:off x="5117835" y="2440390"/>
              <a:ext cx="222255" cy="222118"/>
            </a:xfrm>
            <a:custGeom>
              <a:avLst/>
              <a:gdLst>
                <a:gd name="connsiteX0" fmla="*/ 110713 w 222255"/>
                <a:gd name="connsiteY0" fmla="*/ 0 h 222118"/>
                <a:gd name="connsiteX1" fmla="*/ 1 w 222255"/>
                <a:gd name="connsiteY1" fmla="*/ 111474 h 222118"/>
                <a:gd name="connsiteX2" fmla="*/ 111544 w 222255"/>
                <a:gd name="connsiteY2" fmla="*/ 222118 h 222118"/>
                <a:gd name="connsiteX3" fmla="*/ 222256 w 222255"/>
                <a:gd name="connsiteY3" fmla="*/ 111059 h 222118"/>
                <a:gd name="connsiteX4" fmla="*/ 111128 w 222255"/>
                <a:gd name="connsiteY4" fmla="*/ 0 h 222118"/>
                <a:gd name="connsiteX5" fmla="*/ 110713 w 222255"/>
                <a:gd name="connsiteY5" fmla="*/ 0 h 222118"/>
                <a:gd name="connsiteX6" fmla="*/ 207300 w 222255"/>
                <a:gd name="connsiteY6" fmla="*/ 121646 h 222118"/>
                <a:gd name="connsiteX7" fmla="*/ 207300 w 222255"/>
                <a:gd name="connsiteY7" fmla="*/ 121646 h 222118"/>
                <a:gd name="connsiteX8" fmla="*/ 205639 w 222255"/>
                <a:gd name="connsiteY8" fmla="*/ 132025 h 222118"/>
                <a:gd name="connsiteX9" fmla="*/ 172093 w 222255"/>
                <a:gd name="connsiteY9" fmla="*/ 132025 h 222118"/>
                <a:gd name="connsiteX10" fmla="*/ 172093 w 222255"/>
                <a:gd name="connsiteY10" fmla="*/ 90508 h 222118"/>
                <a:gd name="connsiteX11" fmla="*/ 205639 w 222255"/>
                <a:gd name="connsiteY11" fmla="*/ 90508 h 222118"/>
                <a:gd name="connsiteX12" fmla="*/ 207300 w 222255"/>
                <a:gd name="connsiteY12" fmla="*/ 100887 h 222118"/>
                <a:gd name="connsiteX13" fmla="*/ 207300 w 222255"/>
                <a:gd name="connsiteY13" fmla="*/ 100887 h 222118"/>
                <a:gd name="connsiteX14" fmla="*/ 207923 w 222255"/>
                <a:gd name="connsiteY14" fmla="*/ 111266 h 222118"/>
                <a:gd name="connsiteX15" fmla="*/ 207300 w 222255"/>
                <a:gd name="connsiteY15" fmla="*/ 121646 h 222118"/>
                <a:gd name="connsiteX16" fmla="*/ 147790 w 222255"/>
                <a:gd name="connsiteY16" fmla="*/ 200840 h 222118"/>
                <a:gd name="connsiteX17" fmla="*/ 170223 w 222255"/>
                <a:gd name="connsiteY17" fmla="*/ 145726 h 222118"/>
                <a:gd name="connsiteX18" fmla="*/ 201381 w 222255"/>
                <a:gd name="connsiteY18" fmla="*/ 145726 h 222118"/>
                <a:gd name="connsiteX19" fmla="*/ 147790 w 222255"/>
                <a:gd name="connsiteY19" fmla="*/ 200840 h 222118"/>
                <a:gd name="connsiteX20" fmla="*/ 201381 w 222255"/>
                <a:gd name="connsiteY20" fmla="*/ 76288 h 222118"/>
                <a:gd name="connsiteX21" fmla="*/ 170223 w 222255"/>
                <a:gd name="connsiteY21" fmla="*/ 76288 h 222118"/>
                <a:gd name="connsiteX22" fmla="*/ 147790 w 222255"/>
                <a:gd name="connsiteY22" fmla="*/ 21174 h 222118"/>
                <a:gd name="connsiteX23" fmla="*/ 201484 w 222255"/>
                <a:gd name="connsiteY23" fmla="*/ 76392 h 222118"/>
                <a:gd name="connsiteX24" fmla="*/ 158072 w 222255"/>
                <a:gd name="connsiteY24" fmla="*/ 90093 h 222118"/>
                <a:gd name="connsiteX25" fmla="*/ 158072 w 222255"/>
                <a:gd name="connsiteY25" fmla="*/ 131610 h 222118"/>
                <a:gd name="connsiteX26" fmla="*/ 117671 w 222255"/>
                <a:gd name="connsiteY26" fmla="*/ 131610 h 222118"/>
                <a:gd name="connsiteX27" fmla="*/ 117671 w 222255"/>
                <a:gd name="connsiteY27" fmla="*/ 90093 h 222118"/>
                <a:gd name="connsiteX28" fmla="*/ 117671 w 222255"/>
                <a:gd name="connsiteY28" fmla="*/ 76288 h 222118"/>
                <a:gd name="connsiteX29" fmla="*/ 117671 w 222255"/>
                <a:gd name="connsiteY29" fmla="*/ 14946 h 222118"/>
                <a:gd name="connsiteX30" fmla="*/ 155995 w 222255"/>
                <a:gd name="connsiteY30" fmla="*/ 76288 h 222118"/>
                <a:gd name="connsiteX31" fmla="*/ 117671 w 222255"/>
                <a:gd name="connsiteY31" fmla="*/ 145622 h 222118"/>
                <a:gd name="connsiteX32" fmla="*/ 155995 w 222255"/>
                <a:gd name="connsiteY32" fmla="*/ 145622 h 222118"/>
                <a:gd name="connsiteX33" fmla="*/ 117671 w 222255"/>
                <a:gd name="connsiteY33" fmla="*/ 206964 h 222118"/>
                <a:gd name="connsiteX34" fmla="*/ 20045 w 222255"/>
                <a:gd name="connsiteY34" fmla="*/ 145622 h 222118"/>
                <a:gd name="connsiteX35" fmla="*/ 51202 w 222255"/>
                <a:gd name="connsiteY35" fmla="*/ 145622 h 222118"/>
                <a:gd name="connsiteX36" fmla="*/ 73532 w 222255"/>
                <a:gd name="connsiteY36" fmla="*/ 200736 h 222118"/>
                <a:gd name="connsiteX37" fmla="*/ 20045 w 222255"/>
                <a:gd name="connsiteY37" fmla="*/ 145726 h 222118"/>
                <a:gd name="connsiteX38" fmla="*/ 73636 w 222255"/>
                <a:gd name="connsiteY38" fmla="*/ 21070 h 222118"/>
                <a:gd name="connsiteX39" fmla="*/ 51306 w 222255"/>
                <a:gd name="connsiteY39" fmla="*/ 76184 h 222118"/>
                <a:gd name="connsiteX40" fmla="*/ 20149 w 222255"/>
                <a:gd name="connsiteY40" fmla="*/ 76184 h 222118"/>
                <a:gd name="connsiteX41" fmla="*/ 73636 w 222255"/>
                <a:gd name="connsiteY41" fmla="*/ 21797 h 222118"/>
                <a:gd name="connsiteX42" fmla="*/ 63250 w 222255"/>
                <a:gd name="connsiteY42" fmla="*/ 131714 h 222118"/>
                <a:gd name="connsiteX43" fmla="*/ 63250 w 222255"/>
                <a:gd name="connsiteY43" fmla="*/ 90196 h 222118"/>
                <a:gd name="connsiteX44" fmla="*/ 103651 w 222255"/>
                <a:gd name="connsiteY44" fmla="*/ 90196 h 222118"/>
                <a:gd name="connsiteX45" fmla="*/ 103651 w 222255"/>
                <a:gd name="connsiteY45" fmla="*/ 131714 h 222118"/>
                <a:gd name="connsiteX46" fmla="*/ 103651 w 222255"/>
                <a:gd name="connsiteY46" fmla="*/ 145518 h 222118"/>
                <a:gd name="connsiteX47" fmla="*/ 103651 w 222255"/>
                <a:gd name="connsiteY47" fmla="*/ 206860 h 222118"/>
                <a:gd name="connsiteX48" fmla="*/ 65431 w 222255"/>
                <a:gd name="connsiteY48" fmla="*/ 145518 h 222118"/>
                <a:gd name="connsiteX49" fmla="*/ 103651 w 222255"/>
                <a:gd name="connsiteY49" fmla="*/ 76184 h 222118"/>
                <a:gd name="connsiteX50" fmla="*/ 65431 w 222255"/>
                <a:gd name="connsiteY50" fmla="*/ 76184 h 222118"/>
                <a:gd name="connsiteX51" fmla="*/ 103651 w 222255"/>
                <a:gd name="connsiteY51" fmla="*/ 14843 h 222118"/>
                <a:gd name="connsiteX52" fmla="*/ 14541 w 222255"/>
                <a:gd name="connsiteY52" fmla="*/ 100472 h 222118"/>
                <a:gd name="connsiteX53" fmla="*/ 14541 w 222255"/>
                <a:gd name="connsiteY53" fmla="*/ 100472 h 222118"/>
                <a:gd name="connsiteX54" fmla="*/ 16306 w 222255"/>
                <a:gd name="connsiteY54" fmla="*/ 90093 h 222118"/>
                <a:gd name="connsiteX55" fmla="*/ 49748 w 222255"/>
                <a:gd name="connsiteY55" fmla="*/ 90093 h 222118"/>
                <a:gd name="connsiteX56" fmla="*/ 49748 w 222255"/>
                <a:gd name="connsiteY56" fmla="*/ 131610 h 222118"/>
                <a:gd name="connsiteX57" fmla="*/ 16306 w 222255"/>
                <a:gd name="connsiteY57" fmla="*/ 131610 h 222118"/>
                <a:gd name="connsiteX58" fmla="*/ 14541 w 222255"/>
                <a:gd name="connsiteY58" fmla="*/ 121231 h 222118"/>
                <a:gd name="connsiteX59" fmla="*/ 14541 w 222255"/>
                <a:gd name="connsiteY59" fmla="*/ 121231 h 222118"/>
                <a:gd name="connsiteX60" fmla="*/ 14541 w 222255"/>
                <a:gd name="connsiteY60" fmla="*/ 100472 h 222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222255" h="222118">
                  <a:moveTo>
                    <a:pt x="110713" y="0"/>
                  </a:moveTo>
                  <a:cubicBezTo>
                    <a:pt x="49343" y="228"/>
                    <a:pt x="-228" y="50143"/>
                    <a:pt x="1" y="111474"/>
                  </a:cubicBezTo>
                  <a:cubicBezTo>
                    <a:pt x="229" y="172805"/>
                    <a:pt x="50174" y="222346"/>
                    <a:pt x="111544" y="222118"/>
                  </a:cubicBezTo>
                  <a:cubicBezTo>
                    <a:pt x="172757" y="221889"/>
                    <a:pt x="222256" y="172235"/>
                    <a:pt x="222256" y="111059"/>
                  </a:cubicBezTo>
                  <a:cubicBezTo>
                    <a:pt x="222256" y="49727"/>
                    <a:pt x="172508" y="0"/>
                    <a:pt x="111128" y="0"/>
                  </a:cubicBezTo>
                  <a:cubicBezTo>
                    <a:pt x="110993" y="0"/>
                    <a:pt x="110848" y="0"/>
                    <a:pt x="110713" y="0"/>
                  </a:cubicBezTo>
                  <a:close/>
                  <a:moveTo>
                    <a:pt x="207300" y="121646"/>
                  </a:moveTo>
                  <a:lnTo>
                    <a:pt x="207300" y="121646"/>
                  </a:lnTo>
                  <a:cubicBezTo>
                    <a:pt x="207300" y="125071"/>
                    <a:pt x="206366" y="128392"/>
                    <a:pt x="205639" y="132025"/>
                  </a:cubicBezTo>
                  <a:lnTo>
                    <a:pt x="172093" y="132025"/>
                  </a:lnTo>
                  <a:cubicBezTo>
                    <a:pt x="173599" y="118231"/>
                    <a:pt x="173599" y="104302"/>
                    <a:pt x="172093" y="90508"/>
                  </a:cubicBezTo>
                  <a:lnTo>
                    <a:pt x="205639" y="90508"/>
                  </a:lnTo>
                  <a:cubicBezTo>
                    <a:pt x="206376" y="93933"/>
                    <a:pt x="206926" y="97400"/>
                    <a:pt x="207300" y="100887"/>
                  </a:cubicBezTo>
                  <a:lnTo>
                    <a:pt x="207300" y="100887"/>
                  </a:lnTo>
                  <a:cubicBezTo>
                    <a:pt x="207716" y="104333"/>
                    <a:pt x="207923" y="107800"/>
                    <a:pt x="207923" y="111266"/>
                  </a:cubicBezTo>
                  <a:cubicBezTo>
                    <a:pt x="207913" y="114733"/>
                    <a:pt x="207705" y="118200"/>
                    <a:pt x="207300" y="121646"/>
                  </a:cubicBezTo>
                  <a:close/>
                  <a:moveTo>
                    <a:pt x="147790" y="200840"/>
                  </a:moveTo>
                  <a:cubicBezTo>
                    <a:pt x="159526" y="184503"/>
                    <a:pt x="167211" y="165613"/>
                    <a:pt x="170223" y="145726"/>
                  </a:cubicBezTo>
                  <a:lnTo>
                    <a:pt x="201381" y="145726"/>
                  </a:lnTo>
                  <a:cubicBezTo>
                    <a:pt x="191836" y="170667"/>
                    <a:pt x="172456" y="190585"/>
                    <a:pt x="147790" y="200840"/>
                  </a:cubicBezTo>
                  <a:close/>
                  <a:moveTo>
                    <a:pt x="201381" y="76288"/>
                  </a:moveTo>
                  <a:lnTo>
                    <a:pt x="170223" y="76288"/>
                  </a:lnTo>
                  <a:cubicBezTo>
                    <a:pt x="167211" y="56401"/>
                    <a:pt x="159526" y="37511"/>
                    <a:pt x="147790" y="21174"/>
                  </a:cubicBezTo>
                  <a:cubicBezTo>
                    <a:pt x="172498" y="31460"/>
                    <a:pt x="191909" y="51419"/>
                    <a:pt x="201484" y="76392"/>
                  </a:cubicBezTo>
                  <a:close/>
                  <a:moveTo>
                    <a:pt x="158072" y="90093"/>
                  </a:moveTo>
                  <a:cubicBezTo>
                    <a:pt x="159713" y="103887"/>
                    <a:pt x="159713" y="117816"/>
                    <a:pt x="158072" y="131610"/>
                  </a:cubicBezTo>
                  <a:lnTo>
                    <a:pt x="117671" y="131610"/>
                  </a:lnTo>
                  <a:lnTo>
                    <a:pt x="117671" y="90093"/>
                  </a:lnTo>
                  <a:close/>
                  <a:moveTo>
                    <a:pt x="117671" y="76288"/>
                  </a:moveTo>
                  <a:lnTo>
                    <a:pt x="117671" y="14946"/>
                  </a:lnTo>
                  <a:cubicBezTo>
                    <a:pt x="135016" y="20240"/>
                    <a:pt x="149659" y="44320"/>
                    <a:pt x="155995" y="76288"/>
                  </a:cubicBezTo>
                  <a:close/>
                  <a:moveTo>
                    <a:pt x="117671" y="145622"/>
                  </a:moveTo>
                  <a:lnTo>
                    <a:pt x="155995" y="145622"/>
                  </a:lnTo>
                  <a:cubicBezTo>
                    <a:pt x="149659" y="177590"/>
                    <a:pt x="135223" y="201670"/>
                    <a:pt x="117671" y="206964"/>
                  </a:cubicBezTo>
                  <a:close/>
                  <a:moveTo>
                    <a:pt x="20045" y="145622"/>
                  </a:moveTo>
                  <a:lnTo>
                    <a:pt x="51202" y="145622"/>
                  </a:lnTo>
                  <a:cubicBezTo>
                    <a:pt x="54225" y="165488"/>
                    <a:pt x="61869" y="184368"/>
                    <a:pt x="73532" y="200736"/>
                  </a:cubicBezTo>
                  <a:cubicBezTo>
                    <a:pt x="48918" y="190481"/>
                    <a:pt x="29590" y="170605"/>
                    <a:pt x="20045" y="145726"/>
                  </a:cubicBezTo>
                  <a:close/>
                  <a:moveTo>
                    <a:pt x="73636" y="21070"/>
                  </a:moveTo>
                  <a:cubicBezTo>
                    <a:pt x="61973" y="37438"/>
                    <a:pt x="54329" y="56318"/>
                    <a:pt x="51306" y="76184"/>
                  </a:cubicBezTo>
                  <a:lnTo>
                    <a:pt x="20149" y="76184"/>
                  </a:lnTo>
                  <a:cubicBezTo>
                    <a:pt x="29870" y="51565"/>
                    <a:pt x="49167" y="31937"/>
                    <a:pt x="73636" y="21797"/>
                  </a:cubicBezTo>
                  <a:close/>
                  <a:moveTo>
                    <a:pt x="63250" y="131714"/>
                  </a:moveTo>
                  <a:cubicBezTo>
                    <a:pt x="61609" y="117920"/>
                    <a:pt x="61609" y="103991"/>
                    <a:pt x="63250" y="90196"/>
                  </a:cubicBezTo>
                  <a:lnTo>
                    <a:pt x="103651" y="90196"/>
                  </a:lnTo>
                  <a:lnTo>
                    <a:pt x="103651" y="131714"/>
                  </a:lnTo>
                  <a:close/>
                  <a:moveTo>
                    <a:pt x="103651" y="145518"/>
                  </a:moveTo>
                  <a:lnTo>
                    <a:pt x="103651" y="206860"/>
                  </a:lnTo>
                  <a:cubicBezTo>
                    <a:pt x="86410" y="201567"/>
                    <a:pt x="71766" y="177487"/>
                    <a:pt x="65431" y="145518"/>
                  </a:cubicBezTo>
                  <a:close/>
                  <a:moveTo>
                    <a:pt x="103651" y="76184"/>
                  </a:moveTo>
                  <a:lnTo>
                    <a:pt x="65431" y="76184"/>
                  </a:lnTo>
                  <a:cubicBezTo>
                    <a:pt x="71766" y="44216"/>
                    <a:pt x="86202" y="20136"/>
                    <a:pt x="103651" y="14843"/>
                  </a:cubicBezTo>
                  <a:close/>
                  <a:moveTo>
                    <a:pt x="14541" y="100472"/>
                  </a:moveTo>
                  <a:lnTo>
                    <a:pt x="14541" y="100472"/>
                  </a:lnTo>
                  <a:cubicBezTo>
                    <a:pt x="14946" y="96985"/>
                    <a:pt x="15538" y="93518"/>
                    <a:pt x="16306" y="90093"/>
                  </a:cubicBezTo>
                  <a:lnTo>
                    <a:pt x="49748" y="90093"/>
                  </a:lnTo>
                  <a:cubicBezTo>
                    <a:pt x="48378" y="103897"/>
                    <a:pt x="48378" y="117805"/>
                    <a:pt x="49748" y="131610"/>
                  </a:cubicBezTo>
                  <a:lnTo>
                    <a:pt x="16306" y="131610"/>
                  </a:lnTo>
                  <a:cubicBezTo>
                    <a:pt x="15579" y="128289"/>
                    <a:pt x="14956" y="124967"/>
                    <a:pt x="14541" y="121231"/>
                  </a:cubicBezTo>
                  <a:lnTo>
                    <a:pt x="14541" y="121231"/>
                  </a:lnTo>
                  <a:cubicBezTo>
                    <a:pt x="13741" y="114339"/>
                    <a:pt x="13741" y="107364"/>
                    <a:pt x="14541" y="100472"/>
                  </a:cubicBez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eform 58">
              <a:extLst>
                <a:ext uri="{FF2B5EF4-FFF2-40B4-BE49-F238E27FC236}">
                  <a16:creationId xmlns:a16="http://schemas.microsoft.com/office/drawing/2014/main" id="{35A997A1-1DB9-824D-AE1F-0D012EFBA6AB}"/>
                </a:ext>
              </a:extLst>
            </p:cNvPr>
            <p:cNvSpPr/>
            <p:nvPr/>
          </p:nvSpPr>
          <p:spPr>
            <a:xfrm>
              <a:off x="8791069" y="2209979"/>
              <a:ext cx="1048234" cy="407897"/>
            </a:xfrm>
            <a:custGeom>
              <a:avLst/>
              <a:gdLst>
                <a:gd name="connsiteX0" fmla="*/ 0 w 1048234"/>
                <a:gd name="connsiteY0" fmla="*/ 407897 h 407897"/>
                <a:gd name="connsiteX1" fmla="*/ 1048234 w 1048234"/>
                <a:gd name="connsiteY1" fmla="*/ 3104 h 407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8234" h="407897">
                  <a:moveTo>
                    <a:pt x="0" y="407897"/>
                  </a:moveTo>
                  <a:cubicBezTo>
                    <a:pt x="0" y="407897"/>
                    <a:pt x="347196" y="-41424"/>
                    <a:pt x="1048234" y="3104"/>
                  </a:cubicBezTo>
                </a:path>
              </a:pathLst>
            </a:custGeom>
            <a:noFill/>
            <a:ln w="20749" cap="rnd">
              <a:solidFill>
                <a:srgbClr val="231F20"/>
              </a:solidFill>
              <a:custDash>
                <a:ds d="150000" sp="450000"/>
              </a:custDash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eform 59">
              <a:extLst>
                <a:ext uri="{FF2B5EF4-FFF2-40B4-BE49-F238E27FC236}">
                  <a16:creationId xmlns:a16="http://schemas.microsoft.com/office/drawing/2014/main" id="{72B9287F-7035-D540-AD05-7D11AFC103D4}"/>
                </a:ext>
              </a:extLst>
            </p:cNvPr>
            <p:cNvSpPr/>
            <p:nvPr/>
          </p:nvSpPr>
          <p:spPr>
            <a:xfrm>
              <a:off x="9967151" y="1935955"/>
              <a:ext cx="1433704" cy="1141933"/>
            </a:xfrm>
            <a:custGeom>
              <a:avLst/>
              <a:gdLst>
                <a:gd name="connsiteX0" fmla="*/ 644228 w 1433704"/>
                <a:gd name="connsiteY0" fmla="*/ 0 h 1141933"/>
                <a:gd name="connsiteX1" fmla="*/ 318012 w 1433704"/>
                <a:gd name="connsiteY1" fmla="*/ 208521 h 1141933"/>
                <a:gd name="connsiteX2" fmla="*/ 0 w 1433704"/>
                <a:gd name="connsiteY2" fmla="*/ 432714 h 1141933"/>
                <a:gd name="connsiteX3" fmla="*/ 62315 w 1433704"/>
                <a:gd name="connsiteY3" fmla="*/ 564116 h 1141933"/>
                <a:gd name="connsiteX4" fmla="*/ 0 w 1433704"/>
                <a:gd name="connsiteY4" fmla="*/ 695519 h 1141933"/>
                <a:gd name="connsiteX5" fmla="*/ 317181 w 1433704"/>
                <a:gd name="connsiteY5" fmla="*/ 919712 h 1141933"/>
                <a:gd name="connsiteX6" fmla="*/ 644228 w 1433704"/>
                <a:gd name="connsiteY6" fmla="*/ 1141934 h 1141933"/>
                <a:gd name="connsiteX7" fmla="*/ 941987 w 1433704"/>
                <a:gd name="connsiteY7" fmla="*/ 1010324 h 1141933"/>
                <a:gd name="connsiteX8" fmla="*/ 954762 w 1433704"/>
                <a:gd name="connsiteY8" fmla="*/ 1010324 h 1141933"/>
                <a:gd name="connsiteX9" fmla="*/ 1281705 w 1433704"/>
                <a:gd name="connsiteY9" fmla="*/ 786027 h 1141933"/>
                <a:gd name="connsiteX10" fmla="*/ 1281082 w 1433704"/>
                <a:gd name="connsiteY10" fmla="*/ 771807 h 1141933"/>
                <a:gd name="connsiteX11" fmla="*/ 1411008 w 1433704"/>
                <a:gd name="connsiteY11" fmla="*/ 664173 h 1141933"/>
                <a:gd name="connsiteX12" fmla="*/ 1321171 w 1433704"/>
                <a:gd name="connsiteY12" fmla="*/ 412682 h 1141933"/>
                <a:gd name="connsiteX13" fmla="*/ 1321171 w 1433704"/>
                <a:gd name="connsiteY13" fmla="*/ 405313 h 1141933"/>
                <a:gd name="connsiteX14" fmla="*/ 994124 w 1433704"/>
                <a:gd name="connsiteY14" fmla="*/ 181015 h 1141933"/>
                <a:gd name="connsiteX15" fmla="*/ 965148 w 1433704"/>
                <a:gd name="connsiteY15" fmla="*/ 181950 h 1141933"/>
                <a:gd name="connsiteX16" fmla="*/ 644228 w 1433704"/>
                <a:gd name="connsiteY16" fmla="*/ 0 h 1141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33704" h="1141933">
                  <a:moveTo>
                    <a:pt x="644228" y="0"/>
                  </a:moveTo>
                  <a:cubicBezTo>
                    <a:pt x="471305" y="0"/>
                    <a:pt x="329852" y="92065"/>
                    <a:pt x="318012" y="208521"/>
                  </a:cubicBezTo>
                  <a:cubicBezTo>
                    <a:pt x="141454" y="211842"/>
                    <a:pt x="0" y="310965"/>
                    <a:pt x="0" y="432714"/>
                  </a:cubicBezTo>
                  <a:cubicBezTo>
                    <a:pt x="0" y="481808"/>
                    <a:pt x="23056" y="527166"/>
                    <a:pt x="62315" y="564116"/>
                  </a:cubicBezTo>
                  <a:cubicBezTo>
                    <a:pt x="23264" y="601067"/>
                    <a:pt x="0" y="646425"/>
                    <a:pt x="0" y="695519"/>
                  </a:cubicBezTo>
                  <a:cubicBezTo>
                    <a:pt x="0" y="817165"/>
                    <a:pt x="141142" y="916079"/>
                    <a:pt x="317181" y="919712"/>
                  </a:cubicBezTo>
                  <a:cubicBezTo>
                    <a:pt x="318842" y="1042604"/>
                    <a:pt x="464554" y="1141934"/>
                    <a:pt x="644228" y="1141934"/>
                  </a:cubicBezTo>
                  <a:cubicBezTo>
                    <a:pt x="776646" y="1141934"/>
                    <a:pt x="890578" y="1087961"/>
                    <a:pt x="941987" y="1010324"/>
                  </a:cubicBezTo>
                  <a:lnTo>
                    <a:pt x="954762" y="1010324"/>
                  </a:lnTo>
                  <a:cubicBezTo>
                    <a:pt x="1135370" y="1010324"/>
                    <a:pt x="1281705" y="909852"/>
                    <a:pt x="1281705" y="786027"/>
                  </a:cubicBezTo>
                  <a:cubicBezTo>
                    <a:pt x="1281705" y="781252"/>
                    <a:pt x="1281705" y="776478"/>
                    <a:pt x="1281082" y="771807"/>
                  </a:cubicBezTo>
                  <a:cubicBezTo>
                    <a:pt x="1337996" y="747208"/>
                    <a:pt x="1384940" y="710465"/>
                    <a:pt x="1411008" y="664173"/>
                  </a:cubicBezTo>
                  <a:cubicBezTo>
                    <a:pt x="1462937" y="573354"/>
                    <a:pt x="1422744" y="473297"/>
                    <a:pt x="1321171" y="412682"/>
                  </a:cubicBezTo>
                  <a:cubicBezTo>
                    <a:pt x="1321171" y="410191"/>
                    <a:pt x="1321171" y="407804"/>
                    <a:pt x="1321171" y="405313"/>
                  </a:cubicBezTo>
                  <a:cubicBezTo>
                    <a:pt x="1321171" y="281487"/>
                    <a:pt x="1174732" y="181015"/>
                    <a:pt x="994124" y="181015"/>
                  </a:cubicBezTo>
                  <a:cubicBezTo>
                    <a:pt x="984361" y="181015"/>
                    <a:pt x="974703" y="181327"/>
                    <a:pt x="965148" y="181950"/>
                  </a:cubicBezTo>
                  <a:cubicBezTo>
                    <a:pt x="936587" y="78364"/>
                    <a:pt x="803857" y="0"/>
                    <a:pt x="644228" y="0"/>
                  </a:cubicBezTo>
                  <a:close/>
                </a:path>
              </a:pathLst>
            </a:custGeom>
            <a:noFill/>
            <a:ln w="36000" cap="rnd">
              <a:solidFill>
                <a:srgbClr val="231F2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eform 60">
              <a:extLst>
                <a:ext uri="{FF2B5EF4-FFF2-40B4-BE49-F238E27FC236}">
                  <a16:creationId xmlns:a16="http://schemas.microsoft.com/office/drawing/2014/main" id="{9A6096E1-C318-D949-82F5-F5E61228A528}"/>
                </a:ext>
              </a:extLst>
            </p:cNvPr>
            <p:cNvSpPr/>
            <p:nvPr/>
          </p:nvSpPr>
          <p:spPr>
            <a:xfrm>
              <a:off x="4701056" y="2051373"/>
              <a:ext cx="1194241" cy="1071769"/>
            </a:xfrm>
            <a:custGeom>
              <a:avLst/>
              <a:gdLst>
                <a:gd name="connsiteX0" fmla="*/ 536632 w 1194241"/>
                <a:gd name="connsiteY0" fmla="*/ 0 h 1071769"/>
                <a:gd name="connsiteX1" fmla="*/ 264941 w 1194241"/>
                <a:gd name="connsiteY1" fmla="*/ 195754 h 1071769"/>
                <a:gd name="connsiteX2" fmla="*/ 0 w 1194241"/>
                <a:gd name="connsiteY2" fmla="*/ 406143 h 1071769"/>
                <a:gd name="connsiteX3" fmla="*/ 51929 w 1194241"/>
                <a:gd name="connsiteY3" fmla="*/ 529450 h 1071769"/>
                <a:gd name="connsiteX4" fmla="*/ 0 w 1194241"/>
                <a:gd name="connsiteY4" fmla="*/ 652860 h 1071769"/>
                <a:gd name="connsiteX5" fmla="*/ 264317 w 1194241"/>
                <a:gd name="connsiteY5" fmla="*/ 863249 h 1071769"/>
                <a:gd name="connsiteX6" fmla="*/ 536632 w 1194241"/>
                <a:gd name="connsiteY6" fmla="*/ 1071769 h 1071769"/>
                <a:gd name="connsiteX7" fmla="*/ 784747 w 1194241"/>
                <a:gd name="connsiteY7" fmla="*/ 948255 h 1071769"/>
                <a:gd name="connsiteX8" fmla="*/ 795133 w 1194241"/>
                <a:gd name="connsiteY8" fmla="*/ 948255 h 1071769"/>
                <a:gd name="connsiteX9" fmla="*/ 1067655 w 1194241"/>
                <a:gd name="connsiteY9" fmla="*/ 737659 h 1071769"/>
                <a:gd name="connsiteX10" fmla="*/ 1067032 w 1194241"/>
                <a:gd name="connsiteY10" fmla="*/ 724373 h 1071769"/>
                <a:gd name="connsiteX11" fmla="*/ 1175252 w 1194241"/>
                <a:gd name="connsiteY11" fmla="*/ 623382 h 1071769"/>
                <a:gd name="connsiteX12" fmla="*/ 1100370 w 1194241"/>
                <a:gd name="connsiteY12" fmla="*/ 387357 h 1071769"/>
                <a:gd name="connsiteX13" fmla="*/ 1100370 w 1194241"/>
                <a:gd name="connsiteY13" fmla="*/ 380402 h 1071769"/>
                <a:gd name="connsiteX14" fmla="*/ 827848 w 1194241"/>
                <a:gd name="connsiteY14" fmla="*/ 169910 h 1071769"/>
                <a:gd name="connsiteX15" fmla="*/ 803753 w 1194241"/>
                <a:gd name="connsiteY15" fmla="*/ 170740 h 1071769"/>
                <a:gd name="connsiteX16" fmla="*/ 536632 w 1194241"/>
                <a:gd name="connsiteY16" fmla="*/ 0 h 1071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94241" h="1071769">
                  <a:moveTo>
                    <a:pt x="536632" y="0"/>
                  </a:moveTo>
                  <a:cubicBezTo>
                    <a:pt x="392581" y="0"/>
                    <a:pt x="274807" y="86356"/>
                    <a:pt x="264941" y="195754"/>
                  </a:cubicBezTo>
                  <a:cubicBezTo>
                    <a:pt x="117982" y="198868"/>
                    <a:pt x="0" y="291763"/>
                    <a:pt x="0" y="406143"/>
                  </a:cubicBezTo>
                  <a:cubicBezTo>
                    <a:pt x="789" y="452393"/>
                    <a:pt x="19390" y="496558"/>
                    <a:pt x="51929" y="529450"/>
                  </a:cubicBezTo>
                  <a:cubicBezTo>
                    <a:pt x="19380" y="562383"/>
                    <a:pt x="789" y="606578"/>
                    <a:pt x="0" y="652860"/>
                  </a:cubicBezTo>
                  <a:cubicBezTo>
                    <a:pt x="0" y="767032"/>
                    <a:pt x="117671" y="859824"/>
                    <a:pt x="264317" y="863249"/>
                  </a:cubicBezTo>
                  <a:cubicBezTo>
                    <a:pt x="265668" y="978563"/>
                    <a:pt x="387077" y="1071769"/>
                    <a:pt x="536632" y="1071769"/>
                  </a:cubicBezTo>
                  <a:cubicBezTo>
                    <a:pt x="647032" y="1071769"/>
                    <a:pt x="741958" y="1021118"/>
                    <a:pt x="784747" y="948255"/>
                  </a:cubicBezTo>
                  <a:lnTo>
                    <a:pt x="795133" y="948255"/>
                  </a:lnTo>
                  <a:cubicBezTo>
                    <a:pt x="945623" y="948255"/>
                    <a:pt x="1067655" y="854011"/>
                    <a:pt x="1067655" y="737659"/>
                  </a:cubicBezTo>
                  <a:cubicBezTo>
                    <a:pt x="1067655" y="733196"/>
                    <a:pt x="1067655" y="728836"/>
                    <a:pt x="1067032" y="724373"/>
                  </a:cubicBezTo>
                  <a:cubicBezTo>
                    <a:pt x="1113155" y="703397"/>
                    <a:pt x="1151157" y="667931"/>
                    <a:pt x="1175252" y="623382"/>
                  </a:cubicBezTo>
                  <a:cubicBezTo>
                    <a:pt x="1218664" y="538064"/>
                    <a:pt x="1185118" y="444132"/>
                    <a:pt x="1100370" y="387357"/>
                  </a:cubicBezTo>
                  <a:cubicBezTo>
                    <a:pt x="1100370" y="385073"/>
                    <a:pt x="1100370" y="382686"/>
                    <a:pt x="1100370" y="380402"/>
                  </a:cubicBezTo>
                  <a:cubicBezTo>
                    <a:pt x="1100370" y="264154"/>
                    <a:pt x="978338" y="169910"/>
                    <a:pt x="827848" y="169910"/>
                  </a:cubicBezTo>
                  <a:cubicBezTo>
                    <a:pt x="819747" y="169910"/>
                    <a:pt x="811750" y="169910"/>
                    <a:pt x="803753" y="170740"/>
                  </a:cubicBezTo>
                  <a:cubicBezTo>
                    <a:pt x="780282" y="73589"/>
                    <a:pt x="670193" y="0"/>
                    <a:pt x="536632" y="0"/>
                  </a:cubicBezTo>
                  <a:close/>
                </a:path>
              </a:pathLst>
            </a:custGeom>
            <a:noFill/>
            <a:ln w="33406" cap="rnd">
              <a:solidFill>
                <a:srgbClr val="231F2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eform 61">
              <a:extLst>
                <a:ext uri="{FF2B5EF4-FFF2-40B4-BE49-F238E27FC236}">
                  <a16:creationId xmlns:a16="http://schemas.microsoft.com/office/drawing/2014/main" id="{5CD2809F-104C-AE4A-AE88-A9A9DC8FBFEE}"/>
                </a:ext>
              </a:extLst>
            </p:cNvPr>
            <p:cNvSpPr/>
            <p:nvPr/>
          </p:nvSpPr>
          <p:spPr>
            <a:xfrm>
              <a:off x="5905180" y="2808655"/>
              <a:ext cx="788070" cy="474951"/>
            </a:xfrm>
            <a:custGeom>
              <a:avLst/>
              <a:gdLst>
                <a:gd name="connsiteX0" fmla="*/ 788071 w 788070"/>
                <a:gd name="connsiteY0" fmla="*/ 474951 h 474951"/>
                <a:gd name="connsiteX1" fmla="*/ 0 w 788070"/>
                <a:gd name="connsiteY1" fmla="*/ 19091 h 474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88070" h="474951">
                  <a:moveTo>
                    <a:pt x="788071" y="474951"/>
                  </a:moveTo>
                  <a:cubicBezTo>
                    <a:pt x="788071" y="474951"/>
                    <a:pt x="454688" y="-112000"/>
                    <a:pt x="0" y="19091"/>
                  </a:cubicBezTo>
                </a:path>
              </a:pathLst>
            </a:custGeom>
            <a:noFill/>
            <a:ln w="20749" cap="rnd">
              <a:solidFill>
                <a:srgbClr val="231F20"/>
              </a:solidFill>
              <a:custDash>
                <a:ds d="150000" sp="450000"/>
              </a:custDash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 62">
              <a:extLst>
                <a:ext uri="{FF2B5EF4-FFF2-40B4-BE49-F238E27FC236}">
                  <a16:creationId xmlns:a16="http://schemas.microsoft.com/office/drawing/2014/main" id="{6300392D-FF82-F843-B8E7-EB072D5704B9}"/>
                </a:ext>
              </a:extLst>
            </p:cNvPr>
            <p:cNvSpPr/>
            <p:nvPr/>
          </p:nvSpPr>
          <p:spPr>
            <a:xfrm>
              <a:off x="8886514" y="1395918"/>
              <a:ext cx="485118" cy="529977"/>
            </a:xfrm>
            <a:custGeom>
              <a:avLst/>
              <a:gdLst>
                <a:gd name="connsiteX0" fmla="*/ 460089 w 485118"/>
                <a:gd name="connsiteY0" fmla="*/ 212257 h 529977"/>
                <a:gd name="connsiteX1" fmla="*/ 457493 w 485118"/>
                <a:gd name="connsiteY1" fmla="*/ 210078 h 529977"/>
                <a:gd name="connsiteX2" fmla="*/ 403902 w 485118"/>
                <a:gd name="connsiteY2" fmla="*/ 167211 h 529977"/>
                <a:gd name="connsiteX3" fmla="*/ 403902 w 485118"/>
                <a:gd name="connsiteY3" fmla="*/ 0 h 529977"/>
                <a:gd name="connsiteX4" fmla="*/ 346261 w 485118"/>
                <a:gd name="connsiteY4" fmla="*/ 0 h 529977"/>
                <a:gd name="connsiteX5" fmla="*/ 346261 w 485118"/>
                <a:gd name="connsiteY5" fmla="*/ 11521 h 529977"/>
                <a:gd name="connsiteX6" fmla="*/ 323205 w 485118"/>
                <a:gd name="connsiteY6" fmla="*/ 34563 h 529977"/>
                <a:gd name="connsiteX7" fmla="*/ 300148 w 485118"/>
                <a:gd name="connsiteY7" fmla="*/ 11521 h 529977"/>
                <a:gd name="connsiteX8" fmla="*/ 300148 w 485118"/>
                <a:gd name="connsiteY8" fmla="*/ 0 h 529977"/>
                <a:gd name="connsiteX9" fmla="*/ 265148 w 485118"/>
                <a:gd name="connsiteY9" fmla="*/ 0 h 529977"/>
                <a:gd name="connsiteX10" fmla="*/ 265148 w 485118"/>
                <a:gd name="connsiteY10" fmla="*/ 11521 h 529977"/>
                <a:gd name="connsiteX11" fmla="*/ 242092 w 485118"/>
                <a:gd name="connsiteY11" fmla="*/ 34563 h 529977"/>
                <a:gd name="connsiteX12" fmla="*/ 219035 w 485118"/>
                <a:gd name="connsiteY12" fmla="*/ 11521 h 529977"/>
                <a:gd name="connsiteX13" fmla="*/ 219035 w 485118"/>
                <a:gd name="connsiteY13" fmla="*/ 0 h 529977"/>
                <a:gd name="connsiteX14" fmla="*/ 184451 w 485118"/>
                <a:gd name="connsiteY14" fmla="*/ 0 h 529977"/>
                <a:gd name="connsiteX15" fmla="*/ 184451 w 485118"/>
                <a:gd name="connsiteY15" fmla="*/ 11521 h 529977"/>
                <a:gd name="connsiteX16" fmla="*/ 161395 w 485118"/>
                <a:gd name="connsiteY16" fmla="*/ 34563 h 529977"/>
                <a:gd name="connsiteX17" fmla="*/ 138338 w 485118"/>
                <a:gd name="connsiteY17" fmla="*/ 11521 h 529977"/>
                <a:gd name="connsiteX18" fmla="*/ 138338 w 485118"/>
                <a:gd name="connsiteY18" fmla="*/ 0 h 529977"/>
                <a:gd name="connsiteX19" fmla="*/ 80697 w 485118"/>
                <a:gd name="connsiteY19" fmla="*/ 0 h 529977"/>
                <a:gd name="connsiteX20" fmla="*/ 80697 w 485118"/>
                <a:gd name="connsiteY20" fmla="*/ 167211 h 529977"/>
                <a:gd name="connsiteX21" fmla="*/ 27003 w 485118"/>
                <a:gd name="connsiteY21" fmla="*/ 210078 h 529977"/>
                <a:gd name="connsiteX22" fmla="*/ 24407 w 485118"/>
                <a:gd name="connsiteY22" fmla="*/ 212257 h 529977"/>
                <a:gd name="connsiteX23" fmla="*/ 0 w 485118"/>
                <a:gd name="connsiteY23" fmla="*/ 253775 h 529977"/>
                <a:gd name="connsiteX24" fmla="*/ 0 w 485118"/>
                <a:gd name="connsiteY24" fmla="*/ 484196 h 529977"/>
                <a:gd name="connsiteX25" fmla="*/ 46414 w 485118"/>
                <a:gd name="connsiteY25" fmla="*/ 529977 h 529977"/>
                <a:gd name="connsiteX26" fmla="*/ 47047 w 485118"/>
                <a:gd name="connsiteY26" fmla="*/ 529969 h 529977"/>
                <a:gd name="connsiteX27" fmla="*/ 439006 w 485118"/>
                <a:gd name="connsiteY27" fmla="*/ 529969 h 529977"/>
                <a:gd name="connsiteX28" fmla="*/ 485118 w 485118"/>
                <a:gd name="connsiteY28" fmla="*/ 483884 h 529977"/>
                <a:gd name="connsiteX29" fmla="*/ 485118 w 485118"/>
                <a:gd name="connsiteY29" fmla="*/ 253463 h 529977"/>
                <a:gd name="connsiteX30" fmla="*/ 460089 w 485118"/>
                <a:gd name="connsiteY30" fmla="*/ 212257 h 529977"/>
                <a:gd name="connsiteX31" fmla="*/ 117359 w 485118"/>
                <a:gd name="connsiteY31" fmla="*/ 23042 h 529977"/>
                <a:gd name="connsiteX32" fmla="*/ 173463 w 485118"/>
                <a:gd name="connsiteY32" fmla="*/ 55971 h 529977"/>
                <a:gd name="connsiteX33" fmla="*/ 202315 w 485118"/>
                <a:gd name="connsiteY33" fmla="*/ 33421 h 529977"/>
                <a:gd name="connsiteX34" fmla="*/ 264774 w 485118"/>
                <a:gd name="connsiteY34" fmla="*/ 51650 h 529977"/>
                <a:gd name="connsiteX35" fmla="*/ 283011 w 485118"/>
                <a:gd name="connsiteY35" fmla="*/ 33421 h 529977"/>
                <a:gd name="connsiteX36" fmla="*/ 345586 w 485118"/>
                <a:gd name="connsiteY36" fmla="*/ 51758 h 529977"/>
                <a:gd name="connsiteX37" fmla="*/ 368071 w 485118"/>
                <a:gd name="connsiteY37" fmla="*/ 23042 h 529977"/>
                <a:gd name="connsiteX38" fmla="*/ 381053 w 485118"/>
                <a:gd name="connsiteY38" fmla="*/ 23042 h 529977"/>
                <a:gd name="connsiteX39" fmla="*/ 381053 w 485118"/>
                <a:gd name="connsiteY39" fmla="*/ 306294 h 529977"/>
                <a:gd name="connsiteX40" fmla="*/ 315935 w 485118"/>
                <a:gd name="connsiteY40" fmla="*/ 371372 h 529977"/>
                <a:gd name="connsiteX41" fmla="*/ 265148 w 485118"/>
                <a:gd name="connsiteY41" fmla="*/ 391612 h 529977"/>
                <a:gd name="connsiteX42" fmla="*/ 219451 w 485118"/>
                <a:gd name="connsiteY42" fmla="*/ 391612 h 529977"/>
                <a:gd name="connsiteX43" fmla="*/ 169911 w 485118"/>
                <a:gd name="connsiteY43" fmla="*/ 371891 h 529977"/>
                <a:gd name="connsiteX44" fmla="*/ 104169 w 485118"/>
                <a:gd name="connsiteY44" fmla="*/ 306190 h 529977"/>
                <a:gd name="connsiteX45" fmla="*/ 104169 w 485118"/>
                <a:gd name="connsiteY45" fmla="*/ 23042 h 529977"/>
                <a:gd name="connsiteX46" fmla="*/ 461750 w 485118"/>
                <a:gd name="connsiteY46" fmla="*/ 483884 h 529977"/>
                <a:gd name="connsiteX47" fmla="*/ 438694 w 485118"/>
                <a:gd name="connsiteY47" fmla="*/ 506926 h 529977"/>
                <a:gd name="connsiteX48" fmla="*/ 47047 w 485118"/>
                <a:gd name="connsiteY48" fmla="*/ 506926 h 529977"/>
                <a:gd name="connsiteX49" fmla="*/ 23991 w 485118"/>
                <a:gd name="connsiteY49" fmla="*/ 483884 h 529977"/>
                <a:gd name="connsiteX50" fmla="*/ 23991 w 485118"/>
                <a:gd name="connsiteY50" fmla="*/ 253463 h 529977"/>
                <a:gd name="connsiteX51" fmla="*/ 40193 w 485118"/>
                <a:gd name="connsiteY51" fmla="*/ 229902 h 529977"/>
                <a:gd name="connsiteX52" fmla="*/ 42997 w 485118"/>
                <a:gd name="connsiteY52" fmla="*/ 227619 h 529977"/>
                <a:gd name="connsiteX53" fmla="*/ 81632 w 485118"/>
                <a:gd name="connsiteY53" fmla="*/ 196481 h 529977"/>
                <a:gd name="connsiteX54" fmla="*/ 81632 w 485118"/>
                <a:gd name="connsiteY54" fmla="*/ 283148 h 529977"/>
                <a:gd name="connsiteX55" fmla="*/ 54629 w 485118"/>
                <a:gd name="connsiteY55" fmla="*/ 256681 h 529977"/>
                <a:gd name="connsiteX56" fmla="*/ 38323 w 485118"/>
                <a:gd name="connsiteY56" fmla="*/ 272976 h 529977"/>
                <a:gd name="connsiteX57" fmla="*/ 133976 w 485118"/>
                <a:gd name="connsiteY57" fmla="*/ 368570 h 529977"/>
                <a:gd name="connsiteX58" fmla="*/ 38323 w 485118"/>
                <a:gd name="connsiteY58" fmla="*/ 464267 h 529977"/>
                <a:gd name="connsiteX59" fmla="*/ 54629 w 485118"/>
                <a:gd name="connsiteY59" fmla="*/ 480563 h 529977"/>
                <a:gd name="connsiteX60" fmla="*/ 150282 w 485118"/>
                <a:gd name="connsiteY60" fmla="*/ 384969 h 529977"/>
                <a:gd name="connsiteX61" fmla="*/ 154228 w 485118"/>
                <a:gd name="connsiteY61" fmla="*/ 389017 h 529977"/>
                <a:gd name="connsiteX62" fmla="*/ 219451 w 485118"/>
                <a:gd name="connsiteY62" fmla="*/ 414862 h 529977"/>
                <a:gd name="connsiteX63" fmla="*/ 265148 w 485118"/>
                <a:gd name="connsiteY63" fmla="*/ 414862 h 529977"/>
                <a:gd name="connsiteX64" fmla="*/ 330890 w 485118"/>
                <a:gd name="connsiteY64" fmla="*/ 388395 h 529977"/>
                <a:gd name="connsiteX65" fmla="*/ 334317 w 485118"/>
                <a:gd name="connsiteY65" fmla="*/ 385073 h 529977"/>
                <a:gd name="connsiteX66" fmla="*/ 429866 w 485118"/>
                <a:gd name="connsiteY66" fmla="*/ 480563 h 529977"/>
                <a:gd name="connsiteX67" fmla="*/ 446587 w 485118"/>
                <a:gd name="connsiteY67" fmla="*/ 464267 h 529977"/>
                <a:gd name="connsiteX68" fmla="*/ 351039 w 485118"/>
                <a:gd name="connsiteY68" fmla="*/ 368778 h 529977"/>
                <a:gd name="connsiteX69" fmla="*/ 446587 w 485118"/>
                <a:gd name="connsiteY69" fmla="*/ 273184 h 529977"/>
                <a:gd name="connsiteX70" fmla="*/ 430282 w 485118"/>
                <a:gd name="connsiteY70" fmla="*/ 256681 h 529977"/>
                <a:gd name="connsiteX71" fmla="*/ 403902 w 485118"/>
                <a:gd name="connsiteY71" fmla="*/ 283148 h 529977"/>
                <a:gd name="connsiteX72" fmla="*/ 403902 w 485118"/>
                <a:gd name="connsiteY72" fmla="*/ 196584 h 529977"/>
                <a:gd name="connsiteX73" fmla="*/ 442433 w 485118"/>
                <a:gd name="connsiteY73" fmla="*/ 227722 h 529977"/>
                <a:gd name="connsiteX74" fmla="*/ 445237 w 485118"/>
                <a:gd name="connsiteY74" fmla="*/ 230006 h 529977"/>
                <a:gd name="connsiteX75" fmla="*/ 461543 w 485118"/>
                <a:gd name="connsiteY75" fmla="*/ 253567 h 529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</a:cxnLst>
              <a:rect l="l" t="t" r="r" b="b"/>
              <a:pathLst>
                <a:path w="485118" h="529977">
                  <a:moveTo>
                    <a:pt x="460089" y="212257"/>
                  </a:moveTo>
                  <a:lnTo>
                    <a:pt x="457493" y="210078"/>
                  </a:lnTo>
                  <a:cubicBezTo>
                    <a:pt x="449080" y="202916"/>
                    <a:pt x="415950" y="176656"/>
                    <a:pt x="403902" y="167211"/>
                  </a:cubicBezTo>
                  <a:lnTo>
                    <a:pt x="403902" y="0"/>
                  </a:lnTo>
                  <a:lnTo>
                    <a:pt x="346261" y="0"/>
                  </a:lnTo>
                  <a:lnTo>
                    <a:pt x="346261" y="11521"/>
                  </a:lnTo>
                  <a:cubicBezTo>
                    <a:pt x="346261" y="24247"/>
                    <a:pt x="335937" y="34563"/>
                    <a:pt x="323205" y="34563"/>
                  </a:cubicBezTo>
                  <a:cubicBezTo>
                    <a:pt x="310472" y="34563"/>
                    <a:pt x="300148" y="24247"/>
                    <a:pt x="300148" y="11521"/>
                  </a:cubicBezTo>
                  <a:lnTo>
                    <a:pt x="300148" y="0"/>
                  </a:lnTo>
                  <a:lnTo>
                    <a:pt x="265148" y="0"/>
                  </a:lnTo>
                  <a:lnTo>
                    <a:pt x="265148" y="11521"/>
                  </a:lnTo>
                  <a:cubicBezTo>
                    <a:pt x="265148" y="24247"/>
                    <a:pt x="254825" y="34563"/>
                    <a:pt x="242092" y="34563"/>
                  </a:cubicBezTo>
                  <a:cubicBezTo>
                    <a:pt x="229359" y="34563"/>
                    <a:pt x="219035" y="24247"/>
                    <a:pt x="219035" y="11521"/>
                  </a:cubicBezTo>
                  <a:lnTo>
                    <a:pt x="219035" y="0"/>
                  </a:lnTo>
                  <a:lnTo>
                    <a:pt x="184451" y="0"/>
                  </a:lnTo>
                  <a:lnTo>
                    <a:pt x="184451" y="11521"/>
                  </a:lnTo>
                  <a:cubicBezTo>
                    <a:pt x="184451" y="24247"/>
                    <a:pt x="174128" y="34563"/>
                    <a:pt x="161395" y="34563"/>
                  </a:cubicBezTo>
                  <a:cubicBezTo>
                    <a:pt x="148662" y="34563"/>
                    <a:pt x="138338" y="24247"/>
                    <a:pt x="138338" y="11521"/>
                  </a:cubicBezTo>
                  <a:lnTo>
                    <a:pt x="138338" y="0"/>
                  </a:lnTo>
                  <a:lnTo>
                    <a:pt x="80697" y="0"/>
                  </a:lnTo>
                  <a:lnTo>
                    <a:pt x="80697" y="167211"/>
                  </a:lnTo>
                  <a:cubicBezTo>
                    <a:pt x="68650" y="176656"/>
                    <a:pt x="35519" y="202916"/>
                    <a:pt x="27003" y="210078"/>
                  </a:cubicBezTo>
                  <a:lnTo>
                    <a:pt x="24407" y="212257"/>
                  </a:lnTo>
                  <a:cubicBezTo>
                    <a:pt x="14021" y="220976"/>
                    <a:pt x="0" y="233016"/>
                    <a:pt x="0" y="253775"/>
                  </a:cubicBezTo>
                  <a:lnTo>
                    <a:pt x="0" y="484196"/>
                  </a:lnTo>
                  <a:cubicBezTo>
                    <a:pt x="166" y="509647"/>
                    <a:pt x="20948" y="530144"/>
                    <a:pt x="46414" y="529977"/>
                  </a:cubicBezTo>
                  <a:cubicBezTo>
                    <a:pt x="46622" y="529976"/>
                    <a:pt x="46840" y="529973"/>
                    <a:pt x="47047" y="529969"/>
                  </a:cubicBezTo>
                  <a:lnTo>
                    <a:pt x="439006" y="529969"/>
                  </a:lnTo>
                  <a:cubicBezTo>
                    <a:pt x="464451" y="529911"/>
                    <a:pt x="485056" y="509313"/>
                    <a:pt x="485118" y="483884"/>
                  </a:cubicBezTo>
                  <a:lnTo>
                    <a:pt x="485118" y="253463"/>
                  </a:lnTo>
                  <a:cubicBezTo>
                    <a:pt x="484599" y="232912"/>
                    <a:pt x="470371" y="220976"/>
                    <a:pt x="460089" y="212257"/>
                  </a:cubicBezTo>
                  <a:close/>
                  <a:moveTo>
                    <a:pt x="117359" y="23042"/>
                  </a:moveTo>
                  <a:cubicBezTo>
                    <a:pt x="123756" y="47619"/>
                    <a:pt x="148870" y="62362"/>
                    <a:pt x="173463" y="55971"/>
                  </a:cubicBezTo>
                  <a:cubicBezTo>
                    <a:pt x="185791" y="52769"/>
                    <a:pt x="196239" y="44604"/>
                    <a:pt x="202315" y="33421"/>
                  </a:cubicBezTo>
                  <a:cubicBezTo>
                    <a:pt x="214528" y="55691"/>
                    <a:pt x="242486" y="63853"/>
                    <a:pt x="264774" y="51650"/>
                  </a:cubicBezTo>
                  <a:cubicBezTo>
                    <a:pt x="272470" y="47437"/>
                    <a:pt x="278795" y="41111"/>
                    <a:pt x="283011" y="33421"/>
                  </a:cubicBezTo>
                  <a:cubicBezTo>
                    <a:pt x="295225" y="55755"/>
                    <a:pt x="323246" y="63965"/>
                    <a:pt x="345586" y="51758"/>
                  </a:cubicBezTo>
                  <a:cubicBezTo>
                    <a:pt x="356720" y="45681"/>
                    <a:pt x="364841" y="35296"/>
                    <a:pt x="368071" y="23042"/>
                  </a:cubicBezTo>
                  <a:lnTo>
                    <a:pt x="381053" y="23042"/>
                  </a:lnTo>
                  <a:lnTo>
                    <a:pt x="381053" y="306294"/>
                  </a:lnTo>
                  <a:lnTo>
                    <a:pt x="315935" y="371372"/>
                  </a:lnTo>
                  <a:cubicBezTo>
                    <a:pt x="302579" y="384921"/>
                    <a:pt x="284164" y="392261"/>
                    <a:pt x="265148" y="391612"/>
                  </a:cubicBezTo>
                  <a:lnTo>
                    <a:pt x="219451" y="391612"/>
                  </a:lnTo>
                  <a:cubicBezTo>
                    <a:pt x="200923" y="392149"/>
                    <a:pt x="182997" y="385012"/>
                    <a:pt x="169911" y="371891"/>
                  </a:cubicBezTo>
                  <a:lnTo>
                    <a:pt x="104169" y="306190"/>
                  </a:lnTo>
                  <a:lnTo>
                    <a:pt x="104169" y="23042"/>
                  </a:lnTo>
                  <a:close/>
                  <a:moveTo>
                    <a:pt x="461750" y="483884"/>
                  </a:moveTo>
                  <a:cubicBezTo>
                    <a:pt x="461688" y="496587"/>
                    <a:pt x="451407" y="506869"/>
                    <a:pt x="438694" y="506926"/>
                  </a:cubicBezTo>
                  <a:lnTo>
                    <a:pt x="47047" y="506926"/>
                  </a:lnTo>
                  <a:cubicBezTo>
                    <a:pt x="34314" y="506926"/>
                    <a:pt x="23991" y="496610"/>
                    <a:pt x="23991" y="483884"/>
                  </a:cubicBezTo>
                  <a:lnTo>
                    <a:pt x="23991" y="253463"/>
                  </a:lnTo>
                  <a:cubicBezTo>
                    <a:pt x="23991" y="244329"/>
                    <a:pt x="30119" y="238517"/>
                    <a:pt x="40193" y="229902"/>
                  </a:cubicBezTo>
                  <a:lnTo>
                    <a:pt x="42997" y="227619"/>
                  </a:lnTo>
                  <a:cubicBezTo>
                    <a:pt x="48709" y="222740"/>
                    <a:pt x="67196" y="208002"/>
                    <a:pt x="81632" y="196481"/>
                  </a:cubicBezTo>
                  <a:lnTo>
                    <a:pt x="81632" y="283148"/>
                  </a:lnTo>
                  <a:lnTo>
                    <a:pt x="54629" y="256681"/>
                  </a:lnTo>
                  <a:lnTo>
                    <a:pt x="38323" y="272976"/>
                  </a:lnTo>
                  <a:lnTo>
                    <a:pt x="133976" y="368570"/>
                  </a:lnTo>
                  <a:lnTo>
                    <a:pt x="38323" y="464267"/>
                  </a:lnTo>
                  <a:lnTo>
                    <a:pt x="54629" y="480563"/>
                  </a:lnTo>
                  <a:lnTo>
                    <a:pt x="150282" y="384969"/>
                  </a:lnTo>
                  <a:lnTo>
                    <a:pt x="154228" y="389017"/>
                  </a:lnTo>
                  <a:cubicBezTo>
                    <a:pt x="171666" y="405951"/>
                    <a:pt x="195138" y="415251"/>
                    <a:pt x="219451" y="414862"/>
                  </a:cubicBezTo>
                  <a:lnTo>
                    <a:pt x="265148" y="414862"/>
                  </a:lnTo>
                  <a:cubicBezTo>
                    <a:pt x="289721" y="415166"/>
                    <a:pt x="313390" y="405636"/>
                    <a:pt x="330890" y="388395"/>
                  </a:cubicBezTo>
                  <a:lnTo>
                    <a:pt x="334317" y="385073"/>
                  </a:lnTo>
                  <a:lnTo>
                    <a:pt x="429866" y="480563"/>
                  </a:lnTo>
                  <a:lnTo>
                    <a:pt x="446587" y="464267"/>
                  </a:lnTo>
                  <a:lnTo>
                    <a:pt x="351039" y="368778"/>
                  </a:lnTo>
                  <a:lnTo>
                    <a:pt x="446587" y="273184"/>
                  </a:lnTo>
                  <a:lnTo>
                    <a:pt x="430282" y="256681"/>
                  </a:lnTo>
                  <a:lnTo>
                    <a:pt x="403902" y="283148"/>
                  </a:lnTo>
                  <a:lnTo>
                    <a:pt x="403902" y="196584"/>
                  </a:lnTo>
                  <a:cubicBezTo>
                    <a:pt x="418338" y="208002"/>
                    <a:pt x="436721" y="222740"/>
                    <a:pt x="442433" y="227722"/>
                  </a:cubicBezTo>
                  <a:lnTo>
                    <a:pt x="445237" y="230006"/>
                  </a:lnTo>
                  <a:cubicBezTo>
                    <a:pt x="455623" y="238621"/>
                    <a:pt x="461543" y="244433"/>
                    <a:pt x="461543" y="253567"/>
                  </a:cubicBezTo>
                  <a:close/>
                </a:path>
              </a:pathLst>
            </a:custGeom>
            <a:solidFill>
              <a:srgbClr val="040407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4" name="Freeform 383">
              <a:extLst>
                <a:ext uri="{FF2B5EF4-FFF2-40B4-BE49-F238E27FC236}">
                  <a16:creationId xmlns:a16="http://schemas.microsoft.com/office/drawing/2014/main" id="{4268134A-F601-294C-A0A4-431C19A6DFE1}"/>
                </a:ext>
              </a:extLst>
            </p:cNvPr>
            <p:cNvSpPr/>
            <p:nvPr/>
          </p:nvSpPr>
          <p:spPr>
            <a:xfrm>
              <a:off x="9082908" y="1511129"/>
              <a:ext cx="92225" cy="218900"/>
            </a:xfrm>
            <a:custGeom>
              <a:avLst/>
              <a:gdLst>
                <a:gd name="connsiteX0" fmla="*/ 57641 w 92225"/>
                <a:gd name="connsiteY0" fmla="*/ 161295 h 218900"/>
                <a:gd name="connsiteX1" fmla="*/ 34585 w 92225"/>
                <a:gd name="connsiteY1" fmla="*/ 161295 h 218900"/>
                <a:gd name="connsiteX2" fmla="*/ 23056 w 92225"/>
                <a:gd name="connsiteY2" fmla="*/ 149774 h 218900"/>
                <a:gd name="connsiteX3" fmla="*/ 0 w 92225"/>
                <a:gd name="connsiteY3" fmla="*/ 149774 h 218900"/>
                <a:gd name="connsiteX4" fmla="*/ 34585 w 92225"/>
                <a:gd name="connsiteY4" fmla="*/ 184337 h 218900"/>
                <a:gd name="connsiteX5" fmla="*/ 34585 w 92225"/>
                <a:gd name="connsiteY5" fmla="*/ 218900 h 218900"/>
                <a:gd name="connsiteX6" fmla="*/ 57641 w 92225"/>
                <a:gd name="connsiteY6" fmla="*/ 218900 h 218900"/>
                <a:gd name="connsiteX7" fmla="*/ 57641 w 92225"/>
                <a:gd name="connsiteY7" fmla="*/ 184337 h 218900"/>
                <a:gd name="connsiteX8" fmla="*/ 92226 w 92225"/>
                <a:gd name="connsiteY8" fmla="*/ 149774 h 218900"/>
                <a:gd name="connsiteX9" fmla="*/ 92226 w 92225"/>
                <a:gd name="connsiteY9" fmla="*/ 131817 h 218900"/>
                <a:gd name="connsiteX10" fmla="*/ 68754 w 92225"/>
                <a:gd name="connsiteY10" fmla="*/ 99019 h 218900"/>
                <a:gd name="connsiteX11" fmla="*/ 31053 w 92225"/>
                <a:gd name="connsiteY11" fmla="*/ 86460 h 218900"/>
                <a:gd name="connsiteX12" fmla="*/ 23264 w 92225"/>
                <a:gd name="connsiteY12" fmla="*/ 75562 h 218900"/>
                <a:gd name="connsiteX13" fmla="*/ 23264 w 92225"/>
                <a:gd name="connsiteY13" fmla="*/ 68815 h 218900"/>
                <a:gd name="connsiteX14" fmla="*/ 34585 w 92225"/>
                <a:gd name="connsiteY14" fmla="*/ 57294 h 218900"/>
                <a:gd name="connsiteX15" fmla="*/ 34792 w 92225"/>
                <a:gd name="connsiteY15" fmla="*/ 57294 h 218900"/>
                <a:gd name="connsiteX16" fmla="*/ 57849 w 92225"/>
                <a:gd name="connsiteY16" fmla="*/ 57294 h 218900"/>
                <a:gd name="connsiteX17" fmla="*/ 68754 w 92225"/>
                <a:gd name="connsiteY17" fmla="*/ 68815 h 218900"/>
                <a:gd name="connsiteX18" fmla="*/ 91810 w 92225"/>
                <a:gd name="connsiteY18" fmla="*/ 68815 h 218900"/>
                <a:gd name="connsiteX19" fmla="*/ 57226 w 92225"/>
                <a:gd name="connsiteY19" fmla="*/ 34252 h 218900"/>
                <a:gd name="connsiteX20" fmla="*/ 57226 w 92225"/>
                <a:gd name="connsiteY20" fmla="*/ 0 h 218900"/>
                <a:gd name="connsiteX21" fmla="*/ 34169 w 92225"/>
                <a:gd name="connsiteY21" fmla="*/ 0 h 218900"/>
                <a:gd name="connsiteX22" fmla="*/ 34169 w 92225"/>
                <a:gd name="connsiteY22" fmla="*/ 34563 h 218900"/>
                <a:gd name="connsiteX23" fmla="*/ 0 w 92225"/>
                <a:gd name="connsiteY23" fmla="*/ 68815 h 218900"/>
                <a:gd name="connsiteX24" fmla="*/ 0 w 92225"/>
                <a:gd name="connsiteY24" fmla="*/ 75250 h 218900"/>
                <a:gd name="connsiteX25" fmla="*/ 23576 w 92225"/>
                <a:gd name="connsiteY25" fmla="*/ 108049 h 218900"/>
                <a:gd name="connsiteX26" fmla="*/ 61276 w 92225"/>
                <a:gd name="connsiteY26" fmla="*/ 120504 h 218900"/>
                <a:gd name="connsiteX27" fmla="*/ 69169 w 92225"/>
                <a:gd name="connsiteY27" fmla="*/ 131506 h 218900"/>
                <a:gd name="connsiteX28" fmla="*/ 69169 w 92225"/>
                <a:gd name="connsiteY28" fmla="*/ 149774 h 218900"/>
                <a:gd name="connsiteX29" fmla="*/ 57641 w 92225"/>
                <a:gd name="connsiteY29" fmla="*/ 161295 h 218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2225" h="218900">
                  <a:moveTo>
                    <a:pt x="57641" y="161295"/>
                  </a:moveTo>
                  <a:lnTo>
                    <a:pt x="34585" y="161295"/>
                  </a:lnTo>
                  <a:cubicBezTo>
                    <a:pt x="28218" y="161295"/>
                    <a:pt x="23056" y="156136"/>
                    <a:pt x="23056" y="149774"/>
                  </a:cubicBezTo>
                  <a:lnTo>
                    <a:pt x="0" y="149774"/>
                  </a:lnTo>
                  <a:cubicBezTo>
                    <a:pt x="52" y="168839"/>
                    <a:pt x="15506" y="184280"/>
                    <a:pt x="34585" y="184337"/>
                  </a:cubicBezTo>
                  <a:lnTo>
                    <a:pt x="34585" y="218900"/>
                  </a:lnTo>
                  <a:lnTo>
                    <a:pt x="57641" y="218900"/>
                  </a:lnTo>
                  <a:lnTo>
                    <a:pt x="57641" y="184337"/>
                  </a:lnTo>
                  <a:cubicBezTo>
                    <a:pt x="76720" y="184280"/>
                    <a:pt x="92174" y="168839"/>
                    <a:pt x="92226" y="149774"/>
                  </a:cubicBezTo>
                  <a:lnTo>
                    <a:pt x="92226" y="131817"/>
                  </a:lnTo>
                  <a:cubicBezTo>
                    <a:pt x="92288" y="116973"/>
                    <a:pt x="82826" y="103758"/>
                    <a:pt x="68754" y="99019"/>
                  </a:cubicBezTo>
                  <a:lnTo>
                    <a:pt x="31053" y="86460"/>
                  </a:lnTo>
                  <a:cubicBezTo>
                    <a:pt x="26390" y="84863"/>
                    <a:pt x="23264" y="80484"/>
                    <a:pt x="23264" y="75562"/>
                  </a:cubicBezTo>
                  <a:lnTo>
                    <a:pt x="23264" y="68815"/>
                  </a:lnTo>
                  <a:cubicBezTo>
                    <a:pt x="23202" y="62510"/>
                    <a:pt x="28270" y="57351"/>
                    <a:pt x="34585" y="57294"/>
                  </a:cubicBezTo>
                  <a:cubicBezTo>
                    <a:pt x="34657" y="57293"/>
                    <a:pt x="34720" y="57293"/>
                    <a:pt x="34792" y="57294"/>
                  </a:cubicBezTo>
                  <a:lnTo>
                    <a:pt x="57849" y="57294"/>
                  </a:lnTo>
                  <a:cubicBezTo>
                    <a:pt x="63966" y="57625"/>
                    <a:pt x="68764" y="62687"/>
                    <a:pt x="68754" y="68815"/>
                  </a:cubicBezTo>
                  <a:lnTo>
                    <a:pt x="91810" y="68815"/>
                  </a:lnTo>
                  <a:cubicBezTo>
                    <a:pt x="91748" y="49750"/>
                    <a:pt x="76304" y="34309"/>
                    <a:pt x="57226" y="34252"/>
                  </a:cubicBezTo>
                  <a:lnTo>
                    <a:pt x="57226" y="0"/>
                  </a:lnTo>
                  <a:lnTo>
                    <a:pt x="34169" y="0"/>
                  </a:lnTo>
                  <a:lnTo>
                    <a:pt x="34169" y="34563"/>
                  </a:lnTo>
                  <a:cubicBezTo>
                    <a:pt x="15350" y="34788"/>
                    <a:pt x="166" y="50009"/>
                    <a:pt x="0" y="68815"/>
                  </a:cubicBezTo>
                  <a:lnTo>
                    <a:pt x="0" y="75250"/>
                  </a:lnTo>
                  <a:cubicBezTo>
                    <a:pt x="-10" y="90111"/>
                    <a:pt x="9482" y="103318"/>
                    <a:pt x="23576" y="108049"/>
                  </a:cubicBezTo>
                  <a:lnTo>
                    <a:pt x="61276" y="120504"/>
                  </a:lnTo>
                  <a:cubicBezTo>
                    <a:pt x="65991" y="122105"/>
                    <a:pt x="69169" y="126528"/>
                    <a:pt x="69169" y="131506"/>
                  </a:cubicBezTo>
                  <a:lnTo>
                    <a:pt x="69169" y="149774"/>
                  </a:lnTo>
                  <a:cubicBezTo>
                    <a:pt x="69169" y="156136"/>
                    <a:pt x="64008" y="161295"/>
                    <a:pt x="57641" y="161295"/>
                  </a:cubicBezTo>
                  <a:close/>
                </a:path>
              </a:pathLst>
            </a:custGeom>
            <a:solidFill>
              <a:srgbClr val="040407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5" name="Freeform 384">
              <a:extLst>
                <a:ext uri="{FF2B5EF4-FFF2-40B4-BE49-F238E27FC236}">
                  <a16:creationId xmlns:a16="http://schemas.microsoft.com/office/drawing/2014/main" id="{ABB6235B-1046-D44C-8753-4EB2ECB3DF8D}"/>
                </a:ext>
              </a:extLst>
            </p:cNvPr>
            <p:cNvSpPr/>
            <p:nvPr/>
          </p:nvSpPr>
          <p:spPr>
            <a:xfrm>
              <a:off x="10718560" y="2408941"/>
              <a:ext cx="310845" cy="431676"/>
            </a:xfrm>
            <a:custGeom>
              <a:avLst/>
              <a:gdLst>
                <a:gd name="connsiteX0" fmla="*/ 94822 w 310845"/>
                <a:gd name="connsiteY0" fmla="*/ 418183 h 431676"/>
                <a:gd name="connsiteX1" fmla="*/ 108323 w 310845"/>
                <a:gd name="connsiteY1" fmla="*/ 431676 h 431676"/>
                <a:gd name="connsiteX2" fmla="*/ 297344 w 310845"/>
                <a:gd name="connsiteY2" fmla="*/ 431676 h 431676"/>
                <a:gd name="connsiteX3" fmla="*/ 310845 w 310845"/>
                <a:gd name="connsiteY3" fmla="*/ 418183 h 431676"/>
                <a:gd name="connsiteX4" fmla="*/ 297344 w 310845"/>
                <a:gd name="connsiteY4" fmla="*/ 404690 h 431676"/>
                <a:gd name="connsiteX5" fmla="*/ 175831 w 310845"/>
                <a:gd name="connsiteY5" fmla="*/ 404690 h 431676"/>
                <a:gd name="connsiteX6" fmla="*/ 175831 w 310845"/>
                <a:gd name="connsiteY6" fmla="*/ 377704 h 431676"/>
                <a:gd name="connsiteX7" fmla="*/ 297344 w 310845"/>
                <a:gd name="connsiteY7" fmla="*/ 377704 h 431676"/>
                <a:gd name="connsiteX8" fmla="*/ 310845 w 310845"/>
                <a:gd name="connsiteY8" fmla="*/ 364211 h 431676"/>
                <a:gd name="connsiteX9" fmla="*/ 310845 w 310845"/>
                <a:gd name="connsiteY9" fmla="*/ 283356 h 431676"/>
                <a:gd name="connsiteX10" fmla="*/ 297344 w 310845"/>
                <a:gd name="connsiteY10" fmla="*/ 269863 h 431676"/>
                <a:gd name="connsiteX11" fmla="*/ 175831 w 310845"/>
                <a:gd name="connsiteY11" fmla="*/ 269863 h 431676"/>
                <a:gd name="connsiteX12" fmla="*/ 175831 w 310845"/>
                <a:gd name="connsiteY12" fmla="*/ 242876 h 431676"/>
                <a:gd name="connsiteX13" fmla="*/ 297344 w 310845"/>
                <a:gd name="connsiteY13" fmla="*/ 242876 h 431676"/>
                <a:gd name="connsiteX14" fmla="*/ 310845 w 310845"/>
                <a:gd name="connsiteY14" fmla="*/ 229383 h 431676"/>
                <a:gd name="connsiteX15" fmla="*/ 310845 w 310845"/>
                <a:gd name="connsiteY15" fmla="*/ 148424 h 431676"/>
                <a:gd name="connsiteX16" fmla="*/ 297344 w 310845"/>
                <a:gd name="connsiteY16" fmla="*/ 134931 h 431676"/>
                <a:gd name="connsiteX17" fmla="*/ 175831 w 310845"/>
                <a:gd name="connsiteY17" fmla="*/ 134931 h 431676"/>
                <a:gd name="connsiteX18" fmla="*/ 175831 w 310845"/>
                <a:gd name="connsiteY18" fmla="*/ 107945 h 431676"/>
                <a:gd name="connsiteX19" fmla="*/ 297344 w 310845"/>
                <a:gd name="connsiteY19" fmla="*/ 107945 h 431676"/>
                <a:gd name="connsiteX20" fmla="*/ 310845 w 310845"/>
                <a:gd name="connsiteY20" fmla="*/ 94452 h 431676"/>
                <a:gd name="connsiteX21" fmla="*/ 310845 w 310845"/>
                <a:gd name="connsiteY21" fmla="*/ 13493 h 431676"/>
                <a:gd name="connsiteX22" fmla="*/ 297344 w 310845"/>
                <a:gd name="connsiteY22" fmla="*/ 0 h 431676"/>
                <a:gd name="connsiteX23" fmla="*/ 13501 w 310845"/>
                <a:gd name="connsiteY23" fmla="*/ 0 h 431676"/>
                <a:gd name="connsiteX24" fmla="*/ 0 w 310845"/>
                <a:gd name="connsiteY24" fmla="*/ 13493 h 431676"/>
                <a:gd name="connsiteX25" fmla="*/ 0 w 310845"/>
                <a:gd name="connsiteY25" fmla="*/ 94763 h 431676"/>
                <a:gd name="connsiteX26" fmla="*/ 13501 w 310845"/>
                <a:gd name="connsiteY26" fmla="*/ 108256 h 431676"/>
                <a:gd name="connsiteX27" fmla="*/ 148516 w 310845"/>
                <a:gd name="connsiteY27" fmla="*/ 108256 h 431676"/>
                <a:gd name="connsiteX28" fmla="*/ 148516 w 310845"/>
                <a:gd name="connsiteY28" fmla="*/ 135243 h 431676"/>
                <a:gd name="connsiteX29" fmla="*/ 81009 w 310845"/>
                <a:gd name="connsiteY29" fmla="*/ 135243 h 431676"/>
                <a:gd name="connsiteX30" fmla="*/ 67507 w 310845"/>
                <a:gd name="connsiteY30" fmla="*/ 148736 h 431676"/>
                <a:gd name="connsiteX31" fmla="*/ 81009 w 310845"/>
                <a:gd name="connsiteY31" fmla="*/ 162229 h 431676"/>
                <a:gd name="connsiteX32" fmla="*/ 283531 w 310845"/>
                <a:gd name="connsiteY32" fmla="*/ 162229 h 431676"/>
                <a:gd name="connsiteX33" fmla="*/ 283531 w 310845"/>
                <a:gd name="connsiteY33" fmla="*/ 216201 h 431676"/>
                <a:gd name="connsiteX34" fmla="*/ 135015 w 310845"/>
                <a:gd name="connsiteY34" fmla="*/ 216201 h 431676"/>
                <a:gd name="connsiteX35" fmla="*/ 121513 w 310845"/>
                <a:gd name="connsiteY35" fmla="*/ 229695 h 431676"/>
                <a:gd name="connsiteX36" fmla="*/ 135015 w 310845"/>
                <a:gd name="connsiteY36" fmla="*/ 243188 h 431676"/>
                <a:gd name="connsiteX37" fmla="*/ 148516 w 310845"/>
                <a:gd name="connsiteY37" fmla="*/ 243188 h 431676"/>
                <a:gd name="connsiteX38" fmla="*/ 148516 w 310845"/>
                <a:gd name="connsiteY38" fmla="*/ 270174 h 431676"/>
                <a:gd name="connsiteX39" fmla="*/ 135015 w 310845"/>
                <a:gd name="connsiteY39" fmla="*/ 270174 h 431676"/>
                <a:gd name="connsiteX40" fmla="*/ 121513 w 310845"/>
                <a:gd name="connsiteY40" fmla="*/ 283667 h 431676"/>
                <a:gd name="connsiteX41" fmla="*/ 135015 w 310845"/>
                <a:gd name="connsiteY41" fmla="*/ 297160 h 431676"/>
                <a:gd name="connsiteX42" fmla="*/ 283531 w 310845"/>
                <a:gd name="connsiteY42" fmla="*/ 297160 h 431676"/>
                <a:gd name="connsiteX43" fmla="*/ 283531 w 310845"/>
                <a:gd name="connsiteY43" fmla="*/ 351029 h 431676"/>
                <a:gd name="connsiteX44" fmla="*/ 135015 w 310845"/>
                <a:gd name="connsiteY44" fmla="*/ 351029 h 431676"/>
                <a:gd name="connsiteX45" fmla="*/ 121513 w 310845"/>
                <a:gd name="connsiteY45" fmla="*/ 364522 h 431676"/>
                <a:gd name="connsiteX46" fmla="*/ 135015 w 310845"/>
                <a:gd name="connsiteY46" fmla="*/ 378015 h 431676"/>
                <a:gd name="connsiteX47" fmla="*/ 148516 w 310845"/>
                <a:gd name="connsiteY47" fmla="*/ 378015 h 431676"/>
                <a:gd name="connsiteX48" fmla="*/ 148516 w 310845"/>
                <a:gd name="connsiteY48" fmla="*/ 405001 h 431676"/>
                <a:gd name="connsiteX49" fmla="*/ 108012 w 310845"/>
                <a:gd name="connsiteY49" fmla="*/ 405001 h 431676"/>
                <a:gd name="connsiteX50" fmla="*/ 94822 w 310845"/>
                <a:gd name="connsiteY50" fmla="*/ 418183 h 431676"/>
                <a:gd name="connsiteX51" fmla="*/ 283843 w 310845"/>
                <a:gd name="connsiteY51" fmla="*/ 80959 h 431676"/>
                <a:gd name="connsiteX52" fmla="*/ 27003 w 310845"/>
                <a:gd name="connsiteY52" fmla="*/ 80959 h 431676"/>
                <a:gd name="connsiteX53" fmla="*/ 27003 w 310845"/>
                <a:gd name="connsiteY53" fmla="*/ 26986 h 431676"/>
                <a:gd name="connsiteX54" fmla="*/ 283427 w 310845"/>
                <a:gd name="connsiteY54" fmla="*/ 26986 h 431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310845" h="431676">
                  <a:moveTo>
                    <a:pt x="94822" y="418183"/>
                  </a:moveTo>
                  <a:cubicBezTo>
                    <a:pt x="94822" y="425636"/>
                    <a:pt x="100866" y="431676"/>
                    <a:pt x="108323" y="431676"/>
                  </a:cubicBezTo>
                  <a:lnTo>
                    <a:pt x="297344" y="431676"/>
                  </a:lnTo>
                  <a:cubicBezTo>
                    <a:pt x="304801" y="431676"/>
                    <a:pt x="310845" y="425636"/>
                    <a:pt x="310845" y="418183"/>
                  </a:cubicBezTo>
                  <a:cubicBezTo>
                    <a:pt x="310845" y="410731"/>
                    <a:pt x="304801" y="404690"/>
                    <a:pt x="297344" y="404690"/>
                  </a:cubicBezTo>
                  <a:lnTo>
                    <a:pt x="175831" y="404690"/>
                  </a:lnTo>
                  <a:lnTo>
                    <a:pt x="175831" y="377704"/>
                  </a:lnTo>
                  <a:lnTo>
                    <a:pt x="297344" y="377704"/>
                  </a:lnTo>
                  <a:cubicBezTo>
                    <a:pt x="304801" y="377704"/>
                    <a:pt x="310845" y="371663"/>
                    <a:pt x="310845" y="364211"/>
                  </a:cubicBezTo>
                  <a:lnTo>
                    <a:pt x="310845" y="283356"/>
                  </a:lnTo>
                  <a:cubicBezTo>
                    <a:pt x="310845" y="275903"/>
                    <a:pt x="304801" y="269863"/>
                    <a:pt x="297344" y="269863"/>
                  </a:cubicBezTo>
                  <a:lnTo>
                    <a:pt x="175831" y="269863"/>
                  </a:lnTo>
                  <a:lnTo>
                    <a:pt x="175831" y="242876"/>
                  </a:lnTo>
                  <a:lnTo>
                    <a:pt x="297344" y="242876"/>
                  </a:lnTo>
                  <a:cubicBezTo>
                    <a:pt x="304801" y="242876"/>
                    <a:pt x="310845" y="236836"/>
                    <a:pt x="310845" y="229383"/>
                  </a:cubicBezTo>
                  <a:lnTo>
                    <a:pt x="310845" y="148424"/>
                  </a:lnTo>
                  <a:cubicBezTo>
                    <a:pt x="310845" y="140972"/>
                    <a:pt x="304801" y="134931"/>
                    <a:pt x="297344" y="134931"/>
                  </a:cubicBezTo>
                  <a:lnTo>
                    <a:pt x="175831" y="134931"/>
                  </a:lnTo>
                  <a:lnTo>
                    <a:pt x="175831" y="107945"/>
                  </a:lnTo>
                  <a:lnTo>
                    <a:pt x="297344" y="107945"/>
                  </a:lnTo>
                  <a:cubicBezTo>
                    <a:pt x="304801" y="107945"/>
                    <a:pt x="310845" y="101904"/>
                    <a:pt x="310845" y="94452"/>
                  </a:cubicBezTo>
                  <a:lnTo>
                    <a:pt x="310845" y="13493"/>
                  </a:lnTo>
                  <a:cubicBezTo>
                    <a:pt x="310845" y="6041"/>
                    <a:pt x="304801" y="0"/>
                    <a:pt x="297344" y="0"/>
                  </a:cubicBezTo>
                  <a:lnTo>
                    <a:pt x="13501" y="0"/>
                  </a:lnTo>
                  <a:cubicBezTo>
                    <a:pt x="6045" y="0"/>
                    <a:pt x="0" y="6041"/>
                    <a:pt x="0" y="13493"/>
                  </a:cubicBezTo>
                  <a:lnTo>
                    <a:pt x="0" y="94763"/>
                  </a:lnTo>
                  <a:cubicBezTo>
                    <a:pt x="0" y="102216"/>
                    <a:pt x="6045" y="108256"/>
                    <a:pt x="13501" y="108256"/>
                  </a:cubicBezTo>
                  <a:lnTo>
                    <a:pt x="148516" y="108256"/>
                  </a:lnTo>
                  <a:lnTo>
                    <a:pt x="148516" y="135243"/>
                  </a:lnTo>
                  <a:lnTo>
                    <a:pt x="81009" y="135243"/>
                  </a:lnTo>
                  <a:cubicBezTo>
                    <a:pt x="73552" y="135243"/>
                    <a:pt x="67507" y="141283"/>
                    <a:pt x="67507" y="148736"/>
                  </a:cubicBezTo>
                  <a:cubicBezTo>
                    <a:pt x="67507" y="156188"/>
                    <a:pt x="73552" y="162229"/>
                    <a:pt x="81009" y="162229"/>
                  </a:cubicBezTo>
                  <a:lnTo>
                    <a:pt x="283531" y="162229"/>
                  </a:lnTo>
                  <a:lnTo>
                    <a:pt x="283531" y="216201"/>
                  </a:lnTo>
                  <a:lnTo>
                    <a:pt x="135015" y="216201"/>
                  </a:lnTo>
                  <a:cubicBezTo>
                    <a:pt x="127558" y="216201"/>
                    <a:pt x="121513" y="222242"/>
                    <a:pt x="121513" y="229695"/>
                  </a:cubicBezTo>
                  <a:cubicBezTo>
                    <a:pt x="121513" y="237147"/>
                    <a:pt x="127558" y="243188"/>
                    <a:pt x="135015" y="243188"/>
                  </a:cubicBezTo>
                  <a:lnTo>
                    <a:pt x="148516" y="243188"/>
                  </a:lnTo>
                  <a:lnTo>
                    <a:pt x="148516" y="270174"/>
                  </a:lnTo>
                  <a:lnTo>
                    <a:pt x="135015" y="270174"/>
                  </a:lnTo>
                  <a:cubicBezTo>
                    <a:pt x="127558" y="270174"/>
                    <a:pt x="121513" y="276215"/>
                    <a:pt x="121513" y="283667"/>
                  </a:cubicBezTo>
                  <a:cubicBezTo>
                    <a:pt x="121513" y="291119"/>
                    <a:pt x="127558" y="297160"/>
                    <a:pt x="135015" y="297160"/>
                  </a:cubicBezTo>
                  <a:lnTo>
                    <a:pt x="283531" y="297160"/>
                  </a:lnTo>
                  <a:lnTo>
                    <a:pt x="283531" y="351029"/>
                  </a:lnTo>
                  <a:lnTo>
                    <a:pt x="135015" y="351029"/>
                  </a:lnTo>
                  <a:cubicBezTo>
                    <a:pt x="127558" y="351029"/>
                    <a:pt x="121513" y="357070"/>
                    <a:pt x="121513" y="364522"/>
                  </a:cubicBezTo>
                  <a:cubicBezTo>
                    <a:pt x="121513" y="371974"/>
                    <a:pt x="127558" y="378015"/>
                    <a:pt x="135015" y="378015"/>
                  </a:cubicBezTo>
                  <a:lnTo>
                    <a:pt x="148516" y="378015"/>
                  </a:lnTo>
                  <a:lnTo>
                    <a:pt x="148516" y="405001"/>
                  </a:lnTo>
                  <a:lnTo>
                    <a:pt x="108012" y="405001"/>
                  </a:lnTo>
                  <a:cubicBezTo>
                    <a:pt x="100794" y="405168"/>
                    <a:pt x="94988" y="410970"/>
                    <a:pt x="94822" y="418183"/>
                  </a:cubicBezTo>
                  <a:close/>
                  <a:moveTo>
                    <a:pt x="283843" y="80959"/>
                  </a:moveTo>
                  <a:lnTo>
                    <a:pt x="27003" y="80959"/>
                  </a:lnTo>
                  <a:lnTo>
                    <a:pt x="27003" y="26986"/>
                  </a:lnTo>
                  <a:lnTo>
                    <a:pt x="283427" y="26986"/>
                  </a:ln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6" name="Freeform 385">
              <a:extLst>
                <a:ext uri="{FF2B5EF4-FFF2-40B4-BE49-F238E27FC236}">
                  <a16:creationId xmlns:a16="http://schemas.microsoft.com/office/drawing/2014/main" id="{D1CB4269-FC03-7645-B40C-445D3D2C5F73}"/>
                </a:ext>
              </a:extLst>
            </p:cNvPr>
            <p:cNvSpPr/>
            <p:nvPr/>
          </p:nvSpPr>
          <p:spPr>
            <a:xfrm>
              <a:off x="10788145" y="2727171"/>
              <a:ext cx="27002" cy="26986"/>
            </a:xfrm>
            <a:custGeom>
              <a:avLst/>
              <a:gdLst>
                <a:gd name="connsiteX0" fmla="*/ 0 w 27002"/>
                <a:gd name="connsiteY0" fmla="*/ 0 h 26986"/>
                <a:gd name="connsiteX1" fmla="*/ 27003 w 27002"/>
                <a:gd name="connsiteY1" fmla="*/ 0 h 26986"/>
                <a:gd name="connsiteX2" fmla="*/ 27003 w 27002"/>
                <a:gd name="connsiteY2" fmla="*/ 26986 h 26986"/>
                <a:gd name="connsiteX3" fmla="*/ 0 w 27002"/>
                <a:gd name="connsiteY3" fmla="*/ 26986 h 269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002" h="26986">
                  <a:moveTo>
                    <a:pt x="0" y="0"/>
                  </a:moveTo>
                  <a:lnTo>
                    <a:pt x="27003" y="0"/>
                  </a:lnTo>
                  <a:lnTo>
                    <a:pt x="27003" y="26986"/>
                  </a:lnTo>
                  <a:lnTo>
                    <a:pt x="0" y="26986"/>
                  </a:ln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7" name="Freeform 386">
              <a:extLst>
                <a:ext uri="{FF2B5EF4-FFF2-40B4-BE49-F238E27FC236}">
                  <a16:creationId xmlns:a16="http://schemas.microsoft.com/office/drawing/2014/main" id="{08626503-59DB-D245-9F19-086EE25A5C6F}"/>
                </a:ext>
              </a:extLst>
            </p:cNvPr>
            <p:cNvSpPr/>
            <p:nvPr/>
          </p:nvSpPr>
          <p:spPr>
            <a:xfrm>
              <a:off x="10788145" y="2592344"/>
              <a:ext cx="27002" cy="26986"/>
            </a:xfrm>
            <a:custGeom>
              <a:avLst/>
              <a:gdLst>
                <a:gd name="connsiteX0" fmla="*/ 0 w 27002"/>
                <a:gd name="connsiteY0" fmla="*/ 0 h 26986"/>
                <a:gd name="connsiteX1" fmla="*/ 27003 w 27002"/>
                <a:gd name="connsiteY1" fmla="*/ 0 h 26986"/>
                <a:gd name="connsiteX2" fmla="*/ 27003 w 27002"/>
                <a:gd name="connsiteY2" fmla="*/ 26986 h 26986"/>
                <a:gd name="connsiteX3" fmla="*/ 0 w 27002"/>
                <a:gd name="connsiteY3" fmla="*/ 26986 h 269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002" h="26986">
                  <a:moveTo>
                    <a:pt x="0" y="0"/>
                  </a:moveTo>
                  <a:lnTo>
                    <a:pt x="27003" y="0"/>
                  </a:lnTo>
                  <a:lnTo>
                    <a:pt x="27003" y="26986"/>
                  </a:lnTo>
                  <a:lnTo>
                    <a:pt x="0" y="26986"/>
                  </a:ln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8" name="Freeform 387">
              <a:extLst>
                <a:ext uri="{FF2B5EF4-FFF2-40B4-BE49-F238E27FC236}">
                  <a16:creationId xmlns:a16="http://schemas.microsoft.com/office/drawing/2014/main" id="{20A732E9-4113-0E4F-AB6D-4A2F90E7B52D}"/>
                </a:ext>
              </a:extLst>
            </p:cNvPr>
            <p:cNvSpPr/>
            <p:nvPr/>
          </p:nvSpPr>
          <p:spPr>
            <a:xfrm>
              <a:off x="10788145" y="2457412"/>
              <a:ext cx="27002" cy="26986"/>
            </a:xfrm>
            <a:custGeom>
              <a:avLst/>
              <a:gdLst>
                <a:gd name="connsiteX0" fmla="*/ 0 w 27002"/>
                <a:gd name="connsiteY0" fmla="*/ 0 h 26986"/>
                <a:gd name="connsiteX1" fmla="*/ 27003 w 27002"/>
                <a:gd name="connsiteY1" fmla="*/ 0 h 26986"/>
                <a:gd name="connsiteX2" fmla="*/ 27003 w 27002"/>
                <a:gd name="connsiteY2" fmla="*/ 26986 h 26986"/>
                <a:gd name="connsiteX3" fmla="*/ 0 w 27002"/>
                <a:gd name="connsiteY3" fmla="*/ 26986 h 269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002" h="26986">
                  <a:moveTo>
                    <a:pt x="0" y="0"/>
                  </a:moveTo>
                  <a:lnTo>
                    <a:pt x="27003" y="0"/>
                  </a:lnTo>
                  <a:lnTo>
                    <a:pt x="27003" y="26986"/>
                  </a:lnTo>
                  <a:lnTo>
                    <a:pt x="0" y="26986"/>
                  </a:ln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9" name="Freeform 388">
              <a:extLst>
                <a:ext uri="{FF2B5EF4-FFF2-40B4-BE49-F238E27FC236}">
                  <a16:creationId xmlns:a16="http://schemas.microsoft.com/office/drawing/2014/main" id="{20819A94-6252-C444-8490-6374268C0F18}"/>
                </a:ext>
              </a:extLst>
            </p:cNvPr>
            <p:cNvSpPr/>
            <p:nvPr/>
          </p:nvSpPr>
          <p:spPr>
            <a:xfrm>
              <a:off x="10157147" y="2136221"/>
              <a:ext cx="648861" cy="654378"/>
            </a:xfrm>
            <a:custGeom>
              <a:avLst/>
              <a:gdLst>
                <a:gd name="connsiteX0" fmla="*/ 577304 w 648861"/>
                <a:gd name="connsiteY0" fmla="*/ 458717 h 654378"/>
                <a:gd name="connsiteX1" fmla="*/ 483832 w 648861"/>
                <a:gd name="connsiteY1" fmla="*/ 458717 h 654378"/>
                <a:gd name="connsiteX2" fmla="*/ 473446 w 648861"/>
                <a:gd name="connsiteY2" fmla="*/ 448338 h 654378"/>
                <a:gd name="connsiteX3" fmla="*/ 473446 w 648861"/>
                <a:gd name="connsiteY3" fmla="*/ 402358 h 654378"/>
                <a:gd name="connsiteX4" fmla="*/ 487155 w 648861"/>
                <a:gd name="connsiteY4" fmla="*/ 402358 h 654378"/>
                <a:gd name="connsiteX5" fmla="*/ 510835 w 648861"/>
                <a:gd name="connsiteY5" fmla="*/ 386062 h 654378"/>
                <a:gd name="connsiteX6" fmla="*/ 505123 w 648861"/>
                <a:gd name="connsiteY6" fmla="*/ 358453 h 654378"/>
                <a:gd name="connsiteX7" fmla="*/ 505123 w 648861"/>
                <a:gd name="connsiteY7" fmla="*/ 358453 h 654378"/>
                <a:gd name="connsiteX8" fmla="*/ 432423 w 648861"/>
                <a:gd name="connsiteY8" fmla="*/ 285798 h 654378"/>
                <a:gd name="connsiteX9" fmla="*/ 432423 w 648861"/>
                <a:gd name="connsiteY9" fmla="*/ 285798 h 654378"/>
                <a:gd name="connsiteX10" fmla="*/ 431799 w 648861"/>
                <a:gd name="connsiteY10" fmla="*/ 285175 h 654378"/>
                <a:gd name="connsiteX11" fmla="*/ 431072 w 648861"/>
                <a:gd name="connsiteY11" fmla="*/ 285175 h 654378"/>
                <a:gd name="connsiteX12" fmla="*/ 396280 w 648861"/>
                <a:gd name="connsiteY12" fmla="*/ 286317 h 654378"/>
                <a:gd name="connsiteX13" fmla="*/ 396280 w 648861"/>
                <a:gd name="connsiteY13" fmla="*/ 286317 h 654378"/>
                <a:gd name="connsiteX14" fmla="*/ 322853 w 648861"/>
                <a:gd name="connsiteY14" fmla="*/ 358972 h 654378"/>
                <a:gd name="connsiteX15" fmla="*/ 322853 w 648861"/>
                <a:gd name="connsiteY15" fmla="*/ 358972 h 654378"/>
                <a:gd name="connsiteX16" fmla="*/ 316933 w 648861"/>
                <a:gd name="connsiteY16" fmla="*/ 386685 h 654378"/>
                <a:gd name="connsiteX17" fmla="*/ 340820 w 648861"/>
                <a:gd name="connsiteY17" fmla="*/ 402981 h 654378"/>
                <a:gd name="connsiteX18" fmla="*/ 354529 w 648861"/>
                <a:gd name="connsiteY18" fmla="*/ 402981 h 654378"/>
                <a:gd name="connsiteX19" fmla="*/ 354529 w 648861"/>
                <a:gd name="connsiteY19" fmla="*/ 549537 h 654378"/>
                <a:gd name="connsiteX20" fmla="*/ 372081 w 648861"/>
                <a:gd name="connsiteY20" fmla="*/ 567078 h 654378"/>
                <a:gd name="connsiteX21" fmla="*/ 380078 w 648861"/>
                <a:gd name="connsiteY21" fmla="*/ 567078 h 654378"/>
                <a:gd name="connsiteX22" fmla="*/ 329915 w 648861"/>
                <a:gd name="connsiteY22" fmla="*/ 616691 h 654378"/>
                <a:gd name="connsiteX23" fmla="*/ 279752 w 648861"/>
                <a:gd name="connsiteY23" fmla="*/ 567078 h 654378"/>
                <a:gd name="connsiteX24" fmla="*/ 287749 w 648861"/>
                <a:gd name="connsiteY24" fmla="*/ 567078 h 654378"/>
                <a:gd name="connsiteX25" fmla="*/ 305404 w 648861"/>
                <a:gd name="connsiteY25" fmla="*/ 549537 h 654378"/>
                <a:gd name="connsiteX26" fmla="*/ 305404 w 648861"/>
                <a:gd name="connsiteY26" fmla="*/ 505217 h 654378"/>
                <a:gd name="connsiteX27" fmla="*/ 305404 w 648861"/>
                <a:gd name="connsiteY27" fmla="*/ 505217 h 654378"/>
                <a:gd name="connsiteX28" fmla="*/ 259396 w 648861"/>
                <a:gd name="connsiteY28" fmla="*/ 459652 h 654378"/>
                <a:gd name="connsiteX29" fmla="*/ 140998 w 648861"/>
                <a:gd name="connsiteY29" fmla="*/ 459652 h 654378"/>
                <a:gd name="connsiteX30" fmla="*/ 109841 w 648861"/>
                <a:gd name="connsiteY30" fmla="*/ 450725 h 654378"/>
                <a:gd name="connsiteX31" fmla="*/ 109841 w 648861"/>
                <a:gd name="connsiteY31" fmla="*/ 450725 h 654378"/>
                <a:gd name="connsiteX32" fmla="*/ 57684 w 648861"/>
                <a:gd name="connsiteY32" fmla="*/ 239527 h 654378"/>
                <a:gd name="connsiteX33" fmla="*/ 217853 w 648861"/>
                <a:gd name="connsiteY33" fmla="*/ 167889 h 654378"/>
                <a:gd name="connsiteX34" fmla="*/ 224500 w 648861"/>
                <a:gd name="connsiteY34" fmla="*/ 199027 h 654378"/>
                <a:gd name="connsiteX35" fmla="*/ 240805 w 648861"/>
                <a:gd name="connsiteY35" fmla="*/ 210755 h 654378"/>
                <a:gd name="connsiteX36" fmla="*/ 246310 w 648861"/>
                <a:gd name="connsiteY36" fmla="*/ 209925 h 654378"/>
                <a:gd name="connsiteX37" fmla="*/ 257630 w 648861"/>
                <a:gd name="connsiteY37" fmla="*/ 187713 h 654378"/>
                <a:gd name="connsiteX38" fmla="*/ 332076 w 648861"/>
                <a:gd name="connsiteY38" fmla="*/ 41936 h 654378"/>
                <a:gd name="connsiteX39" fmla="*/ 477943 w 648861"/>
                <a:gd name="connsiteY39" fmla="*/ 116335 h 654378"/>
                <a:gd name="connsiteX40" fmla="*/ 483001 w 648861"/>
                <a:gd name="connsiteY40" fmla="*/ 140384 h 654378"/>
                <a:gd name="connsiteX41" fmla="*/ 451844 w 648861"/>
                <a:gd name="connsiteY41" fmla="*/ 162803 h 654378"/>
                <a:gd name="connsiteX42" fmla="*/ 452000 w 648861"/>
                <a:gd name="connsiteY42" fmla="*/ 187661 h 654378"/>
                <a:gd name="connsiteX43" fmla="*/ 476873 w 648861"/>
                <a:gd name="connsiteY43" fmla="*/ 187506 h 654378"/>
                <a:gd name="connsiteX44" fmla="*/ 590265 w 648861"/>
                <a:gd name="connsiteY44" fmla="*/ 186551 h 654378"/>
                <a:gd name="connsiteX45" fmla="*/ 613446 w 648861"/>
                <a:gd name="connsiteY45" fmla="*/ 232552 h 654378"/>
                <a:gd name="connsiteX46" fmla="*/ 648861 w 648861"/>
                <a:gd name="connsiteY46" fmla="*/ 232552 h 654378"/>
                <a:gd name="connsiteX47" fmla="*/ 643461 w 648861"/>
                <a:gd name="connsiteY47" fmla="*/ 206604 h 654378"/>
                <a:gd name="connsiteX48" fmla="*/ 521221 w 648861"/>
                <a:gd name="connsiteY48" fmla="*/ 129278 h 654378"/>
                <a:gd name="connsiteX49" fmla="*/ 517378 w 648861"/>
                <a:gd name="connsiteY49" fmla="*/ 129278 h 654378"/>
                <a:gd name="connsiteX50" fmla="*/ 346262 w 648861"/>
                <a:gd name="connsiteY50" fmla="*/ 1581 h 654378"/>
                <a:gd name="connsiteX51" fmla="*/ 218268 w 648861"/>
                <a:gd name="connsiteY51" fmla="*/ 130834 h 654378"/>
                <a:gd name="connsiteX52" fmla="*/ 2265 w 648861"/>
                <a:gd name="connsiteY52" fmla="*/ 288465 h 654378"/>
                <a:gd name="connsiteX53" fmla="*/ 91354 w 648861"/>
                <a:gd name="connsiteY53" fmla="*/ 479372 h 654378"/>
                <a:gd name="connsiteX54" fmla="*/ 91354 w 648861"/>
                <a:gd name="connsiteY54" fmla="*/ 479372 h 654378"/>
                <a:gd name="connsiteX55" fmla="*/ 141206 w 648861"/>
                <a:gd name="connsiteY55" fmla="*/ 493385 h 654378"/>
                <a:gd name="connsiteX56" fmla="*/ 258253 w 648861"/>
                <a:gd name="connsiteY56" fmla="*/ 493385 h 654378"/>
                <a:gd name="connsiteX57" fmla="*/ 268639 w 648861"/>
                <a:gd name="connsiteY57" fmla="*/ 503764 h 654378"/>
                <a:gd name="connsiteX58" fmla="*/ 268639 w 648861"/>
                <a:gd name="connsiteY58" fmla="*/ 530439 h 654378"/>
                <a:gd name="connsiteX59" fmla="*/ 255034 w 648861"/>
                <a:gd name="connsiteY59" fmla="*/ 530439 h 654378"/>
                <a:gd name="connsiteX60" fmla="*/ 231043 w 648861"/>
                <a:gd name="connsiteY60" fmla="*/ 546423 h 654378"/>
                <a:gd name="connsiteX61" fmla="*/ 236963 w 648861"/>
                <a:gd name="connsiteY61" fmla="*/ 574343 h 654378"/>
                <a:gd name="connsiteX62" fmla="*/ 236963 w 648861"/>
                <a:gd name="connsiteY62" fmla="*/ 574343 h 654378"/>
                <a:gd name="connsiteX63" fmla="*/ 310390 w 648861"/>
                <a:gd name="connsiteY63" fmla="*/ 646998 h 654378"/>
                <a:gd name="connsiteX64" fmla="*/ 310390 w 648861"/>
                <a:gd name="connsiteY64" fmla="*/ 646998 h 654378"/>
                <a:gd name="connsiteX65" fmla="*/ 346324 w 648861"/>
                <a:gd name="connsiteY65" fmla="*/ 646998 h 654378"/>
                <a:gd name="connsiteX66" fmla="*/ 346324 w 648861"/>
                <a:gd name="connsiteY66" fmla="*/ 646998 h 654378"/>
                <a:gd name="connsiteX67" fmla="*/ 419752 w 648861"/>
                <a:gd name="connsiteY67" fmla="*/ 574343 h 654378"/>
                <a:gd name="connsiteX68" fmla="*/ 419752 w 648861"/>
                <a:gd name="connsiteY68" fmla="*/ 574343 h 654378"/>
                <a:gd name="connsiteX69" fmla="*/ 419679 w 648861"/>
                <a:gd name="connsiteY69" fmla="*/ 537943 h 654378"/>
                <a:gd name="connsiteX70" fmla="*/ 401680 w 648861"/>
                <a:gd name="connsiteY70" fmla="*/ 530439 h 654378"/>
                <a:gd name="connsiteX71" fmla="*/ 388075 w 648861"/>
                <a:gd name="connsiteY71" fmla="*/ 530439 h 654378"/>
                <a:gd name="connsiteX72" fmla="*/ 388075 w 648861"/>
                <a:gd name="connsiteY72" fmla="*/ 384402 h 654378"/>
                <a:gd name="connsiteX73" fmla="*/ 370419 w 648861"/>
                <a:gd name="connsiteY73" fmla="*/ 366860 h 654378"/>
                <a:gd name="connsiteX74" fmla="*/ 362526 w 648861"/>
                <a:gd name="connsiteY74" fmla="*/ 366860 h 654378"/>
                <a:gd name="connsiteX75" fmla="*/ 412793 w 648861"/>
                <a:gd name="connsiteY75" fmla="*/ 317455 h 654378"/>
                <a:gd name="connsiteX76" fmla="*/ 462853 w 648861"/>
                <a:gd name="connsiteY76" fmla="*/ 366860 h 654378"/>
                <a:gd name="connsiteX77" fmla="*/ 454855 w 648861"/>
                <a:gd name="connsiteY77" fmla="*/ 366860 h 654378"/>
                <a:gd name="connsiteX78" fmla="*/ 437200 w 648861"/>
                <a:gd name="connsiteY78" fmla="*/ 384402 h 654378"/>
                <a:gd name="connsiteX79" fmla="*/ 437200 w 648861"/>
                <a:gd name="connsiteY79" fmla="*/ 448027 h 654378"/>
                <a:gd name="connsiteX80" fmla="*/ 483105 w 648861"/>
                <a:gd name="connsiteY80" fmla="*/ 493903 h 654378"/>
                <a:gd name="connsiteX81" fmla="*/ 576577 w 648861"/>
                <a:gd name="connsiteY81" fmla="*/ 493903 h 654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648861" h="654378">
                  <a:moveTo>
                    <a:pt x="577304" y="458717"/>
                  </a:moveTo>
                  <a:lnTo>
                    <a:pt x="483832" y="458717"/>
                  </a:lnTo>
                  <a:cubicBezTo>
                    <a:pt x="478234" y="458406"/>
                    <a:pt x="473758" y="453933"/>
                    <a:pt x="473446" y="448338"/>
                  </a:cubicBezTo>
                  <a:lnTo>
                    <a:pt x="473446" y="402358"/>
                  </a:lnTo>
                  <a:lnTo>
                    <a:pt x="487155" y="402358"/>
                  </a:lnTo>
                  <a:cubicBezTo>
                    <a:pt x="497635" y="402275"/>
                    <a:pt x="507013" y="395819"/>
                    <a:pt x="510835" y="386062"/>
                  </a:cubicBezTo>
                  <a:cubicBezTo>
                    <a:pt x="514709" y="376555"/>
                    <a:pt x="512455" y="365646"/>
                    <a:pt x="505123" y="358453"/>
                  </a:cubicBezTo>
                  <a:lnTo>
                    <a:pt x="505123" y="358453"/>
                  </a:lnTo>
                  <a:lnTo>
                    <a:pt x="432423" y="285798"/>
                  </a:lnTo>
                  <a:lnTo>
                    <a:pt x="432423" y="285798"/>
                  </a:lnTo>
                  <a:lnTo>
                    <a:pt x="431799" y="285175"/>
                  </a:lnTo>
                  <a:cubicBezTo>
                    <a:pt x="431560" y="285123"/>
                    <a:pt x="431311" y="285123"/>
                    <a:pt x="431072" y="285175"/>
                  </a:cubicBezTo>
                  <a:cubicBezTo>
                    <a:pt x="420936" y="276477"/>
                    <a:pt x="405824" y="276975"/>
                    <a:pt x="396280" y="286317"/>
                  </a:cubicBezTo>
                  <a:lnTo>
                    <a:pt x="396280" y="286317"/>
                  </a:lnTo>
                  <a:lnTo>
                    <a:pt x="322853" y="358972"/>
                  </a:lnTo>
                  <a:lnTo>
                    <a:pt x="322853" y="358972"/>
                  </a:lnTo>
                  <a:cubicBezTo>
                    <a:pt x="315386" y="366124"/>
                    <a:pt x="313038" y="377105"/>
                    <a:pt x="316933" y="386685"/>
                  </a:cubicBezTo>
                  <a:cubicBezTo>
                    <a:pt x="320900" y="396421"/>
                    <a:pt x="330309" y="402835"/>
                    <a:pt x="340820" y="402981"/>
                  </a:cubicBezTo>
                  <a:lnTo>
                    <a:pt x="354529" y="402981"/>
                  </a:lnTo>
                  <a:lnTo>
                    <a:pt x="354529" y="549537"/>
                  </a:lnTo>
                  <a:cubicBezTo>
                    <a:pt x="354529" y="559221"/>
                    <a:pt x="362391" y="567078"/>
                    <a:pt x="372081" y="567078"/>
                  </a:cubicBezTo>
                  <a:lnTo>
                    <a:pt x="380078" y="567078"/>
                  </a:lnTo>
                  <a:lnTo>
                    <a:pt x="329915" y="616691"/>
                  </a:lnTo>
                  <a:lnTo>
                    <a:pt x="279752" y="567078"/>
                  </a:lnTo>
                  <a:lnTo>
                    <a:pt x="287749" y="567078"/>
                  </a:lnTo>
                  <a:cubicBezTo>
                    <a:pt x="297460" y="567078"/>
                    <a:pt x="305353" y="559241"/>
                    <a:pt x="305404" y="549537"/>
                  </a:cubicBezTo>
                  <a:lnTo>
                    <a:pt x="305404" y="505217"/>
                  </a:lnTo>
                  <a:lnTo>
                    <a:pt x="305404" y="505217"/>
                  </a:lnTo>
                  <a:cubicBezTo>
                    <a:pt x="305228" y="479964"/>
                    <a:pt x="284665" y="459589"/>
                    <a:pt x="259396" y="459652"/>
                  </a:cubicBezTo>
                  <a:lnTo>
                    <a:pt x="140998" y="459652"/>
                  </a:lnTo>
                  <a:cubicBezTo>
                    <a:pt x="130000" y="459517"/>
                    <a:pt x="119240" y="456434"/>
                    <a:pt x="109841" y="450725"/>
                  </a:cubicBezTo>
                  <a:lnTo>
                    <a:pt x="109841" y="450725"/>
                  </a:lnTo>
                  <a:cubicBezTo>
                    <a:pt x="37078" y="406800"/>
                    <a:pt x="13731" y="312234"/>
                    <a:pt x="57684" y="239527"/>
                  </a:cubicBezTo>
                  <a:cubicBezTo>
                    <a:pt x="90897" y="184589"/>
                    <a:pt x="154739" y="156036"/>
                    <a:pt x="217853" y="167889"/>
                  </a:cubicBezTo>
                  <a:cubicBezTo>
                    <a:pt x="218933" y="178476"/>
                    <a:pt x="221166" y="188917"/>
                    <a:pt x="224500" y="199027"/>
                  </a:cubicBezTo>
                  <a:cubicBezTo>
                    <a:pt x="226940" y="205970"/>
                    <a:pt x="233452" y="210652"/>
                    <a:pt x="240805" y="210755"/>
                  </a:cubicBezTo>
                  <a:cubicBezTo>
                    <a:pt x="242675" y="210724"/>
                    <a:pt x="244523" y="210444"/>
                    <a:pt x="246310" y="209925"/>
                  </a:cubicBezTo>
                  <a:cubicBezTo>
                    <a:pt x="255564" y="206905"/>
                    <a:pt x="260632" y="196972"/>
                    <a:pt x="257630" y="187713"/>
                  </a:cubicBezTo>
                  <a:cubicBezTo>
                    <a:pt x="237908" y="126911"/>
                    <a:pt x="271235" y="61646"/>
                    <a:pt x="332076" y="41936"/>
                  </a:cubicBezTo>
                  <a:cubicBezTo>
                    <a:pt x="392915" y="22225"/>
                    <a:pt x="458221" y="55532"/>
                    <a:pt x="477943" y="116335"/>
                  </a:cubicBezTo>
                  <a:cubicBezTo>
                    <a:pt x="480478" y="124150"/>
                    <a:pt x="482181" y="132215"/>
                    <a:pt x="483001" y="140384"/>
                  </a:cubicBezTo>
                  <a:cubicBezTo>
                    <a:pt x="471441" y="146071"/>
                    <a:pt x="460910" y="153648"/>
                    <a:pt x="451844" y="162803"/>
                  </a:cubicBezTo>
                  <a:cubicBezTo>
                    <a:pt x="445021" y="169715"/>
                    <a:pt x="445093" y="180842"/>
                    <a:pt x="452000" y="187661"/>
                  </a:cubicBezTo>
                  <a:cubicBezTo>
                    <a:pt x="458916" y="194481"/>
                    <a:pt x="470050" y="194418"/>
                    <a:pt x="476873" y="187506"/>
                  </a:cubicBezTo>
                  <a:cubicBezTo>
                    <a:pt x="507916" y="155953"/>
                    <a:pt x="558682" y="155517"/>
                    <a:pt x="590265" y="186551"/>
                  </a:cubicBezTo>
                  <a:cubicBezTo>
                    <a:pt x="602842" y="198913"/>
                    <a:pt x="610995" y="215084"/>
                    <a:pt x="613446" y="232552"/>
                  </a:cubicBezTo>
                  <a:lnTo>
                    <a:pt x="648861" y="232552"/>
                  </a:lnTo>
                  <a:cubicBezTo>
                    <a:pt x="648103" y="223719"/>
                    <a:pt x="646297" y="215011"/>
                    <a:pt x="643461" y="206604"/>
                  </a:cubicBezTo>
                  <a:cubicBezTo>
                    <a:pt x="625950" y="155330"/>
                    <a:pt x="575081" y="123154"/>
                    <a:pt x="521221" y="129278"/>
                  </a:cubicBezTo>
                  <a:lnTo>
                    <a:pt x="517378" y="129278"/>
                  </a:lnTo>
                  <a:cubicBezTo>
                    <a:pt x="505414" y="46793"/>
                    <a:pt x="428798" y="-10376"/>
                    <a:pt x="346262" y="1581"/>
                  </a:cubicBezTo>
                  <a:cubicBezTo>
                    <a:pt x="279503" y="11254"/>
                    <a:pt x="227252" y="64012"/>
                    <a:pt x="218268" y="130834"/>
                  </a:cubicBezTo>
                  <a:cubicBezTo>
                    <a:pt x="115065" y="114757"/>
                    <a:pt x="18353" y="185326"/>
                    <a:pt x="2265" y="288465"/>
                  </a:cubicBezTo>
                  <a:cubicBezTo>
                    <a:pt x="-9564" y="364276"/>
                    <a:pt x="25644" y="439703"/>
                    <a:pt x="91354" y="479372"/>
                  </a:cubicBezTo>
                  <a:lnTo>
                    <a:pt x="91354" y="479372"/>
                  </a:lnTo>
                  <a:cubicBezTo>
                    <a:pt x="106372" y="488506"/>
                    <a:pt x="123623" y="493353"/>
                    <a:pt x="141206" y="493385"/>
                  </a:cubicBezTo>
                  <a:lnTo>
                    <a:pt x="258253" y="493385"/>
                  </a:lnTo>
                  <a:cubicBezTo>
                    <a:pt x="263986" y="493385"/>
                    <a:pt x="268639" y="498034"/>
                    <a:pt x="268639" y="503764"/>
                  </a:cubicBezTo>
                  <a:lnTo>
                    <a:pt x="268639" y="530439"/>
                  </a:lnTo>
                  <a:lnTo>
                    <a:pt x="255034" y="530439"/>
                  </a:lnTo>
                  <a:cubicBezTo>
                    <a:pt x="244555" y="530491"/>
                    <a:pt x="235114" y="536781"/>
                    <a:pt x="231043" y="546423"/>
                  </a:cubicBezTo>
                  <a:cubicBezTo>
                    <a:pt x="227138" y="556065"/>
                    <a:pt x="229485" y="567109"/>
                    <a:pt x="236963" y="574343"/>
                  </a:cubicBezTo>
                  <a:lnTo>
                    <a:pt x="236963" y="574343"/>
                  </a:lnTo>
                  <a:lnTo>
                    <a:pt x="310390" y="646998"/>
                  </a:lnTo>
                  <a:lnTo>
                    <a:pt x="310390" y="646998"/>
                  </a:lnTo>
                  <a:cubicBezTo>
                    <a:pt x="320350" y="656838"/>
                    <a:pt x="336375" y="656838"/>
                    <a:pt x="346324" y="646998"/>
                  </a:cubicBezTo>
                  <a:lnTo>
                    <a:pt x="346324" y="646998"/>
                  </a:lnTo>
                  <a:lnTo>
                    <a:pt x="419752" y="574343"/>
                  </a:lnTo>
                  <a:lnTo>
                    <a:pt x="419752" y="574343"/>
                  </a:lnTo>
                  <a:cubicBezTo>
                    <a:pt x="429795" y="564275"/>
                    <a:pt x="429753" y="547969"/>
                    <a:pt x="419679" y="537943"/>
                  </a:cubicBezTo>
                  <a:cubicBezTo>
                    <a:pt x="414892" y="533179"/>
                    <a:pt x="408431" y="530480"/>
                    <a:pt x="401680" y="530439"/>
                  </a:cubicBezTo>
                  <a:lnTo>
                    <a:pt x="388075" y="530439"/>
                  </a:lnTo>
                  <a:lnTo>
                    <a:pt x="388075" y="384402"/>
                  </a:lnTo>
                  <a:cubicBezTo>
                    <a:pt x="388013" y="374697"/>
                    <a:pt x="380130" y="366860"/>
                    <a:pt x="370419" y="366860"/>
                  </a:cubicBezTo>
                  <a:lnTo>
                    <a:pt x="362526" y="366860"/>
                  </a:lnTo>
                  <a:lnTo>
                    <a:pt x="412793" y="317455"/>
                  </a:lnTo>
                  <a:lnTo>
                    <a:pt x="462853" y="366860"/>
                  </a:lnTo>
                  <a:lnTo>
                    <a:pt x="454855" y="366860"/>
                  </a:lnTo>
                  <a:cubicBezTo>
                    <a:pt x="445145" y="366860"/>
                    <a:pt x="437252" y="374697"/>
                    <a:pt x="437200" y="384402"/>
                  </a:cubicBezTo>
                  <a:lnTo>
                    <a:pt x="437200" y="448027"/>
                  </a:lnTo>
                  <a:cubicBezTo>
                    <a:pt x="437200" y="473363"/>
                    <a:pt x="457753" y="493903"/>
                    <a:pt x="483105" y="493903"/>
                  </a:cubicBezTo>
                  <a:lnTo>
                    <a:pt x="576577" y="493903"/>
                  </a:ln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0" name="Freeform 389">
              <a:extLst>
                <a:ext uri="{FF2B5EF4-FFF2-40B4-BE49-F238E27FC236}">
                  <a16:creationId xmlns:a16="http://schemas.microsoft.com/office/drawing/2014/main" id="{553E7936-226F-4145-8E4B-663F4A3C24BC}"/>
                </a:ext>
              </a:extLst>
            </p:cNvPr>
            <p:cNvSpPr/>
            <p:nvPr/>
          </p:nvSpPr>
          <p:spPr>
            <a:xfrm>
              <a:off x="7515428" y="1399344"/>
              <a:ext cx="396486" cy="396490"/>
            </a:xfrm>
            <a:custGeom>
              <a:avLst/>
              <a:gdLst>
                <a:gd name="connsiteX0" fmla="*/ 298549 w 396486"/>
                <a:gd name="connsiteY0" fmla="*/ 396490 h 396490"/>
                <a:gd name="connsiteX1" fmla="*/ 284736 w 396486"/>
                <a:gd name="connsiteY1" fmla="*/ 390782 h 396490"/>
                <a:gd name="connsiteX2" fmla="*/ 265938 w 396486"/>
                <a:gd name="connsiteY2" fmla="*/ 371891 h 396490"/>
                <a:gd name="connsiteX3" fmla="*/ 245166 w 396486"/>
                <a:gd name="connsiteY3" fmla="*/ 381752 h 396490"/>
                <a:gd name="connsiteX4" fmla="*/ 236234 w 396486"/>
                <a:gd name="connsiteY4" fmla="*/ 380818 h 396490"/>
                <a:gd name="connsiteX5" fmla="*/ 231976 w 396486"/>
                <a:gd name="connsiteY5" fmla="*/ 372929 h 396490"/>
                <a:gd name="connsiteX6" fmla="*/ 226368 w 396486"/>
                <a:gd name="connsiteY6" fmla="*/ 327364 h 396490"/>
                <a:gd name="connsiteX7" fmla="*/ 231353 w 396486"/>
                <a:gd name="connsiteY7" fmla="*/ 316985 h 396490"/>
                <a:gd name="connsiteX8" fmla="*/ 279782 w 396486"/>
                <a:gd name="connsiteY8" fmla="*/ 165562 h 396490"/>
                <a:gd name="connsiteX9" fmla="*/ 128264 w 396486"/>
                <a:gd name="connsiteY9" fmla="*/ 117164 h 396490"/>
                <a:gd name="connsiteX10" fmla="*/ 84914 w 396486"/>
                <a:gd name="connsiteY10" fmla="*/ 156728 h 396490"/>
                <a:gd name="connsiteX11" fmla="*/ 73801 w 396486"/>
                <a:gd name="connsiteY11" fmla="*/ 160672 h 396490"/>
                <a:gd name="connsiteX12" fmla="*/ 28831 w 396486"/>
                <a:gd name="connsiteY12" fmla="*/ 151019 h 396490"/>
                <a:gd name="connsiteX13" fmla="*/ 21457 w 396486"/>
                <a:gd name="connsiteY13" fmla="*/ 146037 h 396490"/>
                <a:gd name="connsiteX14" fmla="*/ 21457 w 396486"/>
                <a:gd name="connsiteY14" fmla="*/ 137111 h 396490"/>
                <a:gd name="connsiteX15" fmla="*/ 24780 w 396486"/>
                <a:gd name="connsiteY15" fmla="*/ 130883 h 396490"/>
                <a:gd name="connsiteX16" fmla="*/ 5671 w 396486"/>
                <a:gd name="connsiteY16" fmla="*/ 111785 h 396490"/>
                <a:gd name="connsiteX17" fmla="*/ 5671 w 396486"/>
                <a:gd name="connsiteY17" fmla="*/ 84280 h 396490"/>
                <a:gd name="connsiteX18" fmla="*/ 47214 w 396486"/>
                <a:gd name="connsiteY18" fmla="*/ 42763 h 396490"/>
                <a:gd name="connsiteX19" fmla="*/ 74632 w 396486"/>
                <a:gd name="connsiteY19" fmla="*/ 42763 h 396490"/>
                <a:gd name="connsiteX20" fmla="*/ 93534 w 396486"/>
                <a:gd name="connsiteY20" fmla="*/ 61549 h 396490"/>
                <a:gd name="connsiteX21" fmla="*/ 130819 w 396486"/>
                <a:gd name="connsiteY21" fmla="*/ 45669 h 396490"/>
                <a:gd name="connsiteX22" fmla="*/ 130819 w 396486"/>
                <a:gd name="connsiteY22" fmla="*/ 19409 h 396490"/>
                <a:gd name="connsiteX23" fmla="*/ 150344 w 396486"/>
                <a:gd name="connsiteY23" fmla="*/ 0 h 396490"/>
                <a:gd name="connsiteX24" fmla="*/ 209231 w 396486"/>
                <a:gd name="connsiteY24" fmla="*/ 0 h 396490"/>
                <a:gd name="connsiteX25" fmla="*/ 228653 w 396486"/>
                <a:gd name="connsiteY25" fmla="*/ 19409 h 396490"/>
                <a:gd name="connsiteX26" fmla="*/ 228653 w 396486"/>
                <a:gd name="connsiteY26" fmla="*/ 45669 h 396490"/>
                <a:gd name="connsiteX27" fmla="*/ 265938 w 396486"/>
                <a:gd name="connsiteY27" fmla="*/ 61030 h 396490"/>
                <a:gd name="connsiteX28" fmla="*/ 284736 w 396486"/>
                <a:gd name="connsiteY28" fmla="*/ 42244 h 396490"/>
                <a:gd name="connsiteX29" fmla="*/ 312258 w 396486"/>
                <a:gd name="connsiteY29" fmla="*/ 42244 h 396490"/>
                <a:gd name="connsiteX30" fmla="*/ 353801 w 396486"/>
                <a:gd name="connsiteY30" fmla="*/ 83761 h 396490"/>
                <a:gd name="connsiteX31" fmla="*/ 359513 w 396486"/>
                <a:gd name="connsiteY31" fmla="*/ 97462 h 396490"/>
                <a:gd name="connsiteX32" fmla="*/ 353801 w 396486"/>
                <a:gd name="connsiteY32" fmla="*/ 111266 h 396490"/>
                <a:gd name="connsiteX33" fmla="*/ 335003 w 396486"/>
                <a:gd name="connsiteY33" fmla="*/ 130053 h 396490"/>
                <a:gd name="connsiteX34" fmla="*/ 350478 w 396486"/>
                <a:gd name="connsiteY34" fmla="*/ 167315 h 396490"/>
                <a:gd name="connsiteX35" fmla="*/ 377065 w 396486"/>
                <a:gd name="connsiteY35" fmla="*/ 167315 h 396490"/>
                <a:gd name="connsiteX36" fmla="*/ 396486 w 396486"/>
                <a:gd name="connsiteY36" fmla="*/ 186724 h 396490"/>
                <a:gd name="connsiteX37" fmla="*/ 396486 w 396486"/>
                <a:gd name="connsiteY37" fmla="*/ 245575 h 396490"/>
                <a:gd name="connsiteX38" fmla="*/ 377065 w 396486"/>
                <a:gd name="connsiteY38" fmla="*/ 265088 h 396490"/>
                <a:gd name="connsiteX39" fmla="*/ 350478 w 396486"/>
                <a:gd name="connsiteY39" fmla="*/ 265088 h 396490"/>
                <a:gd name="connsiteX40" fmla="*/ 335003 w 396486"/>
                <a:gd name="connsiteY40" fmla="*/ 302350 h 396490"/>
                <a:gd name="connsiteX41" fmla="*/ 353801 w 396486"/>
                <a:gd name="connsiteY41" fmla="*/ 321136 h 396490"/>
                <a:gd name="connsiteX42" fmla="*/ 353853 w 396486"/>
                <a:gd name="connsiteY42" fmla="*/ 348586 h 396490"/>
                <a:gd name="connsiteX43" fmla="*/ 353801 w 396486"/>
                <a:gd name="connsiteY43" fmla="*/ 348642 h 396490"/>
                <a:gd name="connsiteX44" fmla="*/ 312258 w 396486"/>
                <a:gd name="connsiteY44" fmla="*/ 390159 h 396490"/>
                <a:gd name="connsiteX45" fmla="*/ 298549 w 396486"/>
                <a:gd name="connsiteY45" fmla="*/ 396490 h 396490"/>
                <a:gd name="connsiteX46" fmla="*/ 267392 w 396486"/>
                <a:gd name="connsiteY46" fmla="*/ 350199 h 396490"/>
                <a:gd name="connsiteX47" fmla="*/ 274246 w 396486"/>
                <a:gd name="connsiteY47" fmla="*/ 353001 h 396490"/>
                <a:gd name="connsiteX48" fmla="*/ 298341 w 396486"/>
                <a:gd name="connsiteY48" fmla="*/ 377081 h 396490"/>
                <a:gd name="connsiteX49" fmla="*/ 339884 w 396486"/>
                <a:gd name="connsiteY49" fmla="*/ 335564 h 396490"/>
                <a:gd name="connsiteX50" fmla="*/ 315789 w 396486"/>
                <a:gd name="connsiteY50" fmla="*/ 311276 h 396490"/>
                <a:gd name="connsiteX51" fmla="*/ 314335 w 396486"/>
                <a:gd name="connsiteY51" fmla="*/ 299444 h 396490"/>
                <a:gd name="connsiteX52" fmla="*/ 333237 w 396486"/>
                <a:gd name="connsiteY52" fmla="*/ 253775 h 396490"/>
                <a:gd name="connsiteX53" fmla="*/ 342688 w 396486"/>
                <a:gd name="connsiteY53" fmla="*/ 246405 h 396490"/>
                <a:gd name="connsiteX54" fmla="*/ 376754 w 396486"/>
                <a:gd name="connsiteY54" fmla="*/ 246405 h 396490"/>
                <a:gd name="connsiteX55" fmla="*/ 376754 w 396486"/>
                <a:gd name="connsiteY55" fmla="*/ 187347 h 396490"/>
                <a:gd name="connsiteX56" fmla="*/ 342480 w 396486"/>
                <a:gd name="connsiteY56" fmla="*/ 187347 h 396490"/>
                <a:gd name="connsiteX57" fmla="*/ 333029 w 396486"/>
                <a:gd name="connsiteY57" fmla="*/ 179874 h 396490"/>
                <a:gd name="connsiteX58" fmla="*/ 314128 w 396486"/>
                <a:gd name="connsiteY58" fmla="*/ 134205 h 396490"/>
                <a:gd name="connsiteX59" fmla="*/ 315581 w 396486"/>
                <a:gd name="connsiteY59" fmla="*/ 122372 h 396490"/>
                <a:gd name="connsiteX60" fmla="*/ 339676 w 396486"/>
                <a:gd name="connsiteY60" fmla="*/ 98292 h 396490"/>
                <a:gd name="connsiteX61" fmla="*/ 298133 w 396486"/>
                <a:gd name="connsiteY61" fmla="*/ 56775 h 396490"/>
                <a:gd name="connsiteX62" fmla="*/ 273831 w 396486"/>
                <a:gd name="connsiteY62" fmla="*/ 80855 h 396490"/>
                <a:gd name="connsiteX63" fmla="*/ 261991 w 396486"/>
                <a:gd name="connsiteY63" fmla="*/ 82308 h 396490"/>
                <a:gd name="connsiteX64" fmla="*/ 216294 w 396486"/>
                <a:gd name="connsiteY64" fmla="*/ 63418 h 396490"/>
                <a:gd name="connsiteX65" fmla="*/ 208920 w 396486"/>
                <a:gd name="connsiteY65" fmla="*/ 54076 h 396490"/>
                <a:gd name="connsiteX66" fmla="*/ 208920 w 396486"/>
                <a:gd name="connsiteY66" fmla="*/ 19409 h 396490"/>
                <a:gd name="connsiteX67" fmla="*/ 149825 w 396486"/>
                <a:gd name="connsiteY67" fmla="*/ 19409 h 396490"/>
                <a:gd name="connsiteX68" fmla="*/ 149825 w 396486"/>
                <a:gd name="connsiteY68" fmla="*/ 53661 h 396490"/>
                <a:gd name="connsiteX69" fmla="*/ 142451 w 396486"/>
                <a:gd name="connsiteY69" fmla="*/ 63003 h 396490"/>
                <a:gd name="connsiteX70" fmla="*/ 96754 w 396486"/>
                <a:gd name="connsiteY70" fmla="*/ 81893 h 396490"/>
                <a:gd name="connsiteX71" fmla="*/ 84914 w 396486"/>
                <a:gd name="connsiteY71" fmla="*/ 80440 h 396490"/>
                <a:gd name="connsiteX72" fmla="*/ 61130 w 396486"/>
                <a:gd name="connsiteY72" fmla="*/ 56048 h 396490"/>
                <a:gd name="connsiteX73" fmla="*/ 19587 w 396486"/>
                <a:gd name="connsiteY73" fmla="*/ 97566 h 396490"/>
                <a:gd name="connsiteX74" fmla="*/ 43682 w 396486"/>
                <a:gd name="connsiteY74" fmla="*/ 121853 h 396490"/>
                <a:gd name="connsiteX75" fmla="*/ 45344 w 396486"/>
                <a:gd name="connsiteY75" fmla="*/ 133167 h 396490"/>
                <a:gd name="connsiteX76" fmla="*/ 72970 w 396486"/>
                <a:gd name="connsiteY76" fmla="*/ 139602 h 396490"/>
                <a:gd name="connsiteX77" fmla="*/ 256985 w 396486"/>
                <a:gd name="connsiteY77" fmla="*/ 109980 h 396490"/>
                <a:gd name="connsiteX78" fmla="*/ 286626 w 396486"/>
                <a:gd name="connsiteY78" fmla="*/ 293880 h 396490"/>
                <a:gd name="connsiteX79" fmla="*/ 246620 w 396486"/>
                <a:gd name="connsiteY79" fmla="*/ 330270 h 396490"/>
                <a:gd name="connsiteX80" fmla="*/ 250463 w 396486"/>
                <a:gd name="connsiteY80" fmla="*/ 358294 h 396490"/>
                <a:gd name="connsiteX81" fmla="*/ 262510 w 396486"/>
                <a:gd name="connsiteY81" fmla="*/ 351652 h 396490"/>
                <a:gd name="connsiteX82" fmla="*/ 267495 w 396486"/>
                <a:gd name="connsiteY82" fmla="*/ 350199 h 396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396486" h="396490">
                  <a:moveTo>
                    <a:pt x="298549" y="396490"/>
                  </a:moveTo>
                  <a:cubicBezTo>
                    <a:pt x="293377" y="396460"/>
                    <a:pt x="288423" y="394411"/>
                    <a:pt x="284736" y="390782"/>
                  </a:cubicBezTo>
                  <a:lnTo>
                    <a:pt x="265938" y="371891"/>
                  </a:lnTo>
                  <a:cubicBezTo>
                    <a:pt x="259239" y="375632"/>
                    <a:pt x="252301" y="378927"/>
                    <a:pt x="245166" y="381752"/>
                  </a:cubicBezTo>
                  <a:cubicBezTo>
                    <a:pt x="242216" y="382927"/>
                    <a:pt x="238872" y="382577"/>
                    <a:pt x="236234" y="380818"/>
                  </a:cubicBezTo>
                  <a:cubicBezTo>
                    <a:pt x="233690" y="378968"/>
                    <a:pt x="232132" y="376067"/>
                    <a:pt x="231976" y="372929"/>
                  </a:cubicBezTo>
                  <a:cubicBezTo>
                    <a:pt x="231654" y="357590"/>
                    <a:pt x="229785" y="342323"/>
                    <a:pt x="226368" y="327364"/>
                  </a:cubicBezTo>
                  <a:cubicBezTo>
                    <a:pt x="225786" y="323215"/>
                    <a:pt x="227749" y="319122"/>
                    <a:pt x="231353" y="316985"/>
                  </a:cubicBezTo>
                  <a:cubicBezTo>
                    <a:pt x="286564" y="288535"/>
                    <a:pt x="308249" y="220741"/>
                    <a:pt x="279782" y="165562"/>
                  </a:cubicBezTo>
                  <a:cubicBezTo>
                    <a:pt x="251314" y="110383"/>
                    <a:pt x="183475" y="88714"/>
                    <a:pt x="128264" y="117164"/>
                  </a:cubicBezTo>
                  <a:cubicBezTo>
                    <a:pt x="110567" y="126284"/>
                    <a:pt x="95601" y="139937"/>
                    <a:pt x="84914" y="156728"/>
                  </a:cubicBezTo>
                  <a:cubicBezTo>
                    <a:pt x="82588" y="160474"/>
                    <a:pt x="77976" y="162112"/>
                    <a:pt x="73801" y="160672"/>
                  </a:cubicBezTo>
                  <a:cubicBezTo>
                    <a:pt x="59168" y="155970"/>
                    <a:pt x="44108" y="152737"/>
                    <a:pt x="28831" y="151019"/>
                  </a:cubicBezTo>
                  <a:cubicBezTo>
                    <a:pt x="25684" y="150710"/>
                    <a:pt x="22911" y="148835"/>
                    <a:pt x="21457" y="146037"/>
                  </a:cubicBezTo>
                  <a:cubicBezTo>
                    <a:pt x="20003" y="143241"/>
                    <a:pt x="20003" y="139908"/>
                    <a:pt x="21457" y="137111"/>
                  </a:cubicBezTo>
                  <a:cubicBezTo>
                    <a:pt x="22495" y="135035"/>
                    <a:pt x="23638" y="132959"/>
                    <a:pt x="24780" y="130883"/>
                  </a:cubicBezTo>
                  <a:lnTo>
                    <a:pt x="5671" y="111785"/>
                  </a:lnTo>
                  <a:cubicBezTo>
                    <a:pt x="-1890" y="104175"/>
                    <a:pt x="-1890" y="91890"/>
                    <a:pt x="5671" y="84280"/>
                  </a:cubicBezTo>
                  <a:lnTo>
                    <a:pt x="47214" y="42763"/>
                  </a:lnTo>
                  <a:cubicBezTo>
                    <a:pt x="54857" y="35381"/>
                    <a:pt x="66988" y="35381"/>
                    <a:pt x="74632" y="42763"/>
                  </a:cubicBezTo>
                  <a:lnTo>
                    <a:pt x="93534" y="61549"/>
                  </a:lnTo>
                  <a:cubicBezTo>
                    <a:pt x="105301" y="54817"/>
                    <a:pt x="117816" y="49488"/>
                    <a:pt x="130819" y="45669"/>
                  </a:cubicBezTo>
                  <a:lnTo>
                    <a:pt x="130819" y="19409"/>
                  </a:lnTo>
                  <a:cubicBezTo>
                    <a:pt x="130871" y="8673"/>
                    <a:pt x="139605" y="0"/>
                    <a:pt x="150344" y="0"/>
                  </a:cubicBezTo>
                  <a:lnTo>
                    <a:pt x="209231" y="0"/>
                  </a:lnTo>
                  <a:cubicBezTo>
                    <a:pt x="219960" y="0"/>
                    <a:pt x="228653" y="8690"/>
                    <a:pt x="228653" y="19409"/>
                  </a:cubicBezTo>
                  <a:lnTo>
                    <a:pt x="228653" y="45669"/>
                  </a:lnTo>
                  <a:cubicBezTo>
                    <a:pt x="241635" y="49330"/>
                    <a:pt x="254150" y="54484"/>
                    <a:pt x="265938" y="61030"/>
                  </a:cubicBezTo>
                  <a:lnTo>
                    <a:pt x="284736" y="42244"/>
                  </a:lnTo>
                  <a:cubicBezTo>
                    <a:pt x="292369" y="34740"/>
                    <a:pt x="304624" y="34740"/>
                    <a:pt x="312258" y="42244"/>
                  </a:cubicBezTo>
                  <a:lnTo>
                    <a:pt x="353801" y="83761"/>
                  </a:lnTo>
                  <a:cubicBezTo>
                    <a:pt x="357498" y="87358"/>
                    <a:pt x="359555" y="92308"/>
                    <a:pt x="359513" y="97462"/>
                  </a:cubicBezTo>
                  <a:cubicBezTo>
                    <a:pt x="359544" y="102643"/>
                    <a:pt x="357477" y="107617"/>
                    <a:pt x="353801" y="111266"/>
                  </a:cubicBezTo>
                  <a:lnTo>
                    <a:pt x="335003" y="130053"/>
                  </a:lnTo>
                  <a:cubicBezTo>
                    <a:pt x="341546" y="141854"/>
                    <a:pt x="346739" y="154353"/>
                    <a:pt x="350478" y="167315"/>
                  </a:cubicBezTo>
                  <a:lnTo>
                    <a:pt x="377065" y="167315"/>
                  </a:lnTo>
                  <a:cubicBezTo>
                    <a:pt x="387794" y="167315"/>
                    <a:pt x="396486" y="176004"/>
                    <a:pt x="396486" y="186724"/>
                  </a:cubicBezTo>
                  <a:lnTo>
                    <a:pt x="396486" y="245575"/>
                  </a:lnTo>
                  <a:cubicBezTo>
                    <a:pt x="396486" y="256311"/>
                    <a:pt x="387804" y="265031"/>
                    <a:pt x="377065" y="265088"/>
                  </a:cubicBezTo>
                  <a:lnTo>
                    <a:pt x="350478" y="265088"/>
                  </a:lnTo>
                  <a:cubicBezTo>
                    <a:pt x="346739" y="278050"/>
                    <a:pt x="341546" y="290549"/>
                    <a:pt x="335003" y="302350"/>
                  </a:cubicBezTo>
                  <a:lnTo>
                    <a:pt x="353801" y="321136"/>
                  </a:lnTo>
                  <a:cubicBezTo>
                    <a:pt x="361404" y="328701"/>
                    <a:pt x="361424" y="340990"/>
                    <a:pt x="353853" y="348586"/>
                  </a:cubicBezTo>
                  <a:cubicBezTo>
                    <a:pt x="353842" y="348604"/>
                    <a:pt x="353822" y="348623"/>
                    <a:pt x="353801" y="348642"/>
                  </a:cubicBezTo>
                  <a:lnTo>
                    <a:pt x="312258" y="390159"/>
                  </a:lnTo>
                  <a:cubicBezTo>
                    <a:pt x="308727" y="394032"/>
                    <a:pt x="303783" y="396315"/>
                    <a:pt x="298549" y="396490"/>
                  </a:cubicBezTo>
                  <a:close/>
                  <a:moveTo>
                    <a:pt x="267392" y="350199"/>
                  </a:moveTo>
                  <a:cubicBezTo>
                    <a:pt x="269947" y="350259"/>
                    <a:pt x="272387" y="351256"/>
                    <a:pt x="274246" y="353001"/>
                  </a:cubicBezTo>
                  <a:lnTo>
                    <a:pt x="298341" y="377081"/>
                  </a:lnTo>
                  <a:lnTo>
                    <a:pt x="339884" y="335564"/>
                  </a:lnTo>
                  <a:lnTo>
                    <a:pt x="315789" y="311276"/>
                  </a:lnTo>
                  <a:cubicBezTo>
                    <a:pt x="312673" y="308121"/>
                    <a:pt x="312071" y="303259"/>
                    <a:pt x="314335" y="299444"/>
                  </a:cubicBezTo>
                  <a:cubicBezTo>
                    <a:pt x="323007" y="285314"/>
                    <a:pt x="329384" y="269900"/>
                    <a:pt x="333237" y="253775"/>
                  </a:cubicBezTo>
                  <a:cubicBezTo>
                    <a:pt x="334297" y="249426"/>
                    <a:pt x="338212" y="246374"/>
                    <a:pt x="342688" y="246405"/>
                  </a:cubicBezTo>
                  <a:lnTo>
                    <a:pt x="376754" y="246405"/>
                  </a:lnTo>
                  <a:lnTo>
                    <a:pt x="376754" y="187347"/>
                  </a:lnTo>
                  <a:lnTo>
                    <a:pt x="342480" y="187347"/>
                  </a:lnTo>
                  <a:cubicBezTo>
                    <a:pt x="337984" y="187328"/>
                    <a:pt x="334078" y="184242"/>
                    <a:pt x="333029" y="179874"/>
                  </a:cubicBezTo>
                  <a:cubicBezTo>
                    <a:pt x="329187" y="163748"/>
                    <a:pt x="322800" y="148334"/>
                    <a:pt x="314128" y="134205"/>
                  </a:cubicBezTo>
                  <a:cubicBezTo>
                    <a:pt x="311863" y="130389"/>
                    <a:pt x="312466" y="125528"/>
                    <a:pt x="315581" y="122372"/>
                  </a:cubicBezTo>
                  <a:lnTo>
                    <a:pt x="339676" y="98292"/>
                  </a:lnTo>
                  <a:lnTo>
                    <a:pt x="298133" y="56775"/>
                  </a:lnTo>
                  <a:lnTo>
                    <a:pt x="273831" y="80855"/>
                  </a:lnTo>
                  <a:cubicBezTo>
                    <a:pt x="270705" y="84045"/>
                    <a:pt x="265792" y="84648"/>
                    <a:pt x="261991" y="82308"/>
                  </a:cubicBezTo>
                  <a:cubicBezTo>
                    <a:pt x="247856" y="73639"/>
                    <a:pt x="232433" y="67263"/>
                    <a:pt x="216294" y="63418"/>
                  </a:cubicBezTo>
                  <a:cubicBezTo>
                    <a:pt x="211963" y="62402"/>
                    <a:pt x="208899" y="58527"/>
                    <a:pt x="208920" y="54076"/>
                  </a:cubicBezTo>
                  <a:lnTo>
                    <a:pt x="208920" y="19409"/>
                  </a:lnTo>
                  <a:lnTo>
                    <a:pt x="149825" y="19409"/>
                  </a:lnTo>
                  <a:lnTo>
                    <a:pt x="149825" y="53661"/>
                  </a:lnTo>
                  <a:cubicBezTo>
                    <a:pt x="149845" y="58112"/>
                    <a:pt x="146782" y="61986"/>
                    <a:pt x="142451" y="63003"/>
                  </a:cubicBezTo>
                  <a:cubicBezTo>
                    <a:pt x="126311" y="66848"/>
                    <a:pt x="110889" y="73224"/>
                    <a:pt x="96754" y="81893"/>
                  </a:cubicBezTo>
                  <a:cubicBezTo>
                    <a:pt x="92952" y="84232"/>
                    <a:pt x="88040" y="83629"/>
                    <a:pt x="84914" y="80440"/>
                  </a:cubicBezTo>
                  <a:lnTo>
                    <a:pt x="61130" y="56048"/>
                  </a:lnTo>
                  <a:lnTo>
                    <a:pt x="19587" y="97566"/>
                  </a:lnTo>
                  <a:lnTo>
                    <a:pt x="43682" y="121853"/>
                  </a:lnTo>
                  <a:cubicBezTo>
                    <a:pt x="46653" y="124856"/>
                    <a:pt x="47328" y="129439"/>
                    <a:pt x="45344" y="133167"/>
                  </a:cubicBezTo>
                  <a:cubicBezTo>
                    <a:pt x="54670" y="134784"/>
                    <a:pt x="63893" y="136932"/>
                    <a:pt x="72970" y="139602"/>
                  </a:cubicBezTo>
                  <a:cubicBezTo>
                    <a:pt x="115604" y="80639"/>
                    <a:pt x="197984" y="67377"/>
                    <a:pt x="256985" y="109980"/>
                  </a:cubicBezTo>
                  <a:cubicBezTo>
                    <a:pt x="315986" y="152583"/>
                    <a:pt x="329260" y="234918"/>
                    <a:pt x="286626" y="293880"/>
                  </a:cubicBezTo>
                  <a:cubicBezTo>
                    <a:pt x="275949" y="308645"/>
                    <a:pt x="262334" y="321036"/>
                    <a:pt x="246620" y="330270"/>
                  </a:cubicBezTo>
                  <a:cubicBezTo>
                    <a:pt x="248427" y="339533"/>
                    <a:pt x="249705" y="348889"/>
                    <a:pt x="250463" y="358294"/>
                  </a:cubicBezTo>
                  <a:cubicBezTo>
                    <a:pt x="254617" y="356219"/>
                    <a:pt x="258564" y="354039"/>
                    <a:pt x="262510" y="351652"/>
                  </a:cubicBezTo>
                  <a:cubicBezTo>
                    <a:pt x="264027" y="350753"/>
                    <a:pt x="265740" y="350254"/>
                    <a:pt x="267495" y="350199"/>
                  </a:cubicBezTo>
                  <a:close/>
                </a:path>
              </a:pathLst>
            </a:custGeom>
            <a:solidFill>
              <a:srgbClr val="221F1F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1" name="Freeform 390">
              <a:extLst>
                <a:ext uri="{FF2B5EF4-FFF2-40B4-BE49-F238E27FC236}">
                  <a16:creationId xmlns:a16="http://schemas.microsoft.com/office/drawing/2014/main" id="{6A7EEAEB-0E8F-1A47-BF95-BF151B167E48}"/>
                </a:ext>
              </a:extLst>
            </p:cNvPr>
            <p:cNvSpPr/>
            <p:nvPr/>
          </p:nvSpPr>
          <p:spPr>
            <a:xfrm>
              <a:off x="7308085" y="1545588"/>
              <a:ext cx="433814" cy="433440"/>
            </a:xfrm>
            <a:custGeom>
              <a:avLst/>
              <a:gdLst>
                <a:gd name="connsiteX0" fmla="*/ 246352 w 433814"/>
                <a:gd name="connsiteY0" fmla="*/ 433441 h 433440"/>
                <a:gd name="connsiteX1" fmla="*/ 187465 w 433814"/>
                <a:gd name="connsiteY1" fmla="*/ 433441 h 433440"/>
                <a:gd name="connsiteX2" fmla="*/ 168043 w 433814"/>
                <a:gd name="connsiteY2" fmla="*/ 414031 h 433440"/>
                <a:gd name="connsiteX3" fmla="*/ 168043 w 433814"/>
                <a:gd name="connsiteY3" fmla="*/ 387253 h 433440"/>
                <a:gd name="connsiteX4" fmla="*/ 130758 w 433814"/>
                <a:gd name="connsiteY4" fmla="*/ 371788 h 433440"/>
                <a:gd name="connsiteX5" fmla="*/ 111857 w 433814"/>
                <a:gd name="connsiteY5" fmla="*/ 390678 h 433440"/>
                <a:gd name="connsiteX6" fmla="*/ 84334 w 433814"/>
                <a:gd name="connsiteY6" fmla="*/ 390678 h 433440"/>
                <a:gd name="connsiteX7" fmla="*/ 42791 w 433814"/>
                <a:gd name="connsiteY7" fmla="*/ 349161 h 433440"/>
                <a:gd name="connsiteX8" fmla="*/ 42791 w 433814"/>
                <a:gd name="connsiteY8" fmla="*/ 321655 h 433440"/>
                <a:gd name="connsiteX9" fmla="*/ 61590 w 433814"/>
                <a:gd name="connsiteY9" fmla="*/ 302869 h 433440"/>
                <a:gd name="connsiteX10" fmla="*/ 46219 w 433814"/>
                <a:gd name="connsiteY10" fmla="*/ 265607 h 433440"/>
                <a:gd name="connsiteX11" fmla="*/ 19527 w 433814"/>
                <a:gd name="connsiteY11" fmla="*/ 265607 h 433440"/>
                <a:gd name="connsiteX12" fmla="*/ 2 w 433814"/>
                <a:gd name="connsiteY12" fmla="*/ 246094 h 433440"/>
                <a:gd name="connsiteX13" fmla="*/ 2 w 433814"/>
                <a:gd name="connsiteY13" fmla="*/ 187347 h 433440"/>
                <a:gd name="connsiteX14" fmla="*/ 1975 w 433814"/>
                <a:gd name="connsiteY14" fmla="*/ 178940 h 433440"/>
                <a:gd name="connsiteX15" fmla="*/ 5091 w 433814"/>
                <a:gd name="connsiteY15" fmla="*/ 175203 h 433440"/>
                <a:gd name="connsiteX16" fmla="*/ 8207 w 433814"/>
                <a:gd name="connsiteY16" fmla="*/ 171467 h 433440"/>
                <a:gd name="connsiteX17" fmla="*/ 19527 w 433814"/>
                <a:gd name="connsiteY17" fmla="*/ 167834 h 433440"/>
                <a:gd name="connsiteX18" fmla="*/ 46219 w 433814"/>
                <a:gd name="connsiteY18" fmla="*/ 167834 h 433440"/>
                <a:gd name="connsiteX19" fmla="*/ 61590 w 433814"/>
                <a:gd name="connsiteY19" fmla="*/ 130572 h 433440"/>
                <a:gd name="connsiteX20" fmla="*/ 42791 w 433814"/>
                <a:gd name="connsiteY20" fmla="*/ 111785 h 433440"/>
                <a:gd name="connsiteX21" fmla="*/ 42791 w 433814"/>
                <a:gd name="connsiteY21" fmla="*/ 84280 h 433440"/>
                <a:gd name="connsiteX22" fmla="*/ 84334 w 433814"/>
                <a:gd name="connsiteY22" fmla="*/ 42763 h 433440"/>
                <a:gd name="connsiteX23" fmla="*/ 111857 w 433814"/>
                <a:gd name="connsiteY23" fmla="*/ 42763 h 433440"/>
                <a:gd name="connsiteX24" fmla="*/ 130758 w 433814"/>
                <a:gd name="connsiteY24" fmla="*/ 61549 h 433440"/>
                <a:gd name="connsiteX25" fmla="*/ 168043 w 433814"/>
                <a:gd name="connsiteY25" fmla="*/ 46188 h 433440"/>
                <a:gd name="connsiteX26" fmla="*/ 168043 w 433814"/>
                <a:gd name="connsiteY26" fmla="*/ 19409 h 433440"/>
                <a:gd name="connsiteX27" fmla="*/ 187465 w 433814"/>
                <a:gd name="connsiteY27" fmla="*/ 0 h 433440"/>
                <a:gd name="connsiteX28" fmla="*/ 246352 w 433814"/>
                <a:gd name="connsiteY28" fmla="*/ 0 h 433440"/>
                <a:gd name="connsiteX29" fmla="*/ 265773 w 433814"/>
                <a:gd name="connsiteY29" fmla="*/ 19409 h 433440"/>
                <a:gd name="connsiteX30" fmla="*/ 265773 w 433814"/>
                <a:gd name="connsiteY30" fmla="*/ 46084 h 433440"/>
                <a:gd name="connsiteX31" fmla="*/ 303058 w 433814"/>
                <a:gd name="connsiteY31" fmla="*/ 61446 h 433440"/>
                <a:gd name="connsiteX32" fmla="*/ 321960 w 433814"/>
                <a:gd name="connsiteY32" fmla="*/ 42659 h 433440"/>
                <a:gd name="connsiteX33" fmla="*/ 349483 w 433814"/>
                <a:gd name="connsiteY33" fmla="*/ 42659 h 433440"/>
                <a:gd name="connsiteX34" fmla="*/ 391026 w 433814"/>
                <a:gd name="connsiteY34" fmla="*/ 84176 h 433440"/>
                <a:gd name="connsiteX35" fmla="*/ 391026 w 433814"/>
                <a:gd name="connsiteY35" fmla="*/ 111682 h 433440"/>
                <a:gd name="connsiteX36" fmla="*/ 372227 w 433814"/>
                <a:gd name="connsiteY36" fmla="*/ 130468 h 433440"/>
                <a:gd name="connsiteX37" fmla="*/ 387702 w 433814"/>
                <a:gd name="connsiteY37" fmla="*/ 167730 h 433440"/>
                <a:gd name="connsiteX38" fmla="*/ 414290 w 433814"/>
                <a:gd name="connsiteY38" fmla="*/ 167730 h 433440"/>
                <a:gd name="connsiteX39" fmla="*/ 433815 w 433814"/>
                <a:gd name="connsiteY39" fmla="*/ 187243 h 433440"/>
                <a:gd name="connsiteX40" fmla="*/ 433815 w 433814"/>
                <a:gd name="connsiteY40" fmla="*/ 246094 h 433440"/>
                <a:gd name="connsiteX41" fmla="*/ 414290 w 433814"/>
                <a:gd name="connsiteY41" fmla="*/ 265607 h 433440"/>
                <a:gd name="connsiteX42" fmla="*/ 387702 w 433814"/>
                <a:gd name="connsiteY42" fmla="*/ 265607 h 433440"/>
                <a:gd name="connsiteX43" fmla="*/ 372227 w 433814"/>
                <a:gd name="connsiteY43" fmla="*/ 302869 h 433440"/>
                <a:gd name="connsiteX44" fmla="*/ 391026 w 433814"/>
                <a:gd name="connsiteY44" fmla="*/ 321655 h 433440"/>
                <a:gd name="connsiteX45" fmla="*/ 391026 w 433814"/>
                <a:gd name="connsiteY45" fmla="*/ 349161 h 433440"/>
                <a:gd name="connsiteX46" fmla="*/ 349483 w 433814"/>
                <a:gd name="connsiteY46" fmla="*/ 390678 h 433440"/>
                <a:gd name="connsiteX47" fmla="*/ 321960 w 433814"/>
                <a:gd name="connsiteY47" fmla="*/ 390678 h 433440"/>
                <a:gd name="connsiteX48" fmla="*/ 303058 w 433814"/>
                <a:gd name="connsiteY48" fmla="*/ 371788 h 433440"/>
                <a:gd name="connsiteX49" fmla="*/ 265773 w 433814"/>
                <a:gd name="connsiteY49" fmla="*/ 387253 h 433440"/>
                <a:gd name="connsiteX50" fmla="*/ 265773 w 433814"/>
                <a:gd name="connsiteY50" fmla="*/ 413928 h 433440"/>
                <a:gd name="connsiteX51" fmla="*/ 246456 w 433814"/>
                <a:gd name="connsiteY51" fmla="*/ 433441 h 433440"/>
                <a:gd name="connsiteX52" fmla="*/ 246352 w 433814"/>
                <a:gd name="connsiteY52" fmla="*/ 433441 h 433440"/>
                <a:gd name="connsiteX53" fmla="*/ 129201 w 433814"/>
                <a:gd name="connsiteY53" fmla="*/ 350406 h 433440"/>
                <a:gd name="connsiteX54" fmla="*/ 134290 w 433814"/>
                <a:gd name="connsiteY54" fmla="*/ 351859 h 433440"/>
                <a:gd name="connsiteX55" fmla="*/ 179883 w 433814"/>
                <a:gd name="connsiteY55" fmla="*/ 370750 h 433440"/>
                <a:gd name="connsiteX56" fmla="*/ 187361 w 433814"/>
                <a:gd name="connsiteY56" fmla="*/ 380195 h 433440"/>
                <a:gd name="connsiteX57" fmla="*/ 187361 w 433814"/>
                <a:gd name="connsiteY57" fmla="*/ 414239 h 433440"/>
                <a:gd name="connsiteX58" fmla="*/ 246352 w 433814"/>
                <a:gd name="connsiteY58" fmla="*/ 414239 h 433440"/>
                <a:gd name="connsiteX59" fmla="*/ 246352 w 433814"/>
                <a:gd name="connsiteY59" fmla="*/ 379987 h 433440"/>
                <a:gd name="connsiteX60" fmla="*/ 253830 w 433814"/>
                <a:gd name="connsiteY60" fmla="*/ 370542 h 433440"/>
                <a:gd name="connsiteX61" fmla="*/ 299527 w 433814"/>
                <a:gd name="connsiteY61" fmla="*/ 351652 h 433440"/>
                <a:gd name="connsiteX62" fmla="*/ 311367 w 433814"/>
                <a:gd name="connsiteY62" fmla="*/ 353001 h 433440"/>
                <a:gd name="connsiteX63" fmla="*/ 335565 w 433814"/>
                <a:gd name="connsiteY63" fmla="*/ 376873 h 433440"/>
                <a:gd name="connsiteX64" fmla="*/ 377108 w 433814"/>
                <a:gd name="connsiteY64" fmla="*/ 335356 h 433440"/>
                <a:gd name="connsiteX65" fmla="*/ 353014 w 433814"/>
                <a:gd name="connsiteY65" fmla="*/ 311069 h 433440"/>
                <a:gd name="connsiteX66" fmla="*/ 351560 w 433814"/>
                <a:gd name="connsiteY66" fmla="*/ 299132 h 433440"/>
                <a:gd name="connsiteX67" fmla="*/ 370566 w 433814"/>
                <a:gd name="connsiteY67" fmla="*/ 253463 h 433440"/>
                <a:gd name="connsiteX68" fmla="*/ 379913 w 433814"/>
                <a:gd name="connsiteY68" fmla="*/ 246094 h 433440"/>
                <a:gd name="connsiteX69" fmla="*/ 413978 w 433814"/>
                <a:gd name="connsiteY69" fmla="*/ 246094 h 433440"/>
                <a:gd name="connsiteX70" fmla="*/ 413978 w 433814"/>
                <a:gd name="connsiteY70" fmla="*/ 187139 h 433440"/>
                <a:gd name="connsiteX71" fmla="*/ 413978 w 433814"/>
                <a:gd name="connsiteY71" fmla="*/ 187139 h 433440"/>
                <a:gd name="connsiteX72" fmla="*/ 380224 w 433814"/>
                <a:gd name="connsiteY72" fmla="*/ 187139 h 433440"/>
                <a:gd name="connsiteX73" fmla="*/ 370877 w 433814"/>
                <a:gd name="connsiteY73" fmla="*/ 179770 h 433440"/>
                <a:gd name="connsiteX74" fmla="*/ 351871 w 433814"/>
                <a:gd name="connsiteY74" fmla="*/ 134101 h 433440"/>
                <a:gd name="connsiteX75" fmla="*/ 353325 w 433814"/>
                <a:gd name="connsiteY75" fmla="*/ 122269 h 433440"/>
                <a:gd name="connsiteX76" fmla="*/ 377420 w 433814"/>
                <a:gd name="connsiteY76" fmla="*/ 98085 h 433440"/>
                <a:gd name="connsiteX77" fmla="*/ 335877 w 433814"/>
                <a:gd name="connsiteY77" fmla="*/ 56567 h 433440"/>
                <a:gd name="connsiteX78" fmla="*/ 311574 w 433814"/>
                <a:gd name="connsiteY78" fmla="*/ 80647 h 433440"/>
                <a:gd name="connsiteX79" fmla="*/ 299735 w 433814"/>
                <a:gd name="connsiteY79" fmla="*/ 82100 h 433440"/>
                <a:gd name="connsiteX80" fmla="*/ 254037 w 433814"/>
                <a:gd name="connsiteY80" fmla="*/ 63210 h 433440"/>
                <a:gd name="connsiteX81" fmla="*/ 246560 w 433814"/>
                <a:gd name="connsiteY81" fmla="*/ 53765 h 433440"/>
                <a:gd name="connsiteX82" fmla="*/ 246560 w 433814"/>
                <a:gd name="connsiteY82" fmla="*/ 19409 h 433440"/>
                <a:gd name="connsiteX83" fmla="*/ 187568 w 433814"/>
                <a:gd name="connsiteY83" fmla="*/ 19409 h 433440"/>
                <a:gd name="connsiteX84" fmla="*/ 187568 w 433814"/>
                <a:gd name="connsiteY84" fmla="*/ 53557 h 433440"/>
                <a:gd name="connsiteX85" fmla="*/ 180091 w 433814"/>
                <a:gd name="connsiteY85" fmla="*/ 63003 h 433440"/>
                <a:gd name="connsiteX86" fmla="*/ 134497 w 433814"/>
                <a:gd name="connsiteY86" fmla="*/ 81893 h 433440"/>
                <a:gd name="connsiteX87" fmla="*/ 122554 w 433814"/>
                <a:gd name="connsiteY87" fmla="*/ 80544 h 433440"/>
                <a:gd name="connsiteX88" fmla="*/ 98770 w 433814"/>
                <a:gd name="connsiteY88" fmla="*/ 56256 h 433440"/>
                <a:gd name="connsiteX89" fmla="*/ 57227 w 433814"/>
                <a:gd name="connsiteY89" fmla="*/ 97773 h 433440"/>
                <a:gd name="connsiteX90" fmla="*/ 81322 w 433814"/>
                <a:gd name="connsiteY90" fmla="*/ 122165 h 433440"/>
                <a:gd name="connsiteX91" fmla="*/ 82776 w 433814"/>
                <a:gd name="connsiteY91" fmla="*/ 133997 h 433440"/>
                <a:gd name="connsiteX92" fmla="*/ 63874 w 433814"/>
                <a:gd name="connsiteY92" fmla="*/ 179666 h 433440"/>
                <a:gd name="connsiteX93" fmla="*/ 54423 w 433814"/>
                <a:gd name="connsiteY93" fmla="*/ 187036 h 433440"/>
                <a:gd name="connsiteX94" fmla="*/ 21085 w 433814"/>
                <a:gd name="connsiteY94" fmla="*/ 187036 h 433440"/>
                <a:gd name="connsiteX95" fmla="*/ 20150 w 433814"/>
                <a:gd name="connsiteY95" fmla="*/ 188177 h 433440"/>
                <a:gd name="connsiteX96" fmla="*/ 20150 w 433814"/>
                <a:gd name="connsiteY96" fmla="*/ 246094 h 433440"/>
                <a:gd name="connsiteX97" fmla="*/ 54423 w 433814"/>
                <a:gd name="connsiteY97" fmla="*/ 246094 h 433440"/>
                <a:gd name="connsiteX98" fmla="*/ 63874 w 433814"/>
                <a:gd name="connsiteY98" fmla="*/ 253463 h 433440"/>
                <a:gd name="connsiteX99" fmla="*/ 82776 w 433814"/>
                <a:gd name="connsiteY99" fmla="*/ 299132 h 433440"/>
                <a:gd name="connsiteX100" fmla="*/ 81322 w 433814"/>
                <a:gd name="connsiteY100" fmla="*/ 311069 h 433440"/>
                <a:gd name="connsiteX101" fmla="*/ 56397 w 433814"/>
                <a:gd name="connsiteY101" fmla="*/ 335356 h 433440"/>
                <a:gd name="connsiteX102" fmla="*/ 97940 w 433814"/>
                <a:gd name="connsiteY102" fmla="*/ 376873 h 433440"/>
                <a:gd name="connsiteX103" fmla="*/ 122346 w 433814"/>
                <a:gd name="connsiteY103" fmla="*/ 352690 h 433440"/>
                <a:gd name="connsiteX104" fmla="*/ 129201 w 433814"/>
                <a:gd name="connsiteY104" fmla="*/ 350199 h 433440"/>
                <a:gd name="connsiteX105" fmla="*/ 216960 w 433814"/>
                <a:gd name="connsiteY105" fmla="*/ 320721 h 433440"/>
                <a:gd name="connsiteX106" fmla="*/ 113103 w 433814"/>
                <a:gd name="connsiteY106" fmla="*/ 216928 h 433440"/>
                <a:gd name="connsiteX107" fmla="*/ 216960 w 433814"/>
                <a:gd name="connsiteY107" fmla="*/ 113135 h 433440"/>
                <a:gd name="connsiteX108" fmla="*/ 320818 w 433814"/>
                <a:gd name="connsiteY108" fmla="*/ 216928 h 433440"/>
                <a:gd name="connsiteX109" fmla="*/ 216960 w 433814"/>
                <a:gd name="connsiteY109" fmla="*/ 320514 h 433440"/>
                <a:gd name="connsiteX110" fmla="*/ 216960 w 433814"/>
                <a:gd name="connsiteY110" fmla="*/ 132440 h 433440"/>
                <a:gd name="connsiteX111" fmla="*/ 132420 w 433814"/>
                <a:gd name="connsiteY111" fmla="*/ 216928 h 433440"/>
                <a:gd name="connsiteX112" fmla="*/ 216960 w 433814"/>
                <a:gd name="connsiteY112" fmla="*/ 301416 h 433440"/>
                <a:gd name="connsiteX113" fmla="*/ 301500 w 433814"/>
                <a:gd name="connsiteY113" fmla="*/ 216928 h 433440"/>
                <a:gd name="connsiteX114" fmla="*/ 216960 w 433814"/>
                <a:gd name="connsiteY114" fmla="*/ 132233 h 433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433814" h="433440">
                  <a:moveTo>
                    <a:pt x="246352" y="433441"/>
                  </a:moveTo>
                  <a:lnTo>
                    <a:pt x="187465" y="433441"/>
                  </a:lnTo>
                  <a:cubicBezTo>
                    <a:pt x="176736" y="433441"/>
                    <a:pt x="168043" y="424751"/>
                    <a:pt x="168043" y="414031"/>
                  </a:cubicBezTo>
                  <a:lnTo>
                    <a:pt x="168043" y="387253"/>
                  </a:lnTo>
                  <a:cubicBezTo>
                    <a:pt x="155061" y="383548"/>
                    <a:pt x="142546" y="378360"/>
                    <a:pt x="130758" y="371788"/>
                  </a:cubicBezTo>
                  <a:lnTo>
                    <a:pt x="111857" y="390678"/>
                  </a:lnTo>
                  <a:cubicBezTo>
                    <a:pt x="104223" y="398182"/>
                    <a:pt x="91968" y="398182"/>
                    <a:pt x="84334" y="390678"/>
                  </a:cubicBezTo>
                  <a:lnTo>
                    <a:pt x="42791" y="349161"/>
                  </a:lnTo>
                  <a:cubicBezTo>
                    <a:pt x="35230" y="341551"/>
                    <a:pt x="35230" y="329266"/>
                    <a:pt x="42791" y="321655"/>
                  </a:cubicBezTo>
                  <a:lnTo>
                    <a:pt x="61590" y="302869"/>
                  </a:lnTo>
                  <a:cubicBezTo>
                    <a:pt x="55036" y="291085"/>
                    <a:pt x="49885" y="278580"/>
                    <a:pt x="46219" y="265607"/>
                  </a:cubicBezTo>
                  <a:lnTo>
                    <a:pt x="19527" y="265607"/>
                  </a:lnTo>
                  <a:cubicBezTo>
                    <a:pt x="8747" y="265607"/>
                    <a:pt x="2" y="256871"/>
                    <a:pt x="2" y="246094"/>
                  </a:cubicBezTo>
                  <a:lnTo>
                    <a:pt x="2" y="187347"/>
                  </a:lnTo>
                  <a:cubicBezTo>
                    <a:pt x="-40" y="184426"/>
                    <a:pt x="646" y="181540"/>
                    <a:pt x="1975" y="178940"/>
                  </a:cubicBezTo>
                  <a:cubicBezTo>
                    <a:pt x="2619" y="177415"/>
                    <a:pt x="3709" y="176114"/>
                    <a:pt x="5091" y="175203"/>
                  </a:cubicBezTo>
                  <a:cubicBezTo>
                    <a:pt x="5818" y="173728"/>
                    <a:pt x="6888" y="172447"/>
                    <a:pt x="8207" y="171467"/>
                  </a:cubicBezTo>
                  <a:cubicBezTo>
                    <a:pt x="11499" y="169083"/>
                    <a:pt x="15466" y="167811"/>
                    <a:pt x="19527" y="167834"/>
                  </a:cubicBezTo>
                  <a:lnTo>
                    <a:pt x="46219" y="167834"/>
                  </a:lnTo>
                  <a:cubicBezTo>
                    <a:pt x="49885" y="154861"/>
                    <a:pt x="55036" y="142356"/>
                    <a:pt x="61590" y="130572"/>
                  </a:cubicBezTo>
                  <a:lnTo>
                    <a:pt x="42791" y="111785"/>
                  </a:lnTo>
                  <a:cubicBezTo>
                    <a:pt x="35282" y="104152"/>
                    <a:pt x="35282" y="91913"/>
                    <a:pt x="42791" y="84280"/>
                  </a:cubicBezTo>
                  <a:lnTo>
                    <a:pt x="84334" y="42763"/>
                  </a:lnTo>
                  <a:cubicBezTo>
                    <a:pt x="91947" y="35203"/>
                    <a:pt x="104244" y="35203"/>
                    <a:pt x="111857" y="42763"/>
                  </a:cubicBezTo>
                  <a:lnTo>
                    <a:pt x="130758" y="61549"/>
                  </a:lnTo>
                  <a:cubicBezTo>
                    <a:pt x="142577" y="55054"/>
                    <a:pt x="155082" y="49902"/>
                    <a:pt x="168043" y="46188"/>
                  </a:cubicBezTo>
                  <a:lnTo>
                    <a:pt x="168043" y="19409"/>
                  </a:lnTo>
                  <a:cubicBezTo>
                    <a:pt x="168043" y="8690"/>
                    <a:pt x="176736" y="0"/>
                    <a:pt x="187465" y="0"/>
                  </a:cubicBezTo>
                  <a:lnTo>
                    <a:pt x="246352" y="0"/>
                  </a:lnTo>
                  <a:cubicBezTo>
                    <a:pt x="257081" y="0"/>
                    <a:pt x="265773" y="8690"/>
                    <a:pt x="265773" y="19409"/>
                  </a:cubicBezTo>
                  <a:lnTo>
                    <a:pt x="265773" y="46084"/>
                  </a:lnTo>
                  <a:cubicBezTo>
                    <a:pt x="278755" y="49752"/>
                    <a:pt x="291260" y="54907"/>
                    <a:pt x="303058" y="61446"/>
                  </a:cubicBezTo>
                  <a:lnTo>
                    <a:pt x="321960" y="42659"/>
                  </a:lnTo>
                  <a:cubicBezTo>
                    <a:pt x="329573" y="35099"/>
                    <a:pt x="341870" y="35099"/>
                    <a:pt x="349483" y="42659"/>
                  </a:cubicBezTo>
                  <a:lnTo>
                    <a:pt x="391026" y="84176"/>
                  </a:lnTo>
                  <a:cubicBezTo>
                    <a:pt x="398586" y="91786"/>
                    <a:pt x="398586" y="104071"/>
                    <a:pt x="391026" y="111682"/>
                  </a:cubicBezTo>
                  <a:lnTo>
                    <a:pt x="372227" y="130468"/>
                  </a:lnTo>
                  <a:cubicBezTo>
                    <a:pt x="378770" y="142270"/>
                    <a:pt x="383963" y="154768"/>
                    <a:pt x="387702" y="167730"/>
                  </a:cubicBezTo>
                  <a:lnTo>
                    <a:pt x="414290" y="167730"/>
                  </a:lnTo>
                  <a:cubicBezTo>
                    <a:pt x="425070" y="167730"/>
                    <a:pt x="433815" y="176466"/>
                    <a:pt x="433815" y="187243"/>
                  </a:cubicBezTo>
                  <a:lnTo>
                    <a:pt x="433815" y="246094"/>
                  </a:lnTo>
                  <a:cubicBezTo>
                    <a:pt x="433815" y="256871"/>
                    <a:pt x="425070" y="265607"/>
                    <a:pt x="414290" y="265607"/>
                  </a:cubicBezTo>
                  <a:lnTo>
                    <a:pt x="387702" y="265607"/>
                  </a:lnTo>
                  <a:cubicBezTo>
                    <a:pt x="383973" y="278575"/>
                    <a:pt x="378781" y="291076"/>
                    <a:pt x="372227" y="302869"/>
                  </a:cubicBezTo>
                  <a:lnTo>
                    <a:pt x="391026" y="321655"/>
                  </a:lnTo>
                  <a:cubicBezTo>
                    <a:pt x="398534" y="329288"/>
                    <a:pt x="398534" y="341528"/>
                    <a:pt x="391026" y="349161"/>
                  </a:cubicBezTo>
                  <a:lnTo>
                    <a:pt x="349483" y="390678"/>
                  </a:lnTo>
                  <a:cubicBezTo>
                    <a:pt x="341870" y="398238"/>
                    <a:pt x="329573" y="398238"/>
                    <a:pt x="321960" y="390678"/>
                  </a:cubicBezTo>
                  <a:lnTo>
                    <a:pt x="303058" y="371788"/>
                  </a:lnTo>
                  <a:cubicBezTo>
                    <a:pt x="291270" y="378360"/>
                    <a:pt x="278755" y="383548"/>
                    <a:pt x="265773" y="387253"/>
                  </a:cubicBezTo>
                  <a:lnTo>
                    <a:pt x="265773" y="413928"/>
                  </a:lnTo>
                  <a:cubicBezTo>
                    <a:pt x="265836" y="424647"/>
                    <a:pt x="257184" y="433384"/>
                    <a:pt x="246456" y="433441"/>
                  </a:cubicBezTo>
                  <a:cubicBezTo>
                    <a:pt x="246425" y="433441"/>
                    <a:pt x="246383" y="433441"/>
                    <a:pt x="246352" y="433441"/>
                  </a:cubicBezTo>
                  <a:close/>
                  <a:moveTo>
                    <a:pt x="129201" y="350406"/>
                  </a:moveTo>
                  <a:cubicBezTo>
                    <a:pt x="130997" y="350444"/>
                    <a:pt x="132742" y="350944"/>
                    <a:pt x="134290" y="351859"/>
                  </a:cubicBezTo>
                  <a:cubicBezTo>
                    <a:pt x="148383" y="360537"/>
                    <a:pt x="163775" y="366914"/>
                    <a:pt x="179883" y="370750"/>
                  </a:cubicBezTo>
                  <a:cubicBezTo>
                    <a:pt x="184255" y="371801"/>
                    <a:pt x="187340" y="375701"/>
                    <a:pt x="187361" y="380195"/>
                  </a:cubicBezTo>
                  <a:lnTo>
                    <a:pt x="187361" y="414239"/>
                  </a:lnTo>
                  <a:lnTo>
                    <a:pt x="246352" y="414239"/>
                  </a:lnTo>
                  <a:lnTo>
                    <a:pt x="246352" y="379987"/>
                  </a:lnTo>
                  <a:cubicBezTo>
                    <a:pt x="246373" y="375494"/>
                    <a:pt x="249457" y="371594"/>
                    <a:pt x="253830" y="370542"/>
                  </a:cubicBezTo>
                  <a:cubicBezTo>
                    <a:pt x="269959" y="366662"/>
                    <a:pt x="285371" y="360288"/>
                    <a:pt x="299527" y="351652"/>
                  </a:cubicBezTo>
                  <a:cubicBezTo>
                    <a:pt x="303307" y="349285"/>
                    <a:pt x="308220" y="349846"/>
                    <a:pt x="311367" y="353001"/>
                  </a:cubicBezTo>
                  <a:lnTo>
                    <a:pt x="335565" y="376873"/>
                  </a:lnTo>
                  <a:lnTo>
                    <a:pt x="377108" y="335356"/>
                  </a:lnTo>
                  <a:lnTo>
                    <a:pt x="353014" y="311069"/>
                  </a:lnTo>
                  <a:cubicBezTo>
                    <a:pt x="349846" y="307897"/>
                    <a:pt x="349244" y="302973"/>
                    <a:pt x="351560" y="299132"/>
                  </a:cubicBezTo>
                  <a:cubicBezTo>
                    <a:pt x="360294" y="285018"/>
                    <a:pt x="366702" y="269601"/>
                    <a:pt x="370566" y="253463"/>
                  </a:cubicBezTo>
                  <a:cubicBezTo>
                    <a:pt x="371583" y="249130"/>
                    <a:pt x="375457" y="246073"/>
                    <a:pt x="379913" y="246094"/>
                  </a:cubicBezTo>
                  <a:lnTo>
                    <a:pt x="413978" y="246094"/>
                  </a:lnTo>
                  <a:lnTo>
                    <a:pt x="413978" y="187139"/>
                  </a:lnTo>
                  <a:lnTo>
                    <a:pt x="413978" y="187139"/>
                  </a:lnTo>
                  <a:lnTo>
                    <a:pt x="380224" y="187139"/>
                  </a:lnTo>
                  <a:cubicBezTo>
                    <a:pt x="375769" y="187160"/>
                    <a:pt x="371895" y="184103"/>
                    <a:pt x="370877" y="179770"/>
                  </a:cubicBezTo>
                  <a:cubicBezTo>
                    <a:pt x="366983" y="163643"/>
                    <a:pt x="360574" y="148230"/>
                    <a:pt x="351871" y="134101"/>
                  </a:cubicBezTo>
                  <a:cubicBezTo>
                    <a:pt x="349534" y="130302"/>
                    <a:pt x="350137" y="125389"/>
                    <a:pt x="353325" y="122269"/>
                  </a:cubicBezTo>
                  <a:lnTo>
                    <a:pt x="377420" y="98085"/>
                  </a:lnTo>
                  <a:lnTo>
                    <a:pt x="335877" y="56567"/>
                  </a:lnTo>
                  <a:lnTo>
                    <a:pt x="311574" y="80647"/>
                  </a:lnTo>
                  <a:cubicBezTo>
                    <a:pt x="308469" y="83874"/>
                    <a:pt x="303525" y="84480"/>
                    <a:pt x="299735" y="82100"/>
                  </a:cubicBezTo>
                  <a:cubicBezTo>
                    <a:pt x="285589" y="73438"/>
                    <a:pt x="270166" y="67062"/>
                    <a:pt x="254037" y="63210"/>
                  </a:cubicBezTo>
                  <a:cubicBezTo>
                    <a:pt x="249665" y="62159"/>
                    <a:pt x="246580" y="58258"/>
                    <a:pt x="246560" y="53765"/>
                  </a:cubicBezTo>
                  <a:lnTo>
                    <a:pt x="246560" y="19409"/>
                  </a:lnTo>
                  <a:lnTo>
                    <a:pt x="187568" y="19409"/>
                  </a:lnTo>
                  <a:lnTo>
                    <a:pt x="187568" y="53557"/>
                  </a:lnTo>
                  <a:cubicBezTo>
                    <a:pt x="187548" y="58051"/>
                    <a:pt x="184463" y="61951"/>
                    <a:pt x="180091" y="63003"/>
                  </a:cubicBezTo>
                  <a:cubicBezTo>
                    <a:pt x="163982" y="66838"/>
                    <a:pt x="148591" y="73215"/>
                    <a:pt x="134497" y="81893"/>
                  </a:cubicBezTo>
                  <a:cubicBezTo>
                    <a:pt x="130634" y="84025"/>
                    <a:pt x="125846" y="83484"/>
                    <a:pt x="122554" y="80544"/>
                  </a:cubicBezTo>
                  <a:lnTo>
                    <a:pt x="98770" y="56256"/>
                  </a:lnTo>
                  <a:lnTo>
                    <a:pt x="57227" y="97773"/>
                  </a:lnTo>
                  <a:lnTo>
                    <a:pt x="81322" y="122165"/>
                  </a:lnTo>
                  <a:cubicBezTo>
                    <a:pt x="84511" y="125285"/>
                    <a:pt x="85113" y="130198"/>
                    <a:pt x="82776" y="133997"/>
                  </a:cubicBezTo>
                  <a:cubicBezTo>
                    <a:pt x="74063" y="148108"/>
                    <a:pt x="67686" y="163528"/>
                    <a:pt x="63874" y="179666"/>
                  </a:cubicBezTo>
                  <a:cubicBezTo>
                    <a:pt x="62815" y="184015"/>
                    <a:pt x="58900" y="187067"/>
                    <a:pt x="54423" y="187036"/>
                  </a:cubicBezTo>
                  <a:lnTo>
                    <a:pt x="21085" y="187036"/>
                  </a:lnTo>
                  <a:lnTo>
                    <a:pt x="20150" y="188177"/>
                  </a:lnTo>
                  <a:lnTo>
                    <a:pt x="20150" y="246094"/>
                  </a:lnTo>
                  <a:lnTo>
                    <a:pt x="54423" y="246094"/>
                  </a:lnTo>
                  <a:cubicBezTo>
                    <a:pt x="58900" y="246063"/>
                    <a:pt x="62815" y="249114"/>
                    <a:pt x="63874" y="253463"/>
                  </a:cubicBezTo>
                  <a:cubicBezTo>
                    <a:pt x="67686" y="269601"/>
                    <a:pt x="74063" y="285022"/>
                    <a:pt x="82776" y="299132"/>
                  </a:cubicBezTo>
                  <a:cubicBezTo>
                    <a:pt x="85092" y="302973"/>
                    <a:pt x="84490" y="307897"/>
                    <a:pt x="81322" y="311069"/>
                  </a:cubicBezTo>
                  <a:lnTo>
                    <a:pt x="56397" y="335356"/>
                  </a:lnTo>
                  <a:lnTo>
                    <a:pt x="97940" y="376873"/>
                  </a:lnTo>
                  <a:lnTo>
                    <a:pt x="122346" y="352690"/>
                  </a:lnTo>
                  <a:cubicBezTo>
                    <a:pt x="124216" y="350996"/>
                    <a:pt x="126677" y="350102"/>
                    <a:pt x="129201" y="350199"/>
                  </a:cubicBezTo>
                  <a:close/>
                  <a:moveTo>
                    <a:pt x="216960" y="320721"/>
                  </a:moveTo>
                  <a:cubicBezTo>
                    <a:pt x="159600" y="320721"/>
                    <a:pt x="113103" y="274251"/>
                    <a:pt x="113103" y="216928"/>
                  </a:cubicBezTo>
                  <a:cubicBezTo>
                    <a:pt x="113103" y="159604"/>
                    <a:pt x="159600" y="113135"/>
                    <a:pt x="216960" y="113135"/>
                  </a:cubicBezTo>
                  <a:cubicBezTo>
                    <a:pt x="274321" y="113135"/>
                    <a:pt x="320818" y="159604"/>
                    <a:pt x="320818" y="216928"/>
                  </a:cubicBezTo>
                  <a:cubicBezTo>
                    <a:pt x="320703" y="274170"/>
                    <a:pt x="274238" y="320514"/>
                    <a:pt x="216960" y="320514"/>
                  </a:cubicBezTo>
                  <a:close/>
                  <a:moveTo>
                    <a:pt x="216960" y="132440"/>
                  </a:moveTo>
                  <a:cubicBezTo>
                    <a:pt x="170266" y="132440"/>
                    <a:pt x="132420" y="170267"/>
                    <a:pt x="132420" y="216928"/>
                  </a:cubicBezTo>
                  <a:cubicBezTo>
                    <a:pt x="132420" y="263589"/>
                    <a:pt x="170266" y="301416"/>
                    <a:pt x="216960" y="301416"/>
                  </a:cubicBezTo>
                  <a:cubicBezTo>
                    <a:pt x="263655" y="301416"/>
                    <a:pt x="301500" y="263589"/>
                    <a:pt x="301500" y="216928"/>
                  </a:cubicBezTo>
                  <a:cubicBezTo>
                    <a:pt x="301500" y="170232"/>
                    <a:pt x="263686" y="132347"/>
                    <a:pt x="216960" y="132233"/>
                  </a:cubicBezTo>
                  <a:close/>
                </a:path>
              </a:pathLst>
            </a:custGeom>
            <a:solidFill>
              <a:srgbClr val="221F1F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2" name="Freeform 391">
              <a:extLst>
                <a:ext uri="{FF2B5EF4-FFF2-40B4-BE49-F238E27FC236}">
                  <a16:creationId xmlns:a16="http://schemas.microsoft.com/office/drawing/2014/main" id="{BCE38AD2-BF5A-5B4F-95C7-3563FF13FE07}"/>
                </a:ext>
              </a:extLst>
            </p:cNvPr>
            <p:cNvSpPr/>
            <p:nvPr/>
          </p:nvSpPr>
          <p:spPr>
            <a:xfrm>
              <a:off x="7232894" y="1657373"/>
              <a:ext cx="48293" cy="75769"/>
            </a:xfrm>
            <a:custGeom>
              <a:avLst/>
              <a:gdLst>
                <a:gd name="connsiteX0" fmla="*/ 48294 w 48293"/>
                <a:gd name="connsiteY0" fmla="*/ 22835 h 75769"/>
                <a:gd name="connsiteX1" fmla="*/ 48294 w 48293"/>
                <a:gd name="connsiteY1" fmla="*/ 52831 h 75769"/>
                <a:gd name="connsiteX2" fmla="*/ 25342 w 48293"/>
                <a:gd name="connsiteY2" fmla="*/ 75769 h 75769"/>
                <a:gd name="connsiteX3" fmla="*/ 22849 w 48293"/>
                <a:gd name="connsiteY3" fmla="*/ 75769 h 75769"/>
                <a:gd name="connsiteX4" fmla="*/ 0 w 48293"/>
                <a:gd name="connsiteY4" fmla="*/ 52935 h 75769"/>
                <a:gd name="connsiteX5" fmla="*/ 0 w 48293"/>
                <a:gd name="connsiteY5" fmla="*/ 52831 h 75769"/>
                <a:gd name="connsiteX6" fmla="*/ 0 w 48293"/>
                <a:gd name="connsiteY6" fmla="*/ 22835 h 75769"/>
                <a:gd name="connsiteX7" fmla="*/ 22641 w 48293"/>
                <a:gd name="connsiteY7" fmla="*/ 0 h 75769"/>
                <a:gd name="connsiteX8" fmla="*/ 22849 w 48293"/>
                <a:gd name="connsiteY8" fmla="*/ 0 h 75769"/>
                <a:gd name="connsiteX9" fmla="*/ 25342 w 48293"/>
                <a:gd name="connsiteY9" fmla="*/ 0 h 75769"/>
                <a:gd name="connsiteX10" fmla="*/ 48294 w 48293"/>
                <a:gd name="connsiteY10" fmla="*/ 22731 h 75769"/>
                <a:gd name="connsiteX11" fmla="*/ 48294 w 48293"/>
                <a:gd name="connsiteY11" fmla="*/ 22835 h 75769"/>
                <a:gd name="connsiteX12" fmla="*/ 34689 w 48293"/>
                <a:gd name="connsiteY12" fmla="*/ 46188 h 75769"/>
                <a:gd name="connsiteX13" fmla="*/ 34689 w 48293"/>
                <a:gd name="connsiteY13" fmla="*/ 29478 h 75769"/>
                <a:gd name="connsiteX14" fmla="*/ 24417 w 48293"/>
                <a:gd name="connsiteY14" fmla="*/ 16826 h 75769"/>
                <a:gd name="connsiteX15" fmla="*/ 24303 w 48293"/>
                <a:gd name="connsiteY15" fmla="*/ 16815 h 75769"/>
                <a:gd name="connsiteX16" fmla="*/ 23161 w 48293"/>
                <a:gd name="connsiteY16" fmla="*/ 16815 h 75769"/>
                <a:gd name="connsiteX17" fmla="*/ 12764 w 48293"/>
                <a:gd name="connsiteY17" fmla="*/ 29365 h 75769"/>
                <a:gd name="connsiteX18" fmla="*/ 12775 w 48293"/>
                <a:gd name="connsiteY18" fmla="*/ 29478 h 75769"/>
                <a:gd name="connsiteX19" fmla="*/ 12775 w 48293"/>
                <a:gd name="connsiteY19" fmla="*/ 46188 h 75769"/>
                <a:gd name="connsiteX20" fmla="*/ 23140 w 48293"/>
                <a:gd name="connsiteY20" fmla="*/ 58953 h 75769"/>
                <a:gd name="connsiteX21" fmla="*/ 23161 w 48293"/>
                <a:gd name="connsiteY21" fmla="*/ 58955 h 75769"/>
                <a:gd name="connsiteX22" fmla="*/ 24303 w 48293"/>
                <a:gd name="connsiteY22" fmla="*/ 58955 h 75769"/>
                <a:gd name="connsiteX23" fmla="*/ 34689 w 48293"/>
                <a:gd name="connsiteY23" fmla="*/ 46207 h 75769"/>
                <a:gd name="connsiteX24" fmla="*/ 34689 w 48293"/>
                <a:gd name="connsiteY24" fmla="*/ 46188 h 75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8293" h="75769">
                  <a:moveTo>
                    <a:pt x="48294" y="22835"/>
                  </a:moveTo>
                  <a:lnTo>
                    <a:pt x="48294" y="52831"/>
                  </a:lnTo>
                  <a:cubicBezTo>
                    <a:pt x="48294" y="65500"/>
                    <a:pt x="38023" y="75769"/>
                    <a:pt x="25342" y="75769"/>
                  </a:cubicBezTo>
                  <a:lnTo>
                    <a:pt x="22849" y="75769"/>
                  </a:lnTo>
                  <a:cubicBezTo>
                    <a:pt x="10230" y="75769"/>
                    <a:pt x="0" y="65547"/>
                    <a:pt x="0" y="52935"/>
                  </a:cubicBezTo>
                  <a:cubicBezTo>
                    <a:pt x="0" y="52901"/>
                    <a:pt x="0" y="52865"/>
                    <a:pt x="0" y="52831"/>
                  </a:cubicBezTo>
                  <a:lnTo>
                    <a:pt x="0" y="22835"/>
                  </a:lnTo>
                  <a:cubicBezTo>
                    <a:pt x="-62" y="10281"/>
                    <a:pt x="10074" y="57"/>
                    <a:pt x="22641" y="0"/>
                  </a:cubicBezTo>
                  <a:cubicBezTo>
                    <a:pt x="22714" y="0"/>
                    <a:pt x="22776" y="0"/>
                    <a:pt x="22849" y="0"/>
                  </a:cubicBezTo>
                  <a:lnTo>
                    <a:pt x="25342" y="0"/>
                  </a:lnTo>
                  <a:cubicBezTo>
                    <a:pt x="37960" y="-57"/>
                    <a:pt x="48232" y="10120"/>
                    <a:pt x="48294" y="22731"/>
                  </a:cubicBezTo>
                  <a:cubicBezTo>
                    <a:pt x="48294" y="22765"/>
                    <a:pt x="48294" y="22801"/>
                    <a:pt x="48294" y="22835"/>
                  </a:cubicBezTo>
                  <a:close/>
                  <a:moveTo>
                    <a:pt x="34689" y="46188"/>
                  </a:moveTo>
                  <a:lnTo>
                    <a:pt x="34689" y="29478"/>
                  </a:lnTo>
                  <a:cubicBezTo>
                    <a:pt x="35343" y="23149"/>
                    <a:pt x="30752" y="17484"/>
                    <a:pt x="24417" y="16826"/>
                  </a:cubicBezTo>
                  <a:cubicBezTo>
                    <a:pt x="24375" y="16822"/>
                    <a:pt x="24344" y="16818"/>
                    <a:pt x="24303" y="16815"/>
                  </a:cubicBezTo>
                  <a:lnTo>
                    <a:pt x="23161" y="16815"/>
                  </a:lnTo>
                  <a:cubicBezTo>
                    <a:pt x="16825" y="17412"/>
                    <a:pt x="12162" y="23030"/>
                    <a:pt x="12764" y="29365"/>
                  </a:cubicBezTo>
                  <a:cubicBezTo>
                    <a:pt x="12764" y="29403"/>
                    <a:pt x="12775" y="29440"/>
                    <a:pt x="12775" y="29478"/>
                  </a:cubicBezTo>
                  <a:lnTo>
                    <a:pt x="12775" y="46188"/>
                  </a:lnTo>
                  <a:cubicBezTo>
                    <a:pt x="12110" y="52574"/>
                    <a:pt x="16753" y="58289"/>
                    <a:pt x="23140" y="58953"/>
                  </a:cubicBezTo>
                  <a:cubicBezTo>
                    <a:pt x="23150" y="58954"/>
                    <a:pt x="23150" y="58954"/>
                    <a:pt x="23161" y="58955"/>
                  </a:cubicBezTo>
                  <a:lnTo>
                    <a:pt x="24303" y="58955"/>
                  </a:lnTo>
                  <a:cubicBezTo>
                    <a:pt x="30690" y="58301"/>
                    <a:pt x="35343" y="52594"/>
                    <a:pt x="34689" y="46207"/>
                  </a:cubicBezTo>
                  <a:cubicBezTo>
                    <a:pt x="34689" y="46201"/>
                    <a:pt x="34689" y="46194"/>
                    <a:pt x="34689" y="46188"/>
                  </a:cubicBezTo>
                  <a:close/>
                </a:path>
              </a:pathLst>
            </a:custGeom>
            <a:solidFill>
              <a:srgbClr val="221F1F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3" name="Freeform 392">
              <a:extLst>
                <a:ext uri="{FF2B5EF4-FFF2-40B4-BE49-F238E27FC236}">
                  <a16:creationId xmlns:a16="http://schemas.microsoft.com/office/drawing/2014/main" id="{6C080CB0-014B-864B-8DA6-7806FD3C0BB3}"/>
                </a:ext>
              </a:extLst>
            </p:cNvPr>
            <p:cNvSpPr/>
            <p:nvPr/>
          </p:nvSpPr>
          <p:spPr>
            <a:xfrm>
              <a:off x="7184497" y="1749642"/>
              <a:ext cx="48397" cy="75772"/>
            </a:xfrm>
            <a:custGeom>
              <a:avLst/>
              <a:gdLst>
                <a:gd name="connsiteX0" fmla="*/ 48398 w 48397"/>
                <a:gd name="connsiteY0" fmla="*/ 22838 h 75772"/>
                <a:gd name="connsiteX1" fmla="*/ 48398 w 48397"/>
                <a:gd name="connsiteY1" fmla="*/ 52938 h 75772"/>
                <a:gd name="connsiteX2" fmla="*/ 25445 w 48397"/>
                <a:gd name="connsiteY2" fmla="*/ 75773 h 75772"/>
                <a:gd name="connsiteX3" fmla="*/ 22849 w 48397"/>
                <a:gd name="connsiteY3" fmla="*/ 75773 h 75772"/>
                <a:gd name="connsiteX4" fmla="*/ 0 w 48397"/>
                <a:gd name="connsiteY4" fmla="*/ 52938 h 75772"/>
                <a:gd name="connsiteX5" fmla="*/ 0 w 48397"/>
                <a:gd name="connsiteY5" fmla="*/ 22838 h 75772"/>
                <a:gd name="connsiteX6" fmla="*/ 22849 w 48397"/>
                <a:gd name="connsiteY6" fmla="*/ 4 h 75772"/>
                <a:gd name="connsiteX7" fmla="*/ 25030 w 48397"/>
                <a:gd name="connsiteY7" fmla="*/ 4 h 75772"/>
                <a:gd name="connsiteX8" fmla="*/ 48398 w 48397"/>
                <a:gd name="connsiteY8" fmla="*/ 22523 h 75772"/>
                <a:gd name="connsiteX9" fmla="*/ 48398 w 48397"/>
                <a:gd name="connsiteY9" fmla="*/ 22838 h 75772"/>
                <a:gd name="connsiteX10" fmla="*/ 34792 w 48397"/>
                <a:gd name="connsiteY10" fmla="*/ 46296 h 75772"/>
                <a:gd name="connsiteX11" fmla="*/ 34792 w 48397"/>
                <a:gd name="connsiteY11" fmla="*/ 29481 h 75772"/>
                <a:gd name="connsiteX12" fmla="*/ 25030 w 48397"/>
                <a:gd name="connsiteY12" fmla="*/ 17130 h 75772"/>
                <a:gd name="connsiteX13" fmla="*/ 23887 w 48397"/>
                <a:gd name="connsiteY13" fmla="*/ 17130 h 75772"/>
                <a:gd name="connsiteX14" fmla="*/ 13502 w 48397"/>
                <a:gd name="connsiteY14" fmla="*/ 29896 h 75772"/>
                <a:gd name="connsiteX15" fmla="*/ 13502 w 48397"/>
                <a:gd name="connsiteY15" fmla="*/ 46711 h 75772"/>
                <a:gd name="connsiteX16" fmla="*/ 23773 w 48397"/>
                <a:gd name="connsiteY16" fmla="*/ 59362 h 75772"/>
                <a:gd name="connsiteX17" fmla="*/ 23887 w 48397"/>
                <a:gd name="connsiteY17" fmla="*/ 59374 h 75772"/>
                <a:gd name="connsiteX18" fmla="*/ 25030 w 48397"/>
                <a:gd name="connsiteY18" fmla="*/ 59374 h 75772"/>
                <a:gd name="connsiteX19" fmla="*/ 34792 w 48397"/>
                <a:gd name="connsiteY19" fmla="*/ 46296 h 75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8397" h="75772">
                  <a:moveTo>
                    <a:pt x="48398" y="22838"/>
                  </a:moveTo>
                  <a:lnTo>
                    <a:pt x="48398" y="52938"/>
                  </a:lnTo>
                  <a:cubicBezTo>
                    <a:pt x="48346" y="65566"/>
                    <a:pt x="38084" y="75773"/>
                    <a:pt x="25445" y="75773"/>
                  </a:cubicBezTo>
                  <a:lnTo>
                    <a:pt x="22849" y="75773"/>
                  </a:lnTo>
                  <a:cubicBezTo>
                    <a:pt x="10230" y="75773"/>
                    <a:pt x="0" y="65549"/>
                    <a:pt x="0" y="52938"/>
                  </a:cubicBezTo>
                  <a:lnTo>
                    <a:pt x="0" y="22838"/>
                  </a:lnTo>
                  <a:cubicBezTo>
                    <a:pt x="0" y="10227"/>
                    <a:pt x="10230" y="4"/>
                    <a:pt x="22849" y="4"/>
                  </a:cubicBezTo>
                  <a:lnTo>
                    <a:pt x="25030" y="4"/>
                  </a:lnTo>
                  <a:cubicBezTo>
                    <a:pt x="37700" y="-225"/>
                    <a:pt x="48169" y="9857"/>
                    <a:pt x="48398" y="22523"/>
                  </a:cubicBezTo>
                  <a:cubicBezTo>
                    <a:pt x="48398" y="22628"/>
                    <a:pt x="48398" y="22734"/>
                    <a:pt x="48398" y="22838"/>
                  </a:cubicBezTo>
                  <a:close/>
                  <a:moveTo>
                    <a:pt x="34792" y="46296"/>
                  </a:moveTo>
                  <a:lnTo>
                    <a:pt x="34792" y="29481"/>
                  </a:lnTo>
                  <a:cubicBezTo>
                    <a:pt x="35197" y="23469"/>
                    <a:pt x="30981" y="18129"/>
                    <a:pt x="25030" y="17130"/>
                  </a:cubicBezTo>
                  <a:lnTo>
                    <a:pt x="23887" y="17130"/>
                  </a:lnTo>
                  <a:cubicBezTo>
                    <a:pt x="17521" y="17838"/>
                    <a:pt x="12899" y="23520"/>
                    <a:pt x="13502" y="29896"/>
                  </a:cubicBezTo>
                  <a:lnTo>
                    <a:pt x="13502" y="46711"/>
                  </a:lnTo>
                  <a:cubicBezTo>
                    <a:pt x="12847" y="53039"/>
                    <a:pt x="17438" y="58704"/>
                    <a:pt x="23773" y="59362"/>
                  </a:cubicBezTo>
                  <a:cubicBezTo>
                    <a:pt x="23815" y="59366"/>
                    <a:pt x="23846" y="59371"/>
                    <a:pt x="23887" y="59374"/>
                  </a:cubicBezTo>
                  <a:lnTo>
                    <a:pt x="25030" y="59374"/>
                  </a:lnTo>
                  <a:cubicBezTo>
                    <a:pt x="31313" y="58413"/>
                    <a:pt x="35665" y="52589"/>
                    <a:pt x="34792" y="46296"/>
                  </a:cubicBezTo>
                  <a:close/>
                </a:path>
              </a:pathLst>
            </a:custGeom>
            <a:solidFill>
              <a:srgbClr val="221F1F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4" name="Freeform 393">
              <a:extLst>
                <a:ext uri="{FF2B5EF4-FFF2-40B4-BE49-F238E27FC236}">
                  <a16:creationId xmlns:a16="http://schemas.microsoft.com/office/drawing/2014/main" id="{AFD8FBC1-95E3-CE43-8C36-5967DE919F44}"/>
                </a:ext>
              </a:extLst>
            </p:cNvPr>
            <p:cNvSpPr/>
            <p:nvPr/>
          </p:nvSpPr>
          <p:spPr>
            <a:xfrm>
              <a:off x="7193800" y="1658827"/>
              <a:ext cx="22001" cy="70890"/>
            </a:xfrm>
            <a:custGeom>
              <a:avLst/>
              <a:gdLst>
                <a:gd name="connsiteX0" fmla="*/ 21958 w 22001"/>
                <a:gd name="connsiteY0" fmla="*/ 10379 h 70890"/>
                <a:gd name="connsiteX1" fmla="*/ 21958 w 22001"/>
                <a:gd name="connsiteY1" fmla="*/ 60512 h 70890"/>
                <a:gd name="connsiteX2" fmla="*/ 13649 w 22001"/>
                <a:gd name="connsiteY2" fmla="*/ 70891 h 70890"/>
                <a:gd name="connsiteX3" fmla="*/ 8352 w 22001"/>
                <a:gd name="connsiteY3" fmla="*/ 70891 h 70890"/>
                <a:gd name="connsiteX4" fmla="*/ 43 w 22001"/>
                <a:gd name="connsiteY4" fmla="*/ 60512 h 70890"/>
                <a:gd name="connsiteX5" fmla="*/ 43 w 22001"/>
                <a:gd name="connsiteY5" fmla="*/ 10379 h 70890"/>
                <a:gd name="connsiteX6" fmla="*/ 8352 w 22001"/>
                <a:gd name="connsiteY6" fmla="*/ 0 h 70890"/>
                <a:gd name="connsiteX7" fmla="*/ 13649 w 22001"/>
                <a:gd name="connsiteY7" fmla="*/ 0 h 70890"/>
                <a:gd name="connsiteX8" fmla="*/ 21958 w 22001"/>
                <a:gd name="connsiteY8" fmla="*/ 10379 h 70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001" h="70890">
                  <a:moveTo>
                    <a:pt x="21958" y="10379"/>
                  </a:moveTo>
                  <a:lnTo>
                    <a:pt x="21958" y="60512"/>
                  </a:lnTo>
                  <a:cubicBezTo>
                    <a:pt x="22394" y="65630"/>
                    <a:pt x="18738" y="70191"/>
                    <a:pt x="13649" y="70891"/>
                  </a:cubicBezTo>
                  <a:lnTo>
                    <a:pt x="8352" y="70891"/>
                  </a:lnTo>
                  <a:cubicBezTo>
                    <a:pt x="3263" y="70191"/>
                    <a:pt x="-393" y="65630"/>
                    <a:pt x="43" y="60512"/>
                  </a:cubicBezTo>
                  <a:lnTo>
                    <a:pt x="43" y="10379"/>
                  </a:lnTo>
                  <a:cubicBezTo>
                    <a:pt x="-445" y="5245"/>
                    <a:pt x="3232" y="650"/>
                    <a:pt x="8352" y="0"/>
                  </a:cubicBezTo>
                  <a:lnTo>
                    <a:pt x="13649" y="0"/>
                  </a:lnTo>
                  <a:cubicBezTo>
                    <a:pt x="18769" y="650"/>
                    <a:pt x="22446" y="5245"/>
                    <a:pt x="21958" y="10379"/>
                  </a:cubicBezTo>
                  <a:close/>
                </a:path>
              </a:pathLst>
            </a:custGeom>
            <a:solidFill>
              <a:srgbClr val="221F1F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5" name="Freeform 394">
              <a:extLst>
                <a:ext uri="{FF2B5EF4-FFF2-40B4-BE49-F238E27FC236}">
                  <a16:creationId xmlns:a16="http://schemas.microsoft.com/office/drawing/2014/main" id="{26078696-0616-EA4D-B9BD-D06D08BF703D}"/>
                </a:ext>
              </a:extLst>
            </p:cNvPr>
            <p:cNvSpPr/>
            <p:nvPr/>
          </p:nvSpPr>
          <p:spPr>
            <a:xfrm>
              <a:off x="7125713" y="1569045"/>
              <a:ext cx="48397" cy="75250"/>
            </a:xfrm>
            <a:custGeom>
              <a:avLst/>
              <a:gdLst>
                <a:gd name="connsiteX0" fmla="*/ 48398 w 48397"/>
                <a:gd name="connsiteY0" fmla="*/ 22835 h 75250"/>
                <a:gd name="connsiteX1" fmla="*/ 48398 w 48397"/>
                <a:gd name="connsiteY1" fmla="*/ 52416 h 75250"/>
                <a:gd name="connsiteX2" fmla="*/ 25549 w 48397"/>
                <a:gd name="connsiteY2" fmla="*/ 75250 h 75250"/>
                <a:gd name="connsiteX3" fmla="*/ 25445 w 48397"/>
                <a:gd name="connsiteY3" fmla="*/ 75250 h 75250"/>
                <a:gd name="connsiteX4" fmla="*/ 22953 w 48397"/>
                <a:gd name="connsiteY4" fmla="*/ 75250 h 75250"/>
                <a:gd name="connsiteX5" fmla="*/ 0 w 48397"/>
                <a:gd name="connsiteY5" fmla="*/ 52520 h 75250"/>
                <a:gd name="connsiteX6" fmla="*/ 0 w 48397"/>
                <a:gd name="connsiteY6" fmla="*/ 52416 h 75250"/>
                <a:gd name="connsiteX7" fmla="*/ 0 w 48397"/>
                <a:gd name="connsiteY7" fmla="*/ 22835 h 75250"/>
                <a:gd name="connsiteX8" fmla="*/ 22849 w 48397"/>
                <a:gd name="connsiteY8" fmla="*/ 0 h 75250"/>
                <a:gd name="connsiteX9" fmla="*/ 22953 w 48397"/>
                <a:gd name="connsiteY9" fmla="*/ 0 h 75250"/>
                <a:gd name="connsiteX10" fmla="*/ 25445 w 48397"/>
                <a:gd name="connsiteY10" fmla="*/ 0 h 75250"/>
                <a:gd name="connsiteX11" fmla="*/ 48398 w 48397"/>
                <a:gd name="connsiteY11" fmla="*/ 22731 h 75250"/>
                <a:gd name="connsiteX12" fmla="*/ 48398 w 48397"/>
                <a:gd name="connsiteY12" fmla="*/ 22835 h 75250"/>
                <a:gd name="connsiteX13" fmla="*/ 34792 w 48397"/>
                <a:gd name="connsiteY13" fmla="*/ 46188 h 75250"/>
                <a:gd name="connsiteX14" fmla="*/ 34792 w 48397"/>
                <a:gd name="connsiteY14" fmla="*/ 29478 h 75250"/>
                <a:gd name="connsiteX15" fmla="*/ 24407 w 48397"/>
                <a:gd name="connsiteY15" fmla="*/ 16711 h 75250"/>
                <a:gd name="connsiteX16" fmla="*/ 23264 w 48397"/>
                <a:gd name="connsiteY16" fmla="*/ 16711 h 75250"/>
                <a:gd name="connsiteX17" fmla="*/ 12879 w 48397"/>
                <a:gd name="connsiteY17" fmla="*/ 29478 h 75250"/>
                <a:gd name="connsiteX18" fmla="*/ 12879 w 48397"/>
                <a:gd name="connsiteY18" fmla="*/ 46188 h 75250"/>
                <a:gd name="connsiteX19" fmla="*/ 23264 w 48397"/>
                <a:gd name="connsiteY19" fmla="*/ 58955 h 75250"/>
                <a:gd name="connsiteX20" fmla="*/ 24407 w 48397"/>
                <a:gd name="connsiteY20" fmla="*/ 58955 h 75250"/>
                <a:gd name="connsiteX21" fmla="*/ 34792 w 48397"/>
                <a:gd name="connsiteY21" fmla="*/ 46188 h 7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8397" h="75250">
                  <a:moveTo>
                    <a:pt x="48398" y="22835"/>
                  </a:moveTo>
                  <a:lnTo>
                    <a:pt x="48398" y="52416"/>
                  </a:lnTo>
                  <a:cubicBezTo>
                    <a:pt x="48398" y="65027"/>
                    <a:pt x="38168" y="75250"/>
                    <a:pt x="25549" y="75250"/>
                  </a:cubicBezTo>
                  <a:cubicBezTo>
                    <a:pt x="25518" y="75250"/>
                    <a:pt x="25476" y="75250"/>
                    <a:pt x="25445" y="75250"/>
                  </a:cubicBezTo>
                  <a:lnTo>
                    <a:pt x="22953" y="75250"/>
                  </a:lnTo>
                  <a:cubicBezTo>
                    <a:pt x="10334" y="75307"/>
                    <a:pt x="62" y="65131"/>
                    <a:pt x="0" y="52520"/>
                  </a:cubicBezTo>
                  <a:cubicBezTo>
                    <a:pt x="0" y="52485"/>
                    <a:pt x="0" y="52450"/>
                    <a:pt x="0" y="52416"/>
                  </a:cubicBezTo>
                  <a:lnTo>
                    <a:pt x="0" y="22835"/>
                  </a:lnTo>
                  <a:cubicBezTo>
                    <a:pt x="0" y="10224"/>
                    <a:pt x="10230" y="0"/>
                    <a:pt x="22849" y="0"/>
                  </a:cubicBezTo>
                  <a:cubicBezTo>
                    <a:pt x="22880" y="0"/>
                    <a:pt x="22921" y="0"/>
                    <a:pt x="22953" y="0"/>
                  </a:cubicBezTo>
                  <a:lnTo>
                    <a:pt x="25445" y="0"/>
                  </a:lnTo>
                  <a:cubicBezTo>
                    <a:pt x="38064" y="-57"/>
                    <a:pt x="48336" y="10120"/>
                    <a:pt x="48398" y="22731"/>
                  </a:cubicBezTo>
                  <a:cubicBezTo>
                    <a:pt x="48398" y="22765"/>
                    <a:pt x="48398" y="22801"/>
                    <a:pt x="48398" y="22835"/>
                  </a:cubicBezTo>
                  <a:close/>
                  <a:moveTo>
                    <a:pt x="34792" y="46188"/>
                  </a:moveTo>
                  <a:lnTo>
                    <a:pt x="34792" y="29478"/>
                  </a:lnTo>
                  <a:cubicBezTo>
                    <a:pt x="35395" y="23102"/>
                    <a:pt x="30773" y="17419"/>
                    <a:pt x="24407" y="16711"/>
                  </a:cubicBezTo>
                  <a:lnTo>
                    <a:pt x="23264" y="16711"/>
                  </a:lnTo>
                  <a:cubicBezTo>
                    <a:pt x="16898" y="17419"/>
                    <a:pt x="12276" y="23102"/>
                    <a:pt x="12879" y="29478"/>
                  </a:cubicBezTo>
                  <a:lnTo>
                    <a:pt x="12879" y="46188"/>
                  </a:lnTo>
                  <a:cubicBezTo>
                    <a:pt x="12276" y="52564"/>
                    <a:pt x="16898" y="58247"/>
                    <a:pt x="23264" y="58955"/>
                  </a:cubicBezTo>
                  <a:lnTo>
                    <a:pt x="24407" y="58955"/>
                  </a:lnTo>
                  <a:cubicBezTo>
                    <a:pt x="30773" y="58247"/>
                    <a:pt x="35395" y="52564"/>
                    <a:pt x="34792" y="46188"/>
                  </a:cubicBezTo>
                  <a:close/>
                </a:path>
              </a:pathLst>
            </a:custGeom>
            <a:solidFill>
              <a:srgbClr val="221F1F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6" name="Freeform 395">
              <a:extLst>
                <a:ext uri="{FF2B5EF4-FFF2-40B4-BE49-F238E27FC236}">
                  <a16:creationId xmlns:a16="http://schemas.microsoft.com/office/drawing/2014/main" id="{5A31EE5C-D620-1644-B62D-FA3EBB9D3737}"/>
                </a:ext>
              </a:extLst>
            </p:cNvPr>
            <p:cNvSpPr/>
            <p:nvPr/>
          </p:nvSpPr>
          <p:spPr>
            <a:xfrm>
              <a:off x="7125505" y="1657374"/>
              <a:ext cx="48293" cy="75769"/>
            </a:xfrm>
            <a:custGeom>
              <a:avLst/>
              <a:gdLst>
                <a:gd name="connsiteX0" fmla="*/ 48294 w 48293"/>
                <a:gd name="connsiteY0" fmla="*/ 22835 h 75769"/>
                <a:gd name="connsiteX1" fmla="*/ 48294 w 48293"/>
                <a:gd name="connsiteY1" fmla="*/ 52831 h 75769"/>
                <a:gd name="connsiteX2" fmla="*/ 25445 w 48293"/>
                <a:gd name="connsiteY2" fmla="*/ 75769 h 75769"/>
                <a:gd name="connsiteX3" fmla="*/ 22849 w 48293"/>
                <a:gd name="connsiteY3" fmla="*/ 75769 h 75769"/>
                <a:gd name="connsiteX4" fmla="*/ 0 w 48293"/>
                <a:gd name="connsiteY4" fmla="*/ 52935 h 75769"/>
                <a:gd name="connsiteX5" fmla="*/ 0 w 48293"/>
                <a:gd name="connsiteY5" fmla="*/ 52831 h 75769"/>
                <a:gd name="connsiteX6" fmla="*/ 0 w 48293"/>
                <a:gd name="connsiteY6" fmla="*/ 22835 h 75769"/>
                <a:gd name="connsiteX7" fmla="*/ 22641 w 48293"/>
                <a:gd name="connsiteY7" fmla="*/ 0 h 75769"/>
                <a:gd name="connsiteX8" fmla="*/ 22849 w 48293"/>
                <a:gd name="connsiteY8" fmla="*/ 0 h 75769"/>
                <a:gd name="connsiteX9" fmla="*/ 25445 w 48293"/>
                <a:gd name="connsiteY9" fmla="*/ 0 h 75769"/>
                <a:gd name="connsiteX10" fmla="*/ 48294 w 48293"/>
                <a:gd name="connsiteY10" fmla="*/ 22835 h 75769"/>
                <a:gd name="connsiteX11" fmla="*/ 34689 w 48293"/>
                <a:gd name="connsiteY11" fmla="*/ 46188 h 75769"/>
                <a:gd name="connsiteX12" fmla="*/ 34689 w 48293"/>
                <a:gd name="connsiteY12" fmla="*/ 29477 h 75769"/>
                <a:gd name="connsiteX13" fmla="*/ 24417 w 48293"/>
                <a:gd name="connsiteY13" fmla="*/ 16826 h 75769"/>
                <a:gd name="connsiteX14" fmla="*/ 24303 w 48293"/>
                <a:gd name="connsiteY14" fmla="*/ 16815 h 75769"/>
                <a:gd name="connsiteX15" fmla="*/ 23264 w 48293"/>
                <a:gd name="connsiteY15" fmla="*/ 16815 h 75769"/>
                <a:gd name="connsiteX16" fmla="*/ 12868 w 48293"/>
                <a:gd name="connsiteY16" fmla="*/ 29365 h 75769"/>
                <a:gd name="connsiteX17" fmla="*/ 12879 w 48293"/>
                <a:gd name="connsiteY17" fmla="*/ 29477 h 75769"/>
                <a:gd name="connsiteX18" fmla="*/ 12879 w 48293"/>
                <a:gd name="connsiteY18" fmla="*/ 46188 h 75769"/>
                <a:gd name="connsiteX19" fmla="*/ 23244 w 48293"/>
                <a:gd name="connsiteY19" fmla="*/ 58953 h 75769"/>
                <a:gd name="connsiteX20" fmla="*/ 23264 w 48293"/>
                <a:gd name="connsiteY20" fmla="*/ 58955 h 75769"/>
                <a:gd name="connsiteX21" fmla="*/ 24303 w 48293"/>
                <a:gd name="connsiteY21" fmla="*/ 58955 h 75769"/>
                <a:gd name="connsiteX22" fmla="*/ 34689 w 48293"/>
                <a:gd name="connsiteY22" fmla="*/ 46207 h 75769"/>
                <a:gd name="connsiteX23" fmla="*/ 34689 w 48293"/>
                <a:gd name="connsiteY23" fmla="*/ 46188 h 75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8293" h="75769">
                  <a:moveTo>
                    <a:pt x="48294" y="22835"/>
                  </a:moveTo>
                  <a:lnTo>
                    <a:pt x="48294" y="52831"/>
                  </a:lnTo>
                  <a:cubicBezTo>
                    <a:pt x="48294" y="65459"/>
                    <a:pt x="38085" y="75712"/>
                    <a:pt x="25445" y="75769"/>
                  </a:cubicBezTo>
                  <a:lnTo>
                    <a:pt x="22849" y="75769"/>
                  </a:lnTo>
                  <a:cubicBezTo>
                    <a:pt x="10230" y="75769"/>
                    <a:pt x="0" y="65547"/>
                    <a:pt x="0" y="52935"/>
                  </a:cubicBezTo>
                  <a:cubicBezTo>
                    <a:pt x="0" y="52900"/>
                    <a:pt x="0" y="52865"/>
                    <a:pt x="0" y="52831"/>
                  </a:cubicBezTo>
                  <a:lnTo>
                    <a:pt x="0" y="22835"/>
                  </a:lnTo>
                  <a:cubicBezTo>
                    <a:pt x="-62" y="10281"/>
                    <a:pt x="10074" y="57"/>
                    <a:pt x="22641" y="0"/>
                  </a:cubicBezTo>
                  <a:cubicBezTo>
                    <a:pt x="22714" y="0"/>
                    <a:pt x="22776" y="0"/>
                    <a:pt x="22849" y="0"/>
                  </a:cubicBezTo>
                  <a:lnTo>
                    <a:pt x="25445" y="0"/>
                  </a:lnTo>
                  <a:cubicBezTo>
                    <a:pt x="38064" y="0"/>
                    <a:pt x="48294" y="10224"/>
                    <a:pt x="48294" y="22835"/>
                  </a:cubicBezTo>
                  <a:close/>
                  <a:moveTo>
                    <a:pt x="34689" y="46188"/>
                  </a:moveTo>
                  <a:lnTo>
                    <a:pt x="34689" y="29477"/>
                  </a:lnTo>
                  <a:cubicBezTo>
                    <a:pt x="35343" y="23149"/>
                    <a:pt x="30752" y="17484"/>
                    <a:pt x="24417" y="16826"/>
                  </a:cubicBezTo>
                  <a:cubicBezTo>
                    <a:pt x="24375" y="16822"/>
                    <a:pt x="24344" y="16818"/>
                    <a:pt x="24303" y="16815"/>
                  </a:cubicBezTo>
                  <a:lnTo>
                    <a:pt x="23264" y="16815"/>
                  </a:lnTo>
                  <a:cubicBezTo>
                    <a:pt x="16929" y="17411"/>
                    <a:pt x="12266" y="23030"/>
                    <a:pt x="12868" y="29365"/>
                  </a:cubicBezTo>
                  <a:cubicBezTo>
                    <a:pt x="12868" y="29403"/>
                    <a:pt x="12879" y="29440"/>
                    <a:pt x="12879" y="29477"/>
                  </a:cubicBezTo>
                  <a:lnTo>
                    <a:pt x="12879" y="46188"/>
                  </a:lnTo>
                  <a:cubicBezTo>
                    <a:pt x="12214" y="52573"/>
                    <a:pt x="16856" y="58289"/>
                    <a:pt x="23244" y="58953"/>
                  </a:cubicBezTo>
                  <a:cubicBezTo>
                    <a:pt x="23254" y="58954"/>
                    <a:pt x="23254" y="58954"/>
                    <a:pt x="23264" y="58955"/>
                  </a:cubicBezTo>
                  <a:lnTo>
                    <a:pt x="24303" y="58955"/>
                  </a:lnTo>
                  <a:cubicBezTo>
                    <a:pt x="30690" y="58301"/>
                    <a:pt x="35343" y="52594"/>
                    <a:pt x="34689" y="46207"/>
                  </a:cubicBezTo>
                  <a:cubicBezTo>
                    <a:pt x="34689" y="46200"/>
                    <a:pt x="34689" y="46194"/>
                    <a:pt x="34689" y="46188"/>
                  </a:cubicBezTo>
                  <a:close/>
                </a:path>
              </a:pathLst>
            </a:custGeom>
            <a:solidFill>
              <a:srgbClr val="221F1F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7" name="Freeform 396">
              <a:extLst>
                <a:ext uri="{FF2B5EF4-FFF2-40B4-BE49-F238E27FC236}">
                  <a16:creationId xmlns:a16="http://schemas.microsoft.com/office/drawing/2014/main" id="{AC727D9E-C8B8-C549-A7FA-20959109E521}"/>
                </a:ext>
              </a:extLst>
            </p:cNvPr>
            <p:cNvSpPr/>
            <p:nvPr/>
          </p:nvSpPr>
          <p:spPr>
            <a:xfrm>
              <a:off x="7142920" y="1752137"/>
              <a:ext cx="22084" cy="70787"/>
            </a:xfrm>
            <a:custGeom>
              <a:avLst/>
              <a:gdLst>
                <a:gd name="connsiteX0" fmla="*/ 22051 w 22084"/>
                <a:gd name="connsiteY0" fmla="*/ 10379 h 70787"/>
                <a:gd name="connsiteX1" fmla="*/ 22051 w 22084"/>
                <a:gd name="connsiteY1" fmla="*/ 60408 h 70787"/>
                <a:gd name="connsiteX2" fmla="*/ 13639 w 22084"/>
                <a:gd name="connsiteY2" fmla="*/ 70787 h 70787"/>
                <a:gd name="connsiteX3" fmla="*/ 8446 w 22084"/>
                <a:gd name="connsiteY3" fmla="*/ 70787 h 70787"/>
                <a:gd name="connsiteX4" fmla="*/ 33 w 22084"/>
                <a:gd name="connsiteY4" fmla="*/ 60408 h 70787"/>
                <a:gd name="connsiteX5" fmla="*/ 33 w 22084"/>
                <a:gd name="connsiteY5" fmla="*/ 10379 h 70787"/>
                <a:gd name="connsiteX6" fmla="*/ 8446 w 22084"/>
                <a:gd name="connsiteY6" fmla="*/ 0 h 70787"/>
                <a:gd name="connsiteX7" fmla="*/ 13639 w 22084"/>
                <a:gd name="connsiteY7" fmla="*/ 0 h 70787"/>
                <a:gd name="connsiteX8" fmla="*/ 22051 w 22084"/>
                <a:gd name="connsiteY8" fmla="*/ 10379 h 70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084" h="70787">
                  <a:moveTo>
                    <a:pt x="22051" y="10379"/>
                  </a:moveTo>
                  <a:lnTo>
                    <a:pt x="22051" y="60408"/>
                  </a:lnTo>
                  <a:cubicBezTo>
                    <a:pt x="22477" y="65561"/>
                    <a:pt x="18769" y="70137"/>
                    <a:pt x="13639" y="70787"/>
                  </a:cubicBezTo>
                  <a:lnTo>
                    <a:pt x="8446" y="70787"/>
                  </a:lnTo>
                  <a:cubicBezTo>
                    <a:pt x="3315" y="70137"/>
                    <a:pt x="-392" y="65561"/>
                    <a:pt x="33" y="60408"/>
                  </a:cubicBezTo>
                  <a:lnTo>
                    <a:pt x="33" y="10379"/>
                  </a:lnTo>
                  <a:cubicBezTo>
                    <a:pt x="-392" y="5226"/>
                    <a:pt x="3315" y="650"/>
                    <a:pt x="8446" y="0"/>
                  </a:cubicBezTo>
                  <a:lnTo>
                    <a:pt x="13639" y="0"/>
                  </a:lnTo>
                  <a:cubicBezTo>
                    <a:pt x="18769" y="650"/>
                    <a:pt x="22477" y="5226"/>
                    <a:pt x="22051" y="10379"/>
                  </a:cubicBezTo>
                  <a:close/>
                </a:path>
              </a:pathLst>
            </a:custGeom>
            <a:solidFill>
              <a:srgbClr val="221F1F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8" name="Freeform 397">
              <a:extLst>
                <a:ext uri="{FF2B5EF4-FFF2-40B4-BE49-F238E27FC236}">
                  <a16:creationId xmlns:a16="http://schemas.microsoft.com/office/drawing/2014/main" id="{F3E7AAF7-F92E-0E4B-9C06-34D81C72E27F}"/>
                </a:ext>
              </a:extLst>
            </p:cNvPr>
            <p:cNvSpPr/>
            <p:nvPr/>
          </p:nvSpPr>
          <p:spPr>
            <a:xfrm>
              <a:off x="7074823" y="1748712"/>
              <a:ext cx="48397" cy="75769"/>
            </a:xfrm>
            <a:custGeom>
              <a:avLst/>
              <a:gdLst>
                <a:gd name="connsiteX0" fmla="*/ 48398 w 48397"/>
                <a:gd name="connsiteY0" fmla="*/ 22834 h 75769"/>
                <a:gd name="connsiteX1" fmla="*/ 48398 w 48397"/>
                <a:gd name="connsiteY1" fmla="*/ 52935 h 75769"/>
                <a:gd name="connsiteX2" fmla="*/ 25549 w 48397"/>
                <a:gd name="connsiteY2" fmla="*/ 75769 h 75769"/>
                <a:gd name="connsiteX3" fmla="*/ 22849 w 48397"/>
                <a:gd name="connsiteY3" fmla="*/ 75769 h 75769"/>
                <a:gd name="connsiteX4" fmla="*/ 0 w 48397"/>
                <a:gd name="connsiteY4" fmla="*/ 52935 h 75769"/>
                <a:gd name="connsiteX5" fmla="*/ 0 w 48397"/>
                <a:gd name="connsiteY5" fmla="*/ 22834 h 75769"/>
                <a:gd name="connsiteX6" fmla="*/ 22849 w 48397"/>
                <a:gd name="connsiteY6" fmla="*/ 0 h 75769"/>
                <a:gd name="connsiteX7" fmla="*/ 25549 w 48397"/>
                <a:gd name="connsiteY7" fmla="*/ 0 h 75769"/>
                <a:gd name="connsiteX8" fmla="*/ 48398 w 48397"/>
                <a:gd name="connsiteY8" fmla="*/ 22834 h 75769"/>
                <a:gd name="connsiteX9" fmla="*/ 34688 w 48397"/>
                <a:gd name="connsiteY9" fmla="*/ 46292 h 75769"/>
                <a:gd name="connsiteX10" fmla="*/ 34688 w 48397"/>
                <a:gd name="connsiteY10" fmla="*/ 29477 h 75769"/>
                <a:gd name="connsiteX11" fmla="*/ 24822 w 48397"/>
                <a:gd name="connsiteY11" fmla="*/ 16814 h 75769"/>
                <a:gd name="connsiteX12" fmla="*/ 23680 w 48397"/>
                <a:gd name="connsiteY12" fmla="*/ 16814 h 75769"/>
                <a:gd name="connsiteX13" fmla="*/ 13283 w 48397"/>
                <a:gd name="connsiteY13" fmla="*/ 29364 h 75769"/>
                <a:gd name="connsiteX14" fmla="*/ 13294 w 48397"/>
                <a:gd name="connsiteY14" fmla="*/ 29477 h 75769"/>
                <a:gd name="connsiteX15" fmla="*/ 13294 w 48397"/>
                <a:gd name="connsiteY15" fmla="*/ 46292 h 75769"/>
                <a:gd name="connsiteX16" fmla="*/ 23680 w 48397"/>
                <a:gd name="connsiteY16" fmla="*/ 58955 h 75769"/>
                <a:gd name="connsiteX17" fmla="*/ 24822 w 48397"/>
                <a:gd name="connsiteY17" fmla="*/ 58955 h 75769"/>
                <a:gd name="connsiteX18" fmla="*/ 34688 w 48397"/>
                <a:gd name="connsiteY18" fmla="*/ 46292 h 75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8397" h="75769">
                  <a:moveTo>
                    <a:pt x="48398" y="22834"/>
                  </a:moveTo>
                  <a:lnTo>
                    <a:pt x="48398" y="52935"/>
                  </a:lnTo>
                  <a:cubicBezTo>
                    <a:pt x="48346" y="65523"/>
                    <a:pt x="38147" y="75712"/>
                    <a:pt x="25549" y="75769"/>
                  </a:cubicBezTo>
                  <a:lnTo>
                    <a:pt x="22849" y="75769"/>
                  </a:lnTo>
                  <a:cubicBezTo>
                    <a:pt x="10251" y="75712"/>
                    <a:pt x="52" y="65522"/>
                    <a:pt x="0" y="52935"/>
                  </a:cubicBezTo>
                  <a:lnTo>
                    <a:pt x="0" y="22834"/>
                  </a:lnTo>
                  <a:cubicBezTo>
                    <a:pt x="52" y="10246"/>
                    <a:pt x="10251" y="57"/>
                    <a:pt x="22849" y="0"/>
                  </a:cubicBezTo>
                  <a:lnTo>
                    <a:pt x="25549" y="0"/>
                  </a:lnTo>
                  <a:cubicBezTo>
                    <a:pt x="38147" y="57"/>
                    <a:pt x="48346" y="10247"/>
                    <a:pt x="48398" y="22834"/>
                  </a:cubicBezTo>
                  <a:close/>
                  <a:moveTo>
                    <a:pt x="34688" y="46292"/>
                  </a:moveTo>
                  <a:lnTo>
                    <a:pt x="34688" y="29477"/>
                  </a:lnTo>
                  <a:cubicBezTo>
                    <a:pt x="35363" y="23285"/>
                    <a:pt x="30991" y="17676"/>
                    <a:pt x="24822" y="16814"/>
                  </a:cubicBezTo>
                  <a:lnTo>
                    <a:pt x="23680" y="16814"/>
                  </a:lnTo>
                  <a:cubicBezTo>
                    <a:pt x="17344" y="17411"/>
                    <a:pt x="12681" y="23030"/>
                    <a:pt x="13283" y="29364"/>
                  </a:cubicBezTo>
                  <a:cubicBezTo>
                    <a:pt x="13283" y="29403"/>
                    <a:pt x="13294" y="29440"/>
                    <a:pt x="13294" y="29477"/>
                  </a:cubicBezTo>
                  <a:lnTo>
                    <a:pt x="13294" y="46292"/>
                  </a:lnTo>
                  <a:cubicBezTo>
                    <a:pt x="12692" y="52647"/>
                    <a:pt x="17323" y="58300"/>
                    <a:pt x="23680" y="58955"/>
                  </a:cubicBezTo>
                  <a:lnTo>
                    <a:pt x="24822" y="58955"/>
                  </a:lnTo>
                  <a:cubicBezTo>
                    <a:pt x="30970" y="58043"/>
                    <a:pt x="35311" y="52469"/>
                    <a:pt x="34688" y="46292"/>
                  </a:cubicBezTo>
                  <a:close/>
                </a:path>
              </a:pathLst>
            </a:custGeom>
            <a:solidFill>
              <a:srgbClr val="221F1F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9" name="Freeform 398">
              <a:extLst>
                <a:ext uri="{FF2B5EF4-FFF2-40B4-BE49-F238E27FC236}">
                  <a16:creationId xmlns:a16="http://schemas.microsoft.com/office/drawing/2014/main" id="{EAF5AA27-D5D2-EB40-90EC-7CF752385775}"/>
                </a:ext>
              </a:extLst>
            </p:cNvPr>
            <p:cNvSpPr/>
            <p:nvPr/>
          </p:nvSpPr>
          <p:spPr>
            <a:xfrm>
              <a:off x="7084127" y="1571433"/>
              <a:ext cx="22104" cy="70787"/>
            </a:xfrm>
            <a:custGeom>
              <a:avLst/>
              <a:gdLst>
                <a:gd name="connsiteX0" fmla="*/ 22061 w 22104"/>
                <a:gd name="connsiteY0" fmla="*/ 10379 h 70787"/>
                <a:gd name="connsiteX1" fmla="*/ 22061 w 22104"/>
                <a:gd name="connsiteY1" fmla="*/ 60408 h 70787"/>
                <a:gd name="connsiteX2" fmla="*/ 13649 w 22104"/>
                <a:gd name="connsiteY2" fmla="*/ 70787 h 70787"/>
                <a:gd name="connsiteX3" fmla="*/ 8352 w 22104"/>
                <a:gd name="connsiteY3" fmla="*/ 70787 h 70787"/>
                <a:gd name="connsiteX4" fmla="*/ 43 w 22104"/>
                <a:gd name="connsiteY4" fmla="*/ 60408 h 70787"/>
                <a:gd name="connsiteX5" fmla="*/ 43 w 22104"/>
                <a:gd name="connsiteY5" fmla="*/ 10379 h 70787"/>
                <a:gd name="connsiteX6" fmla="*/ 8352 w 22104"/>
                <a:gd name="connsiteY6" fmla="*/ 0 h 70787"/>
                <a:gd name="connsiteX7" fmla="*/ 13649 w 22104"/>
                <a:gd name="connsiteY7" fmla="*/ 0 h 70787"/>
                <a:gd name="connsiteX8" fmla="*/ 22061 w 22104"/>
                <a:gd name="connsiteY8" fmla="*/ 10379 h 70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104" h="70787">
                  <a:moveTo>
                    <a:pt x="22061" y="10379"/>
                  </a:moveTo>
                  <a:lnTo>
                    <a:pt x="22061" y="60408"/>
                  </a:lnTo>
                  <a:cubicBezTo>
                    <a:pt x="22487" y="65561"/>
                    <a:pt x="18780" y="70137"/>
                    <a:pt x="13649" y="70787"/>
                  </a:cubicBezTo>
                  <a:lnTo>
                    <a:pt x="8352" y="70787"/>
                  </a:lnTo>
                  <a:cubicBezTo>
                    <a:pt x="3263" y="70087"/>
                    <a:pt x="-393" y="65526"/>
                    <a:pt x="43" y="60408"/>
                  </a:cubicBezTo>
                  <a:lnTo>
                    <a:pt x="43" y="10379"/>
                  </a:lnTo>
                  <a:cubicBezTo>
                    <a:pt x="-445" y="5245"/>
                    <a:pt x="3232" y="650"/>
                    <a:pt x="8352" y="0"/>
                  </a:cubicBezTo>
                  <a:lnTo>
                    <a:pt x="13649" y="0"/>
                  </a:lnTo>
                  <a:cubicBezTo>
                    <a:pt x="18811" y="598"/>
                    <a:pt x="22549" y="5209"/>
                    <a:pt x="22061" y="10379"/>
                  </a:cubicBezTo>
                  <a:close/>
                </a:path>
              </a:pathLst>
            </a:custGeom>
            <a:solidFill>
              <a:srgbClr val="221F1F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0" name="Freeform 399">
              <a:extLst>
                <a:ext uri="{FF2B5EF4-FFF2-40B4-BE49-F238E27FC236}">
                  <a16:creationId xmlns:a16="http://schemas.microsoft.com/office/drawing/2014/main" id="{E5C4B956-AB67-724E-B5B5-4F5DEF99E239}"/>
                </a:ext>
              </a:extLst>
            </p:cNvPr>
            <p:cNvSpPr/>
            <p:nvPr/>
          </p:nvSpPr>
          <p:spPr>
            <a:xfrm>
              <a:off x="7083712" y="1659865"/>
              <a:ext cx="21992" cy="70786"/>
            </a:xfrm>
            <a:custGeom>
              <a:avLst/>
              <a:gdLst>
                <a:gd name="connsiteX0" fmla="*/ 21957 w 21992"/>
                <a:gd name="connsiteY0" fmla="*/ 10379 h 70786"/>
                <a:gd name="connsiteX1" fmla="*/ 21957 w 21992"/>
                <a:gd name="connsiteY1" fmla="*/ 60408 h 70786"/>
                <a:gd name="connsiteX2" fmla="*/ 13649 w 21992"/>
                <a:gd name="connsiteY2" fmla="*/ 70787 h 70786"/>
                <a:gd name="connsiteX3" fmla="*/ 8352 w 21992"/>
                <a:gd name="connsiteY3" fmla="*/ 70787 h 70786"/>
                <a:gd name="connsiteX4" fmla="*/ 44 w 21992"/>
                <a:gd name="connsiteY4" fmla="*/ 60408 h 70786"/>
                <a:gd name="connsiteX5" fmla="*/ 44 w 21992"/>
                <a:gd name="connsiteY5" fmla="*/ 10379 h 70786"/>
                <a:gd name="connsiteX6" fmla="*/ 8352 w 21992"/>
                <a:gd name="connsiteY6" fmla="*/ 0 h 70786"/>
                <a:gd name="connsiteX7" fmla="*/ 13649 w 21992"/>
                <a:gd name="connsiteY7" fmla="*/ 0 h 70786"/>
                <a:gd name="connsiteX8" fmla="*/ 21957 w 21992"/>
                <a:gd name="connsiteY8" fmla="*/ 10379 h 7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992" h="70786">
                  <a:moveTo>
                    <a:pt x="21957" y="10379"/>
                  </a:moveTo>
                  <a:lnTo>
                    <a:pt x="21957" y="60408"/>
                  </a:lnTo>
                  <a:cubicBezTo>
                    <a:pt x="22393" y="65526"/>
                    <a:pt x="18738" y="70087"/>
                    <a:pt x="13649" y="70787"/>
                  </a:cubicBezTo>
                  <a:lnTo>
                    <a:pt x="8352" y="70787"/>
                  </a:lnTo>
                  <a:cubicBezTo>
                    <a:pt x="3232" y="70137"/>
                    <a:pt x="-445" y="65542"/>
                    <a:pt x="44" y="60408"/>
                  </a:cubicBezTo>
                  <a:lnTo>
                    <a:pt x="44" y="10379"/>
                  </a:lnTo>
                  <a:cubicBezTo>
                    <a:pt x="-445" y="5245"/>
                    <a:pt x="3232" y="650"/>
                    <a:pt x="8352" y="0"/>
                  </a:cubicBezTo>
                  <a:lnTo>
                    <a:pt x="13649" y="0"/>
                  </a:lnTo>
                  <a:cubicBezTo>
                    <a:pt x="18738" y="700"/>
                    <a:pt x="22393" y="5261"/>
                    <a:pt x="21957" y="10379"/>
                  </a:cubicBezTo>
                  <a:close/>
                </a:path>
              </a:pathLst>
            </a:custGeom>
            <a:solidFill>
              <a:srgbClr val="221F1F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1" name="Freeform 400">
              <a:extLst>
                <a:ext uri="{FF2B5EF4-FFF2-40B4-BE49-F238E27FC236}">
                  <a16:creationId xmlns:a16="http://schemas.microsoft.com/office/drawing/2014/main" id="{8B357A64-65A7-954D-922B-086141E1DBBA}"/>
                </a:ext>
              </a:extLst>
            </p:cNvPr>
            <p:cNvSpPr/>
            <p:nvPr/>
          </p:nvSpPr>
          <p:spPr>
            <a:xfrm>
              <a:off x="7239334" y="1295135"/>
              <a:ext cx="227655" cy="49716"/>
            </a:xfrm>
            <a:custGeom>
              <a:avLst/>
              <a:gdLst>
                <a:gd name="connsiteX0" fmla="*/ 0 w 227655"/>
                <a:gd name="connsiteY0" fmla="*/ 0 h 49716"/>
                <a:gd name="connsiteX1" fmla="*/ 227656 w 227655"/>
                <a:gd name="connsiteY1" fmla="*/ 0 h 49716"/>
                <a:gd name="connsiteX2" fmla="*/ 227656 w 227655"/>
                <a:gd name="connsiteY2" fmla="*/ 49717 h 49716"/>
                <a:gd name="connsiteX3" fmla="*/ 0 w 227655"/>
                <a:gd name="connsiteY3" fmla="*/ 49717 h 49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7655" h="49716">
                  <a:moveTo>
                    <a:pt x="0" y="0"/>
                  </a:moveTo>
                  <a:lnTo>
                    <a:pt x="227656" y="0"/>
                  </a:lnTo>
                  <a:lnTo>
                    <a:pt x="227656" y="49717"/>
                  </a:lnTo>
                  <a:lnTo>
                    <a:pt x="0" y="49717"/>
                  </a:ln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2" name="Freeform 401">
              <a:extLst>
                <a:ext uri="{FF2B5EF4-FFF2-40B4-BE49-F238E27FC236}">
                  <a16:creationId xmlns:a16="http://schemas.microsoft.com/office/drawing/2014/main" id="{FD31ECCE-8076-EA4F-BB2D-2A3E1D879739}"/>
                </a:ext>
              </a:extLst>
            </p:cNvPr>
            <p:cNvSpPr/>
            <p:nvPr/>
          </p:nvSpPr>
          <p:spPr>
            <a:xfrm>
              <a:off x="7090194" y="1486011"/>
              <a:ext cx="227655" cy="49716"/>
            </a:xfrm>
            <a:custGeom>
              <a:avLst/>
              <a:gdLst>
                <a:gd name="connsiteX0" fmla="*/ 0 w 227655"/>
                <a:gd name="connsiteY0" fmla="*/ 0 h 49716"/>
                <a:gd name="connsiteX1" fmla="*/ 227656 w 227655"/>
                <a:gd name="connsiteY1" fmla="*/ 0 h 49716"/>
                <a:gd name="connsiteX2" fmla="*/ 227656 w 227655"/>
                <a:gd name="connsiteY2" fmla="*/ 49717 h 49716"/>
                <a:gd name="connsiteX3" fmla="*/ 0 w 227655"/>
                <a:gd name="connsiteY3" fmla="*/ 49717 h 49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7655" h="49716">
                  <a:moveTo>
                    <a:pt x="0" y="0"/>
                  </a:moveTo>
                  <a:lnTo>
                    <a:pt x="227656" y="0"/>
                  </a:lnTo>
                  <a:lnTo>
                    <a:pt x="227656" y="49717"/>
                  </a:lnTo>
                  <a:lnTo>
                    <a:pt x="0" y="49717"/>
                  </a:ln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3" name="Freeform 402">
              <a:extLst>
                <a:ext uri="{FF2B5EF4-FFF2-40B4-BE49-F238E27FC236}">
                  <a16:creationId xmlns:a16="http://schemas.microsoft.com/office/drawing/2014/main" id="{CDEAA540-BC43-5B41-89B1-C640F331F454}"/>
                </a:ext>
              </a:extLst>
            </p:cNvPr>
            <p:cNvSpPr/>
            <p:nvPr/>
          </p:nvSpPr>
          <p:spPr>
            <a:xfrm>
              <a:off x="7089675" y="1391248"/>
              <a:ext cx="75400" cy="47018"/>
            </a:xfrm>
            <a:custGeom>
              <a:avLst/>
              <a:gdLst>
                <a:gd name="connsiteX0" fmla="*/ 0 w 75400"/>
                <a:gd name="connsiteY0" fmla="*/ 0 h 47018"/>
                <a:gd name="connsiteX1" fmla="*/ 75401 w 75400"/>
                <a:gd name="connsiteY1" fmla="*/ 0 h 47018"/>
                <a:gd name="connsiteX2" fmla="*/ 75401 w 75400"/>
                <a:gd name="connsiteY2" fmla="*/ 47018 h 47018"/>
                <a:gd name="connsiteX3" fmla="*/ 0 w 75400"/>
                <a:gd name="connsiteY3" fmla="*/ 47018 h 47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400" h="47018">
                  <a:moveTo>
                    <a:pt x="0" y="0"/>
                  </a:moveTo>
                  <a:lnTo>
                    <a:pt x="75401" y="0"/>
                  </a:lnTo>
                  <a:lnTo>
                    <a:pt x="75401" y="47018"/>
                  </a:lnTo>
                  <a:lnTo>
                    <a:pt x="0" y="47018"/>
                  </a:ln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4" name="Freeform 403">
              <a:extLst>
                <a:ext uri="{FF2B5EF4-FFF2-40B4-BE49-F238E27FC236}">
                  <a16:creationId xmlns:a16="http://schemas.microsoft.com/office/drawing/2014/main" id="{E242A67F-0C0D-1945-8335-0A32A8D4BF32}"/>
                </a:ext>
              </a:extLst>
            </p:cNvPr>
            <p:cNvSpPr/>
            <p:nvPr/>
          </p:nvSpPr>
          <p:spPr>
            <a:xfrm>
              <a:off x="7089675" y="1297211"/>
              <a:ext cx="75400" cy="47018"/>
            </a:xfrm>
            <a:custGeom>
              <a:avLst/>
              <a:gdLst>
                <a:gd name="connsiteX0" fmla="*/ 0 w 75400"/>
                <a:gd name="connsiteY0" fmla="*/ 0 h 47018"/>
                <a:gd name="connsiteX1" fmla="*/ 75401 w 75400"/>
                <a:gd name="connsiteY1" fmla="*/ 0 h 47018"/>
                <a:gd name="connsiteX2" fmla="*/ 75401 w 75400"/>
                <a:gd name="connsiteY2" fmla="*/ 47018 h 47018"/>
                <a:gd name="connsiteX3" fmla="*/ 0 w 75400"/>
                <a:gd name="connsiteY3" fmla="*/ 47018 h 47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400" h="47018">
                  <a:moveTo>
                    <a:pt x="0" y="0"/>
                  </a:moveTo>
                  <a:lnTo>
                    <a:pt x="75401" y="0"/>
                  </a:lnTo>
                  <a:lnTo>
                    <a:pt x="75401" y="47018"/>
                  </a:lnTo>
                  <a:lnTo>
                    <a:pt x="0" y="47018"/>
                  </a:ln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5" name="Freeform 404">
              <a:extLst>
                <a:ext uri="{FF2B5EF4-FFF2-40B4-BE49-F238E27FC236}">
                  <a16:creationId xmlns:a16="http://schemas.microsoft.com/office/drawing/2014/main" id="{08D05D63-4C69-364D-899D-2B2DCE6F6B2B}"/>
                </a:ext>
              </a:extLst>
            </p:cNvPr>
            <p:cNvSpPr/>
            <p:nvPr/>
          </p:nvSpPr>
          <p:spPr>
            <a:xfrm>
              <a:off x="7240372" y="1391248"/>
              <a:ext cx="75400" cy="47018"/>
            </a:xfrm>
            <a:custGeom>
              <a:avLst/>
              <a:gdLst>
                <a:gd name="connsiteX0" fmla="*/ 0 w 75400"/>
                <a:gd name="connsiteY0" fmla="*/ 0 h 47018"/>
                <a:gd name="connsiteX1" fmla="*/ 75401 w 75400"/>
                <a:gd name="connsiteY1" fmla="*/ 0 h 47018"/>
                <a:gd name="connsiteX2" fmla="*/ 75401 w 75400"/>
                <a:gd name="connsiteY2" fmla="*/ 47018 h 47018"/>
                <a:gd name="connsiteX3" fmla="*/ 0 w 75400"/>
                <a:gd name="connsiteY3" fmla="*/ 47018 h 47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400" h="47018">
                  <a:moveTo>
                    <a:pt x="0" y="0"/>
                  </a:moveTo>
                  <a:lnTo>
                    <a:pt x="75401" y="0"/>
                  </a:lnTo>
                  <a:lnTo>
                    <a:pt x="75401" y="47018"/>
                  </a:lnTo>
                  <a:lnTo>
                    <a:pt x="0" y="47018"/>
                  </a:ln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6" name="Freeform 405">
              <a:extLst>
                <a:ext uri="{FF2B5EF4-FFF2-40B4-BE49-F238E27FC236}">
                  <a16:creationId xmlns:a16="http://schemas.microsoft.com/office/drawing/2014/main" id="{0BCFDEE9-EF94-2342-8775-59B00C72DD7D}"/>
                </a:ext>
              </a:extLst>
            </p:cNvPr>
            <p:cNvSpPr/>
            <p:nvPr/>
          </p:nvSpPr>
          <p:spPr>
            <a:xfrm>
              <a:off x="7391173" y="1391248"/>
              <a:ext cx="75400" cy="47018"/>
            </a:xfrm>
            <a:custGeom>
              <a:avLst/>
              <a:gdLst>
                <a:gd name="connsiteX0" fmla="*/ 0 w 75400"/>
                <a:gd name="connsiteY0" fmla="*/ 0 h 47018"/>
                <a:gd name="connsiteX1" fmla="*/ 75401 w 75400"/>
                <a:gd name="connsiteY1" fmla="*/ 0 h 47018"/>
                <a:gd name="connsiteX2" fmla="*/ 75401 w 75400"/>
                <a:gd name="connsiteY2" fmla="*/ 47018 h 47018"/>
                <a:gd name="connsiteX3" fmla="*/ 0 w 75400"/>
                <a:gd name="connsiteY3" fmla="*/ 47018 h 47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400" h="47018">
                  <a:moveTo>
                    <a:pt x="0" y="0"/>
                  </a:moveTo>
                  <a:lnTo>
                    <a:pt x="75401" y="0"/>
                  </a:lnTo>
                  <a:lnTo>
                    <a:pt x="75401" y="47018"/>
                  </a:lnTo>
                  <a:lnTo>
                    <a:pt x="0" y="47018"/>
                  </a:ln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7" name="Freeform 406">
              <a:extLst>
                <a:ext uri="{FF2B5EF4-FFF2-40B4-BE49-F238E27FC236}">
                  <a16:creationId xmlns:a16="http://schemas.microsoft.com/office/drawing/2014/main" id="{D195B12B-5581-3E49-B70A-2BB76B58CF74}"/>
                </a:ext>
              </a:extLst>
            </p:cNvPr>
            <p:cNvSpPr/>
            <p:nvPr/>
          </p:nvSpPr>
          <p:spPr>
            <a:xfrm>
              <a:off x="7391173" y="1485181"/>
              <a:ext cx="75400" cy="47018"/>
            </a:xfrm>
            <a:custGeom>
              <a:avLst/>
              <a:gdLst>
                <a:gd name="connsiteX0" fmla="*/ 0 w 75400"/>
                <a:gd name="connsiteY0" fmla="*/ 0 h 47018"/>
                <a:gd name="connsiteX1" fmla="*/ 75401 w 75400"/>
                <a:gd name="connsiteY1" fmla="*/ 0 h 47018"/>
                <a:gd name="connsiteX2" fmla="*/ 75401 w 75400"/>
                <a:gd name="connsiteY2" fmla="*/ 47018 h 47018"/>
                <a:gd name="connsiteX3" fmla="*/ 0 w 75400"/>
                <a:gd name="connsiteY3" fmla="*/ 47018 h 47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400" h="47018">
                  <a:moveTo>
                    <a:pt x="0" y="0"/>
                  </a:moveTo>
                  <a:lnTo>
                    <a:pt x="75401" y="0"/>
                  </a:lnTo>
                  <a:lnTo>
                    <a:pt x="75401" y="47018"/>
                  </a:lnTo>
                  <a:lnTo>
                    <a:pt x="0" y="47018"/>
                  </a:ln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8" name="Freeform 407">
              <a:extLst>
                <a:ext uri="{FF2B5EF4-FFF2-40B4-BE49-F238E27FC236}">
                  <a16:creationId xmlns:a16="http://schemas.microsoft.com/office/drawing/2014/main" id="{D2A2ABB5-8291-DC4C-A66E-82B2BDDA3C9E}"/>
                </a:ext>
              </a:extLst>
            </p:cNvPr>
            <p:cNvSpPr/>
            <p:nvPr/>
          </p:nvSpPr>
          <p:spPr>
            <a:xfrm>
              <a:off x="10361498" y="5713408"/>
              <a:ext cx="384895" cy="152472"/>
            </a:xfrm>
            <a:custGeom>
              <a:avLst/>
              <a:gdLst>
                <a:gd name="connsiteX0" fmla="*/ 0 w 384895"/>
                <a:gd name="connsiteY0" fmla="*/ 152472 h 152472"/>
                <a:gd name="connsiteX1" fmla="*/ 189436 w 384895"/>
                <a:gd name="connsiteY1" fmla="*/ 125694 h 152472"/>
                <a:gd name="connsiteX2" fmla="*/ 384896 w 384895"/>
                <a:gd name="connsiteY2" fmla="*/ 0 h 152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4895" h="152472">
                  <a:moveTo>
                    <a:pt x="0" y="152472"/>
                  </a:moveTo>
                  <a:lnTo>
                    <a:pt x="189436" y="125694"/>
                  </a:lnTo>
                  <a:lnTo>
                    <a:pt x="384896" y="0"/>
                  </a:lnTo>
                </a:path>
              </a:pathLst>
            </a:custGeom>
            <a:noFill/>
            <a:ln w="31124" cap="rnd">
              <a:solidFill>
                <a:srgbClr val="231F2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9" name="Freeform 408">
              <a:extLst>
                <a:ext uri="{FF2B5EF4-FFF2-40B4-BE49-F238E27FC236}">
                  <a16:creationId xmlns:a16="http://schemas.microsoft.com/office/drawing/2014/main" id="{F72E0214-BCB2-CF4A-A4BB-A27A38AFB6D1}"/>
                </a:ext>
              </a:extLst>
            </p:cNvPr>
            <p:cNvSpPr/>
            <p:nvPr/>
          </p:nvSpPr>
          <p:spPr>
            <a:xfrm>
              <a:off x="8836974" y="5494300"/>
              <a:ext cx="1514346" cy="829741"/>
            </a:xfrm>
            <a:custGeom>
              <a:avLst/>
              <a:gdLst>
                <a:gd name="connsiteX0" fmla="*/ 127018 w 1514346"/>
                <a:gd name="connsiteY0" fmla="*/ 0 h 829741"/>
                <a:gd name="connsiteX1" fmla="*/ 437656 w 1514346"/>
                <a:gd name="connsiteY1" fmla="*/ 380714 h 829741"/>
                <a:gd name="connsiteX2" fmla="*/ 1389717 w 1514346"/>
                <a:gd name="connsiteY2" fmla="*/ 50340 h 829741"/>
                <a:gd name="connsiteX3" fmla="*/ 1514346 w 1514346"/>
                <a:gd name="connsiteY3" fmla="*/ 392858 h 829741"/>
                <a:gd name="connsiteX4" fmla="*/ 274183 w 1514346"/>
                <a:gd name="connsiteY4" fmla="*/ 821627 h 829741"/>
                <a:gd name="connsiteX5" fmla="*/ 0 w 1514346"/>
                <a:gd name="connsiteY5" fmla="*/ 495924 h 829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14346" h="829741">
                  <a:moveTo>
                    <a:pt x="127018" y="0"/>
                  </a:moveTo>
                  <a:cubicBezTo>
                    <a:pt x="237730" y="190149"/>
                    <a:pt x="362359" y="372306"/>
                    <a:pt x="437656" y="380714"/>
                  </a:cubicBezTo>
                  <a:cubicBezTo>
                    <a:pt x="597077" y="398566"/>
                    <a:pt x="1389717" y="50340"/>
                    <a:pt x="1389717" y="50340"/>
                  </a:cubicBezTo>
                  <a:lnTo>
                    <a:pt x="1514346" y="392858"/>
                  </a:lnTo>
                  <a:cubicBezTo>
                    <a:pt x="1514346" y="392858"/>
                    <a:pt x="413976" y="899369"/>
                    <a:pt x="274183" y="821627"/>
                  </a:cubicBezTo>
                  <a:cubicBezTo>
                    <a:pt x="219035" y="790490"/>
                    <a:pt x="110920" y="652444"/>
                    <a:pt x="0" y="495924"/>
                  </a:cubicBezTo>
                </a:path>
              </a:pathLst>
            </a:custGeom>
            <a:noFill/>
            <a:ln w="31124" cap="flat">
              <a:solidFill>
                <a:srgbClr val="231F2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0" name="Freeform 409">
              <a:extLst>
                <a:ext uri="{FF2B5EF4-FFF2-40B4-BE49-F238E27FC236}">
                  <a16:creationId xmlns:a16="http://schemas.microsoft.com/office/drawing/2014/main" id="{131B4962-1BDE-814B-ACD5-6727CEB0A437}"/>
                </a:ext>
              </a:extLst>
            </p:cNvPr>
            <p:cNvSpPr/>
            <p:nvPr/>
          </p:nvSpPr>
          <p:spPr>
            <a:xfrm>
              <a:off x="10261587" y="5453831"/>
              <a:ext cx="383802" cy="165332"/>
            </a:xfrm>
            <a:custGeom>
              <a:avLst/>
              <a:gdLst>
                <a:gd name="connsiteX0" fmla="*/ 0 w 383802"/>
                <a:gd name="connsiteY0" fmla="*/ 165333 h 165332"/>
                <a:gd name="connsiteX1" fmla="*/ 382092 w 383802"/>
                <a:gd name="connsiteY1" fmla="*/ 13587 h 165332"/>
                <a:gd name="connsiteX2" fmla="*/ 227655 w 383802"/>
                <a:gd name="connsiteY2" fmla="*/ 162115 h 165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3802" h="165332">
                  <a:moveTo>
                    <a:pt x="0" y="165333"/>
                  </a:moveTo>
                  <a:cubicBezTo>
                    <a:pt x="0" y="165333"/>
                    <a:pt x="365475" y="-56162"/>
                    <a:pt x="382092" y="13587"/>
                  </a:cubicBezTo>
                  <a:cubicBezTo>
                    <a:pt x="402863" y="100566"/>
                    <a:pt x="227655" y="162115"/>
                    <a:pt x="227655" y="162115"/>
                  </a:cubicBezTo>
                </a:path>
              </a:pathLst>
            </a:custGeom>
            <a:noFill/>
            <a:ln w="31124" cap="flat">
              <a:solidFill>
                <a:srgbClr val="231F2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1" name="Freeform 410">
              <a:extLst>
                <a:ext uri="{FF2B5EF4-FFF2-40B4-BE49-F238E27FC236}">
                  <a16:creationId xmlns:a16="http://schemas.microsoft.com/office/drawing/2014/main" id="{4FEDDE9A-2BF8-F048-88B7-D39ECDF16A35}"/>
                </a:ext>
              </a:extLst>
            </p:cNvPr>
            <p:cNvSpPr/>
            <p:nvPr/>
          </p:nvSpPr>
          <p:spPr>
            <a:xfrm>
              <a:off x="10140905" y="5622796"/>
              <a:ext cx="60445" cy="60407"/>
            </a:xfrm>
            <a:custGeom>
              <a:avLst/>
              <a:gdLst>
                <a:gd name="connsiteX0" fmla="*/ 60445 w 60445"/>
                <a:gd name="connsiteY0" fmla="*/ 30204 h 60407"/>
                <a:gd name="connsiteX1" fmla="*/ 30223 w 60445"/>
                <a:gd name="connsiteY1" fmla="*/ 60408 h 60407"/>
                <a:gd name="connsiteX2" fmla="*/ 1 w 60445"/>
                <a:gd name="connsiteY2" fmla="*/ 30204 h 60407"/>
                <a:gd name="connsiteX3" fmla="*/ 30223 w 60445"/>
                <a:gd name="connsiteY3" fmla="*/ 0 h 60407"/>
                <a:gd name="connsiteX4" fmla="*/ 60445 w 60445"/>
                <a:gd name="connsiteY4" fmla="*/ 30204 h 60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445" h="60407">
                  <a:moveTo>
                    <a:pt x="60445" y="30204"/>
                  </a:moveTo>
                  <a:cubicBezTo>
                    <a:pt x="60445" y="46885"/>
                    <a:pt x="46914" y="60408"/>
                    <a:pt x="30223" y="60408"/>
                  </a:cubicBezTo>
                  <a:cubicBezTo>
                    <a:pt x="13531" y="60408"/>
                    <a:pt x="1" y="46885"/>
                    <a:pt x="1" y="30204"/>
                  </a:cubicBezTo>
                  <a:cubicBezTo>
                    <a:pt x="1" y="13523"/>
                    <a:pt x="13532" y="0"/>
                    <a:pt x="30223" y="0"/>
                  </a:cubicBezTo>
                  <a:cubicBezTo>
                    <a:pt x="46915" y="0"/>
                    <a:pt x="60445" y="13523"/>
                    <a:pt x="60445" y="30204"/>
                  </a:cubicBezTo>
                  <a:close/>
                </a:path>
              </a:pathLst>
            </a:custGeom>
            <a:solidFill>
              <a:srgbClr val="231F2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2" name="Freeform 411">
              <a:extLst>
                <a:ext uri="{FF2B5EF4-FFF2-40B4-BE49-F238E27FC236}">
                  <a16:creationId xmlns:a16="http://schemas.microsoft.com/office/drawing/2014/main" id="{F92852C6-E42C-4E47-AFB3-4FA09EEDA060}"/>
                </a:ext>
              </a:extLst>
            </p:cNvPr>
            <p:cNvSpPr/>
            <p:nvPr/>
          </p:nvSpPr>
          <p:spPr>
            <a:xfrm>
              <a:off x="10069139" y="3966671"/>
              <a:ext cx="271794" cy="324457"/>
            </a:xfrm>
            <a:custGeom>
              <a:avLst/>
              <a:gdLst>
                <a:gd name="connsiteX0" fmla="*/ 0 w 271794"/>
                <a:gd name="connsiteY0" fmla="*/ 324458 h 324457"/>
                <a:gd name="connsiteX1" fmla="*/ 212388 w 271794"/>
                <a:gd name="connsiteY1" fmla="*/ 125175 h 324457"/>
                <a:gd name="connsiteX2" fmla="*/ 271795 w 271794"/>
                <a:gd name="connsiteY2" fmla="*/ 0 h 324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1794" h="324457">
                  <a:moveTo>
                    <a:pt x="0" y="324458"/>
                  </a:moveTo>
                  <a:lnTo>
                    <a:pt x="212388" y="125175"/>
                  </a:lnTo>
                  <a:lnTo>
                    <a:pt x="271795" y="0"/>
                  </a:lnTo>
                </a:path>
              </a:pathLst>
            </a:custGeom>
            <a:noFill/>
            <a:ln w="31124" cap="rnd">
              <a:solidFill>
                <a:srgbClr val="231F2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4" name="Freeform 413">
              <a:extLst>
                <a:ext uri="{FF2B5EF4-FFF2-40B4-BE49-F238E27FC236}">
                  <a16:creationId xmlns:a16="http://schemas.microsoft.com/office/drawing/2014/main" id="{5E74DC8F-B581-4B47-8B20-837225F90883}"/>
                </a:ext>
              </a:extLst>
            </p:cNvPr>
            <p:cNvSpPr/>
            <p:nvPr/>
          </p:nvSpPr>
          <p:spPr>
            <a:xfrm>
              <a:off x="8955787" y="4183495"/>
              <a:ext cx="1150325" cy="1368496"/>
            </a:xfrm>
            <a:custGeom>
              <a:avLst/>
              <a:gdLst>
                <a:gd name="connsiteX0" fmla="*/ 47878 w 1150325"/>
                <a:gd name="connsiteY0" fmla="*/ 917948 h 1368496"/>
                <a:gd name="connsiteX1" fmla="*/ 238976 w 1150325"/>
                <a:gd name="connsiteY1" fmla="*/ 944830 h 1368496"/>
                <a:gd name="connsiteX2" fmla="*/ 419792 w 1150325"/>
                <a:gd name="connsiteY2" fmla="*/ 921062 h 1368496"/>
                <a:gd name="connsiteX3" fmla="*/ 814450 w 1150325"/>
                <a:gd name="connsiteY3" fmla="*/ 0 h 1368496"/>
                <a:gd name="connsiteX4" fmla="*/ 1150326 w 1150325"/>
                <a:gd name="connsiteY4" fmla="*/ 141574 h 1368496"/>
                <a:gd name="connsiteX5" fmla="*/ 1018842 w 1150325"/>
                <a:gd name="connsiteY5" fmla="*/ 477034 h 1368496"/>
                <a:gd name="connsiteX6" fmla="*/ 787863 w 1150325"/>
                <a:gd name="connsiteY6" fmla="*/ 1011154 h 1368496"/>
                <a:gd name="connsiteX7" fmla="*/ 560831 w 1150325"/>
                <a:gd name="connsiteY7" fmla="*/ 1359485 h 1368496"/>
                <a:gd name="connsiteX8" fmla="*/ 0 w 1150325"/>
                <a:gd name="connsiteY8" fmla="*/ 1319939 h 1368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50325" h="1368496">
                  <a:moveTo>
                    <a:pt x="47878" y="917948"/>
                  </a:moveTo>
                  <a:cubicBezTo>
                    <a:pt x="111055" y="930289"/>
                    <a:pt x="174844" y="939267"/>
                    <a:pt x="238976" y="944830"/>
                  </a:cubicBezTo>
                  <a:cubicBezTo>
                    <a:pt x="238976" y="944830"/>
                    <a:pt x="378976" y="972128"/>
                    <a:pt x="419792" y="921062"/>
                  </a:cubicBezTo>
                  <a:cubicBezTo>
                    <a:pt x="460608" y="869995"/>
                    <a:pt x="814450" y="0"/>
                    <a:pt x="814450" y="0"/>
                  </a:cubicBezTo>
                  <a:lnTo>
                    <a:pt x="1150326" y="141574"/>
                  </a:lnTo>
                  <a:cubicBezTo>
                    <a:pt x="1150326" y="141574"/>
                    <a:pt x="1095904" y="286885"/>
                    <a:pt x="1018842" y="477034"/>
                  </a:cubicBezTo>
                  <a:lnTo>
                    <a:pt x="787863" y="1011154"/>
                  </a:lnTo>
                  <a:cubicBezTo>
                    <a:pt x="696468" y="1202445"/>
                    <a:pt x="613694" y="1342255"/>
                    <a:pt x="560831" y="1359485"/>
                  </a:cubicBezTo>
                  <a:cubicBezTo>
                    <a:pt x="486780" y="1383668"/>
                    <a:pt x="236899" y="1355333"/>
                    <a:pt x="0" y="1319939"/>
                  </a:cubicBezTo>
                </a:path>
              </a:pathLst>
            </a:custGeom>
            <a:noFill/>
            <a:ln w="31124" cap="flat">
              <a:solidFill>
                <a:srgbClr val="231F2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5" name="Freeform 414">
              <a:extLst>
                <a:ext uri="{FF2B5EF4-FFF2-40B4-BE49-F238E27FC236}">
                  <a16:creationId xmlns:a16="http://schemas.microsoft.com/office/drawing/2014/main" id="{C0F7AFFC-4CB3-6F47-830F-9CE22A5E818E}"/>
                </a:ext>
              </a:extLst>
            </p:cNvPr>
            <p:cNvSpPr/>
            <p:nvPr/>
          </p:nvSpPr>
          <p:spPr>
            <a:xfrm>
              <a:off x="9816350" y="3809603"/>
              <a:ext cx="179660" cy="387280"/>
            </a:xfrm>
            <a:custGeom>
              <a:avLst/>
              <a:gdLst>
                <a:gd name="connsiteX0" fmla="*/ 0 w 179660"/>
                <a:gd name="connsiteY0" fmla="*/ 387281 h 387280"/>
                <a:gd name="connsiteX1" fmla="*/ 142804 w 179660"/>
                <a:gd name="connsiteY1" fmla="*/ 2000 h 387280"/>
                <a:gd name="connsiteX2" fmla="*/ 149970 w 179660"/>
                <a:gd name="connsiteY2" fmla="*/ 216022 h 387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9660" h="387280">
                  <a:moveTo>
                    <a:pt x="0" y="387281"/>
                  </a:moveTo>
                  <a:cubicBezTo>
                    <a:pt x="0" y="387281"/>
                    <a:pt x="79762" y="-32356"/>
                    <a:pt x="142804" y="2000"/>
                  </a:cubicBezTo>
                  <a:cubicBezTo>
                    <a:pt x="221320" y="44763"/>
                    <a:pt x="149970" y="216022"/>
                    <a:pt x="149970" y="216022"/>
                  </a:cubicBezTo>
                </a:path>
              </a:pathLst>
            </a:custGeom>
            <a:noFill/>
            <a:ln w="31124" cap="rnd">
              <a:solidFill>
                <a:srgbClr val="231F2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6" name="Freeform 415">
              <a:extLst>
                <a:ext uri="{FF2B5EF4-FFF2-40B4-BE49-F238E27FC236}">
                  <a16:creationId xmlns:a16="http://schemas.microsoft.com/office/drawing/2014/main" id="{ABD51C24-456B-B949-9801-5D694535EA88}"/>
                </a:ext>
              </a:extLst>
            </p:cNvPr>
            <p:cNvSpPr/>
            <p:nvPr/>
          </p:nvSpPr>
          <p:spPr>
            <a:xfrm>
              <a:off x="9797760" y="4280438"/>
              <a:ext cx="60445" cy="60407"/>
            </a:xfrm>
            <a:custGeom>
              <a:avLst/>
              <a:gdLst>
                <a:gd name="connsiteX0" fmla="*/ 60445 w 60445"/>
                <a:gd name="connsiteY0" fmla="*/ 30204 h 60407"/>
                <a:gd name="connsiteX1" fmla="*/ 30223 w 60445"/>
                <a:gd name="connsiteY1" fmla="*/ 60408 h 60407"/>
                <a:gd name="connsiteX2" fmla="*/ 1 w 60445"/>
                <a:gd name="connsiteY2" fmla="*/ 30204 h 60407"/>
                <a:gd name="connsiteX3" fmla="*/ 30223 w 60445"/>
                <a:gd name="connsiteY3" fmla="*/ 0 h 60407"/>
                <a:gd name="connsiteX4" fmla="*/ 60445 w 60445"/>
                <a:gd name="connsiteY4" fmla="*/ 30204 h 60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445" h="60407">
                  <a:moveTo>
                    <a:pt x="60445" y="30204"/>
                  </a:moveTo>
                  <a:cubicBezTo>
                    <a:pt x="60445" y="46885"/>
                    <a:pt x="46914" y="60408"/>
                    <a:pt x="30223" y="60408"/>
                  </a:cubicBezTo>
                  <a:cubicBezTo>
                    <a:pt x="13531" y="60408"/>
                    <a:pt x="1" y="46885"/>
                    <a:pt x="1" y="30204"/>
                  </a:cubicBezTo>
                  <a:cubicBezTo>
                    <a:pt x="1" y="13523"/>
                    <a:pt x="13532" y="0"/>
                    <a:pt x="30223" y="0"/>
                  </a:cubicBezTo>
                  <a:cubicBezTo>
                    <a:pt x="46915" y="0"/>
                    <a:pt x="60445" y="13523"/>
                    <a:pt x="60445" y="30204"/>
                  </a:cubicBezTo>
                  <a:close/>
                </a:path>
              </a:pathLst>
            </a:custGeom>
            <a:solidFill>
              <a:srgbClr val="231F2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7" name="Freeform 416">
              <a:extLst>
                <a:ext uri="{FF2B5EF4-FFF2-40B4-BE49-F238E27FC236}">
                  <a16:creationId xmlns:a16="http://schemas.microsoft.com/office/drawing/2014/main" id="{D6B8A376-87CC-BB4C-A242-75E8E5F02DC2}"/>
                </a:ext>
              </a:extLst>
            </p:cNvPr>
            <p:cNvSpPr/>
            <p:nvPr/>
          </p:nvSpPr>
          <p:spPr>
            <a:xfrm>
              <a:off x="5147848" y="5554735"/>
              <a:ext cx="390507" cy="155247"/>
            </a:xfrm>
            <a:custGeom>
              <a:avLst/>
              <a:gdLst>
                <a:gd name="connsiteX0" fmla="*/ 390508 w 390507"/>
                <a:gd name="connsiteY0" fmla="*/ 146529 h 155247"/>
                <a:gd name="connsiteX1" fmla="*/ 1042 w 390507"/>
                <a:gd name="connsiteY1" fmla="*/ 14920 h 155247"/>
                <a:gd name="connsiteX2" fmla="*/ 162956 w 390507"/>
                <a:gd name="connsiteY2" fmla="*/ 155248 h 155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0507" h="155247">
                  <a:moveTo>
                    <a:pt x="390508" y="146529"/>
                  </a:moveTo>
                  <a:cubicBezTo>
                    <a:pt x="390508" y="146529"/>
                    <a:pt x="13920" y="-55556"/>
                    <a:pt x="1042" y="14920"/>
                  </a:cubicBezTo>
                  <a:cubicBezTo>
                    <a:pt x="-15160" y="102936"/>
                    <a:pt x="162956" y="155248"/>
                    <a:pt x="162956" y="155248"/>
                  </a:cubicBezTo>
                </a:path>
              </a:pathLst>
            </a:custGeom>
            <a:noFill/>
            <a:ln w="31124" cap="flat">
              <a:solidFill>
                <a:srgbClr val="231F2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8" name="Freeform 417">
              <a:extLst>
                <a:ext uri="{FF2B5EF4-FFF2-40B4-BE49-F238E27FC236}">
                  <a16:creationId xmlns:a16="http://schemas.microsoft.com/office/drawing/2014/main" id="{1042A225-E1F3-F44D-BFA0-1F9F4845736C}"/>
                </a:ext>
              </a:extLst>
            </p:cNvPr>
            <p:cNvSpPr/>
            <p:nvPr/>
          </p:nvSpPr>
          <p:spPr>
            <a:xfrm>
              <a:off x="9139718" y="2841582"/>
              <a:ext cx="205941" cy="170190"/>
            </a:xfrm>
            <a:custGeom>
              <a:avLst/>
              <a:gdLst>
                <a:gd name="connsiteX0" fmla="*/ 111128 w 205941"/>
                <a:gd name="connsiteY0" fmla="*/ 158980 h 170190"/>
                <a:gd name="connsiteX1" fmla="*/ 117983 w 205941"/>
                <a:gd name="connsiteY1" fmla="*/ 169360 h 170190"/>
                <a:gd name="connsiteX2" fmla="*/ 130134 w 205941"/>
                <a:gd name="connsiteY2" fmla="*/ 166869 h 170190"/>
                <a:gd name="connsiteX3" fmla="*/ 202834 w 205941"/>
                <a:gd name="connsiteY3" fmla="*/ 92864 h 170190"/>
                <a:gd name="connsiteX4" fmla="*/ 202834 w 205941"/>
                <a:gd name="connsiteY4" fmla="*/ 77295 h 170190"/>
                <a:gd name="connsiteX5" fmla="*/ 130134 w 205941"/>
                <a:gd name="connsiteY5" fmla="*/ 3290 h 170190"/>
                <a:gd name="connsiteX6" fmla="*/ 114420 w 205941"/>
                <a:gd name="connsiteY6" fmla="*/ 3218 h 170190"/>
                <a:gd name="connsiteX7" fmla="*/ 111128 w 205941"/>
                <a:gd name="connsiteY7" fmla="*/ 11075 h 170190"/>
                <a:gd name="connsiteX8" fmla="*/ 111128 w 205941"/>
                <a:gd name="connsiteY8" fmla="*/ 55187 h 170190"/>
                <a:gd name="connsiteX9" fmla="*/ 106247 w 205941"/>
                <a:gd name="connsiteY9" fmla="*/ 59962 h 170190"/>
                <a:gd name="connsiteX10" fmla="*/ 24511 w 205941"/>
                <a:gd name="connsiteY10" fmla="*/ 59962 h 170190"/>
                <a:gd name="connsiteX11" fmla="*/ 0 w 205941"/>
                <a:gd name="connsiteY11" fmla="*/ 84457 h 170190"/>
                <a:gd name="connsiteX12" fmla="*/ 24511 w 205941"/>
                <a:gd name="connsiteY12" fmla="*/ 108952 h 170190"/>
                <a:gd name="connsiteX13" fmla="*/ 106247 w 205941"/>
                <a:gd name="connsiteY13" fmla="*/ 108952 h 170190"/>
                <a:gd name="connsiteX14" fmla="*/ 111128 w 205941"/>
                <a:gd name="connsiteY14" fmla="*/ 113830 h 170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5941" h="170190">
                  <a:moveTo>
                    <a:pt x="111128" y="158980"/>
                  </a:moveTo>
                  <a:cubicBezTo>
                    <a:pt x="111024" y="163526"/>
                    <a:pt x="113755" y="167668"/>
                    <a:pt x="117983" y="169360"/>
                  </a:cubicBezTo>
                  <a:cubicBezTo>
                    <a:pt x="122157" y="171072"/>
                    <a:pt x="126966" y="170086"/>
                    <a:pt x="130134" y="166869"/>
                  </a:cubicBezTo>
                  <a:lnTo>
                    <a:pt x="202834" y="92864"/>
                  </a:lnTo>
                  <a:cubicBezTo>
                    <a:pt x="206978" y="88494"/>
                    <a:pt x="206978" y="81665"/>
                    <a:pt x="202834" y="77295"/>
                  </a:cubicBezTo>
                  <a:lnTo>
                    <a:pt x="130134" y="3290"/>
                  </a:lnTo>
                  <a:cubicBezTo>
                    <a:pt x="125813" y="-1069"/>
                    <a:pt x="118782" y="-1100"/>
                    <a:pt x="114420" y="3218"/>
                  </a:cubicBezTo>
                  <a:cubicBezTo>
                    <a:pt x="112322" y="5294"/>
                    <a:pt x="111138" y="8127"/>
                    <a:pt x="111128" y="11075"/>
                  </a:cubicBezTo>
                  <a:lnTo>
                    <a:pt x="111128" y="55187"/>
                  </a:lnTo>
                  <a:cubicBezTo>
                    <a:pt x="111076" y="57844"/>
                    <a:pt x="108905" y="59962"/>
                    <a:pt x="106247" y="59962"/>
                  </a:cubicBezTo>
                  <a:lnTo>
                    <a:pt x="24511" y="59962"/>
                  </a:lnTo>
                  <a:cubicBezTo>
                    <a:pt x="10978" y="59962"/>
                    <a:pt x="0" y="70932"/>
                    <a:pt x="0" y="84457"/>
                  </a:cubicBezTo>
                  <a:cubicBezTo>
                    <a:pt x="0" y="97981"/>
                    <a:pt x="10978" y="108952"/>
                    <a:pt x="24511" y="108952"/>
                  </a:cubicBezTo>
                  <a:lnTo>
                    <a:pt x="106247" y="108952"/>
                  </a:lnTo>
                  <a:cubicBezTo>
                    <a:pt x="108947" y="108952"/>
                    <a:pt x="111128" y="111132"/>
                    <a:pt x="111128" y="113830"/>
                  </a:cubicBez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9" name="Freeform 418">
              <a:extLst>
                <a:ext uri="{FF2B5EF4-FFF2-40B4-BE49-F238E27FC236}">
                  <a16:creationId xmlns:a16="http://schemas.microsoft.com/office/drawing/2014/main" id="{7B9460F8-1A21-484F-8C9B-7468421F4E6E}"/>
                </a:ext>
              </a:extLst>
            </p:cNvPr>
            <p:cNvSpPr/>
            <p:nvPr/>
          </p:nvSpPr>
          <p:spPr>
            <a:xfrm>
              <a:off x="8927330" y="2730773"/>
              <a:ext cx="206157" cy="170192"/>
            </a:xfrm>
            <a:custGeom>
              <a:avLst/>
              <a:gdLst>
                <a:gd name="connsiteX0" fmla="*/ 111127 w 206157"/>
                <a:gd name="connsiteY0" fmla="*/ 158835 h 170192"/>
                <a:gd name="connsiteX1" fmla="*/ 118086 w 206157"/>
                <a:gd name="connsiteY1" fmla="*/ 169214 h 170192"/>
                <a:gd name="connsiteX2" fmla="*/ 130237 w 206157"/>
                <a:gd name="connsiteY2" fmla="*/ 166723 h 170192"/>
                <a:gd name="connsiteX3" fmla="*/ 202938 w 206157"/>
                <a:gd name="connsiteY3" fmla="*/ 92719 h 170192"/>
                <a:gd name="connsiteX4" fmla="*/ 202990 w 206157"/>
                <a:gd name="connsiteY4" fmla="*/ 77305 h 170192"/>
                <a:gd name="connsiteX5" fmla="*/ 202938 w 206157"/>
                <a:gd name="connsiteY5" fmla="*/ 77254 h 170192"/>
                <a:gd name="connsiteX6" fmla="*/ 130237 w 206157"/>
                <a:gd name="connsiteY6" fmla="*/ 3249 h 170192"/>
                <a:gd name="connsiteX7" fmla="*/ 114379 w 206157"/>
                <a:gd name="connsiteY7" fmla="*/ 3322 h 170192"/>
                <a:gd name="connsiteX8" fmla="*/ 111127 w 206157"/>
                <a:gd name="connsiteY8" fmla="*/ 11033 h 170192"/>
                <a:gd name="connsiteX9" fmla="*/ 111127 w 206157"/>
                <a:gd name="connsiteY9" fmla="*/ 55042 h 170192"/>
                <a:gd name="connsiteX10" fmla="*/ 106454 w 206157"/>
                <a:gd name="connsiteY10" fmla="*/ 59920 h 170192"/>
                <a:gd name="connsiteX11" fmla="*/ 106350 w 206157"/>
                <a:gd name="connsiteY11" fmla="*/ 59920 h 170192"/>
                <a:gd name="connsiteX12" fmla="*/ 24511 w 206157"/>
                <a:gd name="connsiteY12" fmla="*/ 59920 h 170192"/>
                <a:gd name="connsiteX13" fmla="*/ 0 w 206157"/>
                <a:gd name="connsiteY13" fmla="*/ 84415 h 170192"/>
                <a:gd name="connsiteX14" fmla="*/ 24511 w 206157"/>
                <a:gd name="connsiteY14" fmla="*/ 108910 h 170192"/>
                <a:gd name="connsiteX15" fmla="*/ 106350 w 206157"/>
                <a:gd name="connsiteY15" fmla="*/ 108910 h 170192"/>
                <a:gd name="connsiteX16" fmla="*/ 111127 w 206157"/>
                <a:gd name="connsiteY16" fmla="*/ 113477 h 170192"/>
                <a:gd name="connsiteX17" fmla="*/ 111127 w 206157"/>
                <a:gd name="connsiteY17" fmla="*/ 113685 h 170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06157" h="170192">
                  <a:moveTo>
                    <a:pt x="111127" y="158835"/>
                  </a:moveTo>
                  <a:cubicBezTo>
                    <a:pt x="111065" y="163402"/>
                    <a:pt x="113839" y="167533"/>
                    <a:pt x="118086" y="169214"/>
                  </a:cubicBezTo>
                  <a:cubicBezTo>
                    <a:pt x="122240" y="171155"/>
                    <a:pt x="127184" y="170148"/>
                    <a:pt x="130237" y="166723"/>
                  </a:cubicBezTo>
                  <a:lnTo>
                    <a:pt x="202938" y="92719"/>
                  </a:lnTo>
                  <a:cubicBezTo>
                    <a:pt x="207206" y="88474"/>
                    <a:pt x="207237" y="81582"/>
                    <a:pt x="202990" y="77305"/>
                  </a:cubicBezTo>
                  <a:cubicBezTo>
                    <a:pt x="202969" y="77285"/>
                    <a:pt x="202959" y="77274"/>
                    <a:pt x="202938" y="77254"/>
                  </a:cubicBezTo>
                  <a:lnTo>
                    <a:pt x="130237" y="3249"/>
                  </a:lnTo>
                  <a:cubicBezTo>
                    <a:pt x="125834" y="-1110"/>
                    <a:pt x="118730" y="-1079"/>
                    <a:pt x="114379" y="3322"/>
                  </a:cubicBezTo>
                  <a:cubicBezTo>
                    <a:pt x="112332" y="5377"/>
                    <a:pt x="111169" y="8137"/>
                    <a:pt x="111127" y="11033"/>
                  </a:cubicBezTo>
                  <a:lnTo>
                    <a:pt x="111127" y="55042"/>
                  </a:lnTo>
                  <a:cubicBezTo>
                    <a:pt x="111179" y="57678"/>
                    <a:pt x="109092" y="59858"/>
                    <a:pt x="106454" y="59920"/>
                  </a:cubicBezTo>
                  <a:cubicBezTo>
                    <a:pt x="106423" y="59920"/>
                    <a:pt x="106381" y="59920"/>
                    <a:pt x="106350" y="59920"/>
                  </a:cubicBezTo>
                  <a:lnTo>
                    <a:pt x="24511" y="59920"/>
                  </a:lnTo>
                  <a:cubicBezTo>
                    <a:pt x="10978" y="59920"/>
                    <a:pt x="0" y="70891"/>
                    <a:pt x="0" y="84415"/>
                  </a:cubicBezTo>
                  <a:cubicBezTo>
                    <a:pt x="0" y="97939"/>
                    <a:pt x="10978" y="108910"/>
                    <a:pt x="24511" y="108910"/>
                  </a:cubicBezTo>
                  <a:lnTo>
                    <a:pt x="106350" y="108910"/>
                  </a:lnTo>
                  <a:cubicBezTo>
                    <a:pt x="108926" y="108848"/>
                    <a:pt x="111065" y="110893"/>
                    <a:pt x="111127" y="113477"/>
                  </a:cubicBezTo>
                  <a:cubicBezTo>
                    <a:pt x="111127" y="113550"/>
                    <a:pt x="111127" y="113612"/>
                    <a:pt x="111127" y="113685"/>
                  </a:cubicBez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0" name="Freeform 419">
              <a:extLst>
                <a:ext uri="{FF2B5EF4-FFF2-40B4-BE49-F238E27FC236}">
                  <a16:creationId xmlns:a16="http://schemas.microsoft.com/office/drawing/2014/main" id="{4670D92A-D996-5F45-98C7-6334C38707F1}"/>
                </a:ext>
              </a:extLst>
            </p:cNvPr>
            <p:cNvSpPr/>
            <p:nvPr/>
          </p:nvSpPr>
          <p:spPr>
            <a:xfrm>
              <a:off x="9167137" y="2599090"/>
              <a:ext cx="192447" cy="12247"/>
            </a:xfrm>
            <a:custGeom>
              <a:avLst/>
              <a:gdLst>
                <a:gd name="connsiteX0" fmla="*/ 0 w 192447"/>
                <a:gd name="connsiteY0" fmla="*/ 0 h 12247"/>
                <a:gd name="connsiteX1" fmla="*/ 192448 w 192447"/>
                <a:gd name="connsiteY1" fmla="*/ 0 h 12247"/>
                <a:gd name="connsiteX2" fmla="*/ 192448 w 192447"/>
                <a:gd name="connsiteY2" fmla="*/ 12248 h 12247"/>
                <a:gd name="connsiteX3" fmla="*/ 0 w 192447"/>
                <a:gd name="connsiteY3" fmla="*/ 12248 h 12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447" h="12247">
                  <a:moveTo>
                    <a:pt x="0" y="0"/>
                  </a:moveTo>
                  <a:lnTo>
                    <a:pt x="192448" y="0"/>
                  </a:lnTo>
                  <a:lnTo>
                    <a:pt x="192448" y="12248"/>
                  </a:lnTo>
                  <a:lnTo>
                    <a:pt x="0" y="12248"/>
                  </a:ln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1" name="Freeform 420">
              <a:extLst>
                <a:ext uri="{FF2B5EF4-FFF2-40B4-BE49-F238E27FC236}">
                  <a16:creationId xmlns:a16="http://schemas.microsoft.com/office/drawing/2014/main" id="{4CAAF833-A537-304D-9BAA-93F3CE241EFF}"/>
                </a:ext>
              </a:extLst>
            </p:cNvPr>
            <p:cNvSpPr/>
            <p:nvPr/>
          </p:nvSpPr>
          <p:spPr>
            <a:xfrm>
              <a:off x="9257597" y="2556224"/>
              <a:ext cx="11528" cy="246716"/>
            </a:xfrm>
            <a:custGeom>
              <a:avLst/>
              <a:gdLst>
                <a:gd name="connsiteX0" fmla="*/ 0 w 11528"/>
                <a:gd name="connsiteY0" fmla="*/ 0 h 246716"/>
                <a:gd name="connsiteX1" fmla="*/ 11528 w 11528"/>
                <a:gd name="connsiteY1" fmla="*/ 0 h 246716"/>
                <a:gd name="connsiteX2" fmla="*/ 11528 w 11528"/>
                <a:gd name="connsiteY2" fmla="*/ 246717 h 246716"/>
                <a:gd name="connsiteX3" fmla="*/ 0 w 11528"/>
                <a:gd name="connsiteY3" fmla="*/ 246717 h 246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28" h="246716">
                  <a:moveTo>
                    <a:pt x="0" y="0"/>
                  </a:moveTo>
                  <a:lnTo>
                    <a:pt x="11528" y="0"/>
                  </a:lnTo>
                  <a:lnTo>
                    <a:pt x="11528" y="246717"/>
                  </a:lnTo>
                  <a:lnTo>
                    <a:pt x="0" y="246717"/>
                  </a:ln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2" name="Freeform 421">
              <a:extLst>
                <a:ext uri="{FF2B5EF4-FFF2-40B4-BE49-F238E27FC236}">
                  <a16:creationId xmlns:a16="http://schemas.microsoft.com/office/drawing/2014/main" id="{1F0ADDF1-1035-D345-805D-8F1A58F2A706}"/>
                </a:ext>
              </a:extLst>
            </p:cNvPr>
            <p:cNvSpPr/>
            <p:nvPr/>
          </p:nvSpPr>
          <p:spPr>
            <a:xfrm>
              <a:off x="9167137" y="2643929"/>
              <a:ext cx="192447" cy="12247"/>
            </a:xfrm>
            <a:custGeom>
              <a:avLst/>
              <a:gdLst>
                <a:gd name="connsiteX0" fmla="*/ 0 w 192447"/>
                <a:gd name="connsiteY0" fmla="*/ 0 h 12247"/>
                <a:gd name="connsiteX1" fmla="*/ 192448 w 192447"/>
                <a:gd name="connsiteY1" fmla="*/ 0 h 12247"/>
                <a:gd name="connsiteX2" fmla="*/ 192448 w 192447"/>
                <a:gd name="connsiteY2" fmla="*/ 12247 h 12247"/>
                <a:gd name="connsiteX3" fmla="*/ 0 w 192447"/>
                <a:gd name="connsiteY3" fmla="*/ 12247 h 12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447" h="12247">
                  <a:moveTo>
                    <a:pt x="0" y="0"/>
                  </a:moveTo>
                  <a:lnTo>
                    <a:pt x="192448" y="0"/>
                  </a:lnTo>
                  <a:lnTo>
                    <a:pt x="192448" y="12247"/>
                  </a:lnTo>
                  <a:lnTo>
                    <a:pt x="0" y="12247"/>
                  </a:ln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3" name="Freeform 422">
              <a:extLst>
                <a:ext uri="{FF2B5EF4-FFF2-40B4-BE49-F238E27FC236}">
                  <a16:creationId xmlns:a16="http://schemas.microsoft.com/office/drawing/2014/main" id="{0FC027D5-0652-E94D-A5C1-56822F2BD9B7}"/>
                </a:ext>
              </a:extLst>
            </p:cNvPr>
            <p:cNvSpPr/>
            <p:nvPr/>
          </p:nvSpPr>
          <p:spPr>
            <a:xfrm>
              <a:off x="9167137" y="2688871"/>
              <a:ext cx="192447" cy="12247"/>
            </a:xfrm>
            <a:custGeom>
              <a:avLst/>
              <a:gdLst>
                <a:gd name="connsiteX0" fmla="*/ 0 w 192447"/>
                <a:gd name="connsiteY0" fmla="*/ 0 h 12247"/>
                <a:gd name="connsiteX1" fmla="*/ 192448 w 192447"/>
                <a:gd name="connsiteY1" fmla="*/ 0 h 12247"/>
                <a:gd name="connsiteX2" fmla="*/ 192448 w 192447"/>
                <a:gd name="connsiteY2" fmla="*/ 12247 h 12247"/>
                <a:gd name="connsiteX3" fmla="*/ 0 w 192447"/>
                <a:gd name="connsiteY3" fmla="*/ 12247 h 12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447" h="12247">
                  <a:moveTo>
                    <a:pt x="0" y="0"/>
                  </a:moveTo>
                  <a:lnTo>
                    <a:pt x="192448" y="0"/>
                  </a:lnTo>
                  <a:lnTo>
                    <a:pt x="192448" y="12247"/>
                  </a:lnTo>
                  <a:lnTo>
                    <a:pt x="0" y="12247"/>
                  </a:ln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4" name="Freeform 423">
              <a:extLst>
                <a:ext uri="{FF2B5EF4-FFF2-40B4-BE49-F238E27FC236}">
                  <a16:creationId xmlns:a16="http://schemas.microsoft.com/office/drawing/2014/main" id="{C989F631-1073-8740-AE7B-1CA3AD496E75}"/>
                </a:ext>
              </a:extLst>
            </p:cNvPr>
            <p:cNvSpPr/>
            <p:nvPr/>
          </p:nvSpPr>
          <p:spPr>
            <a:xfrm>
              <a:off x="9167137" y="2733710"/>
              <a:ext cx="192447" cy="12247"/>
            </a:xfrm>
            <a:custGeom>
              <a:avLst/>
              <a:gdLst>
                <a:gd name="connsiteX0" fmla="*/ 0 w 192447"/>
                <a:gd name="connsiteY0" fmla="*/ 0 h 12247"/>
                <a:gd name="connsiteX1" fmla="*/ 192448 w 192447"/>
                <a:gd name="connsiteY1" fmla="*/ 0 h 12247"/>
                <a:gd name="connsiteX2" fmla="*/ 192448 w 192447"/>
                <a:gd name="connsiteY2" fmla="*/ 12248 h 12247"/>
                <a:gd name="connsiteX3" fmla="*/ 0 w 192447"/>
                <a:gd name="connsiteY3" fmla="*/ 12248 h 12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447" h="12247">
                  <a:moveTo>
                    <a:pt x="0" y="0"/>
                  </a:moveTo>
                  <a:lnTo>
                    <a:pt x="192448" y="0"/>
                  </a:lnTo>
                  <a:lnTo>
                    <a:pt x="192448" y="12248"/>
                  </a:lnTo>
                  <a:lnTo>
                    <a:pt x="0" y="12248"/>
                  </a:ln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5" name="Freeform 424">
              <a:extLst>
                <a:ext uri="{FF2B5EF4-FFF2-40B4-BE49-F238E27FC236}">
                  <a16:creationId xmlns:a16="http://schemas.microsoft.com/office/drawing/2014/main" id="{92361D25-3847-DF45-9C55-F645C7D6DAD1}"/>
                </a:ext>
              </a:extLst>
            </p:cNvPr>
            <p:cNvSpPr/>
            <p:nvPr/>
          </p:nvSpPr>
          <p:spPr>
            <a:xfrm>
              <a:off x="9164332" y="2545221"/>
              <a:ext cx="204807" cy="266333"/>
            </a:xfrm>
            <a:custGeom>
              <a:avLst/>
              <a:gdLst>
                <a:gd name="connsiteX0" fmla="*/ 175935 w 204807"/>
                <a:gd name="connsiteY0" fmla="*/ 266334 h 266333"/>
                <a:gd name="connsiteX1" fmla="*/ 28873 w 204807"/>
                <a:gd name="connsiteY1" fmla="*/ 266334 h 266333"/>
                <a:gd name="connsiteX2" fmla="*/ 0 w 204807"/>
                <a:gd name="connsiteY2" fmla="*/ 237375 h 266333"/>
                <a:gd name="connsiteX3" fmla="*/ 0 w 204807"/>
                <a:gd name="connsiteY3" fmla="*/ 28751 h 266333"/>
                <a:gd name="connsiteX4" fmla="*/ 28873 w 204807"/>
                <a:gd name="connsiteY4" fmla="*/ 0 h 266333"/>
                <a:gd name="connsiteX5" fmla="*/ 175831 w 204807"/>
                <a:gd name="connsiteY5" fmla="*/ 0 h 266333"/>
                <a:gd name="connsiteX6" fmla="*/ 204807 w 204807"/>
                <a:gd name="connsiteY6" fmla="*/ 28958 h 266333"/>
                <a:gd name="connsiteX7" fmla="*/ 204807 w 204807"/>
                <a:gd name="connsiteY7" fmla="*/ 237583 h 266333"/>
                <a:gd name="connsiteX8" fmla="*/ 175935 w 204807"/>
                <a:gd name="connsiteY8" fmla="*/ 266334 h 266333"/>
                <a:gd name="connsiteX9" fmla="*/ 28873 w 204807"/>
                <a:gd name="connsiteY9" fmla="*/ 19098 h 266333"/>
                <a:gd name="connsiteX10" fmla="*/ 19214 w 204807"/>
                <a:gd name="connsiteY10" fmla="*/ 28751 h 266333"/>
                <a:gd name="connsiteX11" fmla="*/ 19214 w 204807"/>
                <a:gd name="connsiteY11" fmla="*/ 237375 h 266333"/>
                <a:gd name="connsiteX12" fmla="*/ 28873 w 204807"/>
                <a:gd name="connsiteY12" fmla="*/ 247028 h 266333"/>
                <a:gd name="connsiteX13" fmla="*/ 175831 w 204807"/>
                <a:gd name="connsiteY13" fmla="*/ 247028 h 266333"/>
                <a:gd name="connsiteX14" fmla="*/ 185490 w 204807"/>
                <a:gd name="connsiteY14" fmla="*/ 237375 h 266333"/>
                <a:gd name="connsiteX15" fmla="*/ 185490 w 204807"/>
                <a:gd name="connsiteY15" fmla="*/ 28751 h 266333"/>
                <a:gd name="connsiteX16" fmla="*/ 175831 w 204807"/>
                <a:gd name="connsiteY16" fmla="*/ 19098 h 266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4807" h="266333">
                  <a:moveTo>
                    <a:pt x="175935" y="266334"/>
                  </a:moveTo>
                  <a:lnTo>
                    <a:pt x="28873" y="266334"/>
                  </a:lnTo>
                  <a:cubicBezTo>
                    <a:pt x="12910" y="266271"/>
                    <a:pt x="0" y="253328"/>
                    <a:pt x="0" y="237375"/>
                  </a:cubicBezTo>
                  <a:lnTo>
                    <a:pt x="0" y="28751"/>
                  </a:lnTo>
                  <a:cubicBezTo>
                    <a:pt x="115" y="12881"/>
                    <a:pt x="12993" y="52"/>
                    <a:pt x="28873" y="0"/>
                  </a:cubicBezTo>
                  <a:lnTo>
                    <a:pt x="175831" y="0"/>
                  </a:lnTo>
                  <a:cubicBezTo>
                    <a:pt x="191835" y="0"/>
                    <a:pt x="204807" y="12964"/>
                    <a:pt x="204807" y="28958"/>
                  </a:cubicBezTo>
                  <a:lnTo>
                    <a:pt x="204807" y="237583"/>
                  </a:lnTo>
                  <a:cubicBezTo>
                    <a:pt x="204693" y="253453"/>
                    <a:pt x="191815" y="266282"/>
                    <a:pt x="175935" y="266334"/>
                  </a:cubicBezTo>
                  <a:close/>
                  <a:moveTo>
                    <a:pt x="28873" y="19098"/>
                  </a:moveTo>
                  <a:cubicBezTo>
                    <a:pt x="23535" y="19098"/>
                    <a:pt x="19214" y="23416"/>
                    <a:pt x="19214" y="28751"/>
                  </a:cubicBezTo>
                  <a:lnTo>
                    <a:pt x="19214" y="237375"/>
                  </a:lnTo>
                  <a:cubicBezTo>
                    <a:pt x="19214" y="242710"/>
                    <a:pt x="23535" y="247028"/>
                    <a:pt x="28873" y="247028"/>
                  </a:cubicBezTo>
                  <a:lnTo>
                    <a:pt x="175831" y="247028"/>
                  </a:lnTo>
                  <a:cubicBezTo>
                    <a:pt x="181169" y="247028"/>
                    <a:pt x="185490" y="242710"/>
                    <a:pt x="185490" y="237375"/>
                  </a:cubicBezTo>
                  <a:lnTo>
                    <a:pt x="185490" y="28751"/>
                  </a:lnTo>
                  <a:cubicBezTo>
                    <a:pt x="185490" y="23416"/>
                    <a:pt x="181169" y="19098"/>
                    <a:pt x="175831" y="19098"/>
                  </a:cubicBez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6" name="Freeform 425">
              <a:extLst>
                <a:ext uri="{FF2B5EF4-FFF2-40B4-BE49-F238E27FC236}">
                  <a16:creationId xmlns:a16="http://schemas.microsoft.com/office/drawing/2014/main" id="{DF842D6D-A11C-8C4A-98D7-932920388920}"/>
                </a:ext>
              </a:extLst>
            </p:cNvPr>
            <p:cNvSpPr/>
            <p:nvPr/>
          </p:nvSpPr>
          <p:spPr>
            <a:xfrm>
              <a:off x="9343694" y="2832521"/>
              <a:ext cx="260474" cy="185997"/>
            </a:xfrm>
            <a:custGeom>
              <a:avLst/>
              <a:gdLst>
                <a:gd name="connsiteX0" fmla="*/ 238249 w 260474"/>
                <a:gd name="connsiteY0" fmla="*/ 185998 h 185997"/>
                <a:gd name="connsiteX1" fmla="*/ 22226 w 260474"/>
                <a:gd name="connsiteY1" fmla="*/ 185998 h 185997"/>
                <a:gd name="connsiteX2" fmla="*/ 0 w 260474"/>
                <a:gd name="connsiteY2" fmla="*/ 163993 h 185997"/>
                <a:gd name="connsiteX3" fmla="*/ 0 w 260474"/>
                <a:gd name="connsiteY3" fmla="*/ 163890 h 185997"/>
                <a:gd name="connsiteX4" fmla="*/ 0 w 260474"/>
                <a:gd name="connsiteY4" fmla="*/ 136903 h 185997"/>
                <a:gd name="connsiteX5" fmla="*/ 8724 w 260474"/>
                <a:gd name="connsiteY5" fmla="*/ 128185 h 185997"/>
                <a:gd name="connsiteX6" fmla="*/ 17448 w 260474"/>
                <a:gd name="connsiteY6" fmla="*/ 136903 h 185997"/>
                <a:gd name="connsiteX7" fmla="*/ 17448 w 260474"/>
                <a:gd name="connsiteY7" fmla="*/ 163890 h 185997"/>
                <a:gd name="connsiteX8" fmla="*/ 22226 w 260474"/>
                <a:gd name="connsiteY8" fmla="*/ 168664 h 185997"/>
                <a:gd name="connsiteX9" fmla="*/ 238249 w 260474"/>
                <a:gd name="connsiteY9" fmla="*/ 168664 h 185997"/>
                <a:gd name="connsiteX10" fmla="*/ 243131 w 260474"/>
                <a:gd name="connsiteY10" fmla="*/ 163890 h 185997"/>
                <a:gd name="connsiteX11" fmla="*/ 243131 w 260474"/>
                <a:gd name="connsiteY11" fmla="*/ 22212 h 185997"/>
                <a:gd name="connsiteX12" fmla="*/ 238249 w 260474"/>
                <a:gd name="connsiteY12" fmla="*/ 17334 h 185997"/>
                <a:gd name="connsiteX13" fmla="*/ 22226 w 260474"/>
                <a:gd name="connsiteY13" fmla="*/ 17334 h 185997"/>
                <a:gd name="connsiteX14" fmla="*/ 17448 w 260474"/>
                <a:gd name="connsiteY14" fmla="*/ 22212 h 185997"/>
                <a:gd name="connsiteX15" fmla="*/ 17448 w 260474"/>
                <a:gd name="connsiteY15" fmla="*/ 62691 h 185997"/>
                <a:gd name="connsiteX16" fmla="*/ 8724 w 260474"/>
                <a:gd name="connsiteY16" fmla="*/ 71410 h 185997"/>
                <a:gd name="connsiteX17" fmla="*/ 0 w 260474"/>
                <a:gd name="connsiteY17" fmla="*/ 62691 h 185997"/>
                <a:gd name="connsiteX18" fmla="*/ 0 w 260474"/>
                <a:gd name="connsiteY18" fmla="*/ 22212 h 185997"/>
                <a:gd name="connsiteX19" fmla="*/ 22226 w 260474"/>
                <a:gd name="connsiteY19" fmla="*/ 0 h 185997"/>
                <a:gd name="connsiteX20" fmla="*/ 238249 w 260474"/>
                <a:gd name="connsiteY20" fmla="*/ 0 h 185997"/>
                <a:gd name="connsiteX21" fmla="*/ 260475 w 260474"/>
                <a:gd name="connsiteY21" fmla="*/ 22212 h 185997"/>
                <a:gd name="connsiteX22" fmla="*/ 260475 w 260474"/>
                <a:gd name="connsiteY22" fmla="*/ 163890 h 185997"/>
                <a:gd name="connsiteX23" fmla="*/ 238353 w 260474"/>
                <a:gd name="connsiteY23" fmla="*/ 185998 h 185997"/>
                <a:gd name="connsiteX24" fmla="*/ 238249 w 260474"/>
                <a:gd name="connsiteY24" fmla="*/ 185998 h 185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60474" h="185997">
                  <a:moveTo>
                    <a:pt x="238249" y="185998"/>
                  </a:moveTo>
                  <a:lnTo>
                    <a:pt x="22226" y="185998"/>
                  </a:lnTo>
                  <a:cubicBezTo>
                    <a:pt x="10012" y="186060"/>
                    <a:pt x="62" y="176200"/>
                    <a:pt x="0" y="163993"/>
                  </a:cubicBezTo>
                  <a:cubicBezTo>
                    <a:pt x="0" y="163962"/>
                    <a:pt x="0" y="163921"/>
                    <a:pt x="0" y="163890"/>
                  </a:cubicBezTo>
                  <a:lnTo>
                    <a:pt x="0" y="136903"/>
                  </a:lnTo>
                  <a:cubicBezTo>
                    <a:pt x="0" y="132087"/>
                    <a:pt x="3905" y="128185"/>
                    <a:pt x="8724" y="128185"/>
                  </a:cubicBezTo>
                  <a:cubicBezTo>
                    <a:pt x="13543" y="128185"/>
                    <a:pt x="17448" y="132087"/>
                    <a:pt x="17448" y="136903"/>
                  </a:cubicBezTo>
                  <a:lnTo>
                    <a:pt x="17448" y="163890"/>
                  </a:lnTo>
                  <a:cubicBezTo>
                    <a:pt x="17500" y="166505"/>
                    <a:pt x="19608" y="168612"/>
                    <a:pt x="22226" y="168664"/>
                  </a:cubicBezTo>
                  <a:lnTo>
                    <a:pt x="238249" y="168664"/>
                  </a:lnTo>
                  <a:cubicBezTo>
                    <a:pt x="240908" y="168664"/>
                    <a:pt x="243079" y="166547"/>
                    <a:pt x="243131" y="163890"/>
                  </a:cubicBezTo>
                  <a:lnTo>
                    <a:pt x="243131" y="22212"/>
                  </a:lnTo>
                  <a:cubicBezTo>
                    <a:pt x="243131" y="19513"/>
                    <a:pt x="240950" y="17334"/>
                    <a:pt x="238249" y="17334"/>
                  </a:cubicBezTo>
                  <a:lnTo>
                    <a:pt x="22226" y="17334"/>
                  </a:lnTo>
                  <a:cubicBezTo>
                    <a:pt x="19567" y="17385"/>
                    <a:pt x="17448" y="19555"/>
                    <a:pt x="17448" y="22212"/>
                  </a:cubicBezTo>
                  <a:lnTo>
                    <a:pt x="17448" y="62691"/>
                  </a:lnTo>
                  <a:cubicBezTo>
                    <a:pt x="17448" y="67507"/>
                    <a:pt x="13543" y="71410"/>
                    <a:pt x="8724" y="71410"/>
                  </a:cubicBezTo>
                  <a:cubicBezTo>
                    <a:pt x="3905" y="71410"/>
                    <a:pt x="0" y="67507"/>
                    <a:pt x="0" y="62691"/>
                  </a:cubicBezTo>
                  <a:lnTo>
                    <a:pt x="0" y="22212"/>
                  </a:lnTo>
                  <a:cubicBezTo>
                    <a:pt x="0" y="9943"/>
                    <a:pt x="9950" y="0"/>
                    <a:pt x="22226" y="0"/>
                  </a:cubicBezTo>
                  <a:lnTo>
                    <a:pt x="238249" y="0"/>
                  </a:lnTo>
                  <a:cubicBezTo>
                    <a:pt x="250525" y="0"/>
                    <a:pt x="260475" y="9943"/>
                    <a:pt x="260475" y="22212"/>
                  </a:cubicBezTo>
                  <a:lnTo>
                    <a:pt x="260475" y="163890"/>
                  </a:lnTo>
                  <a:cubicBezTo>
                    <a:pt x="260475" y="176096"/>
                    <a:pt x="250567" y="185998"/>
                    <a:pt x="238353" y="185998"/>
                  </a:cubicBezTo>
                  <a:cubicBezTo>
                    <a:pt x="238322" y="185998"/>
                    <a:pt x="238280" y="185998"/>
                    <a:pt x="238249" y="185998"/>
                  </a:cubicBez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7" name="Freeform 426">
              <a:extLst>
                <a:ext uri="{FF2B5EF4-FFF2-40B4-BE49-F238E27FC236}">
                  <a16:creationId xmlns:a16="http://schemas.microsoft.com/office/drawing/2014/main" id="{8A17D12A-2A5A-C044-BBB1-B913B2EF3B4B}"/>
                </a:ext>
              </a:extLst>
            </p:cNvPr>
            <p:cNvSpPr/>
            <p:nvPr/>
          </p:nvSpPr>
          <p:spPr>
            <a:xfrm>
              <a:off x="9363588" y="2852714"/>
              <a:ext cx="219960" cy="101867"/>
            </a:xfrm>
            <a:custGeom>
              <a:avLst/>
              <a:gdLst>
                <a:gd name="connsiteX0" fmla="*/ 110032 w 219960"/>
                <a:gd name="connsiteY0" fmla="*/ 101868 h 101867"/>
                <a:gd name="connsiteX1" fmla="*/ 75240 w 219960"/>
                <a:gd name="connsiteY1" fmla="*/ 87441 h 101867"/>
                <a:gd name="connsiteX2" fmla="*/ 2540 w 219960"/>
                <a:gd name="connsiteY2" fmla="*/ 14785 h 101867"/>
                <a:gd name="connsiteX3" fmla="*/ 2540 w 219960"/>
                <a:gd name="connsiteY3" fmla="*/ 2538 h 101867"/>
                <a:gd name="connsiteX4" fmla="*/ 14795 w 219960"/>
                <a:gd name="connsiteY4" fmla="*/ 2538 h 101867"/>
                <a:gd name="connsiteX5" fmla="*/ 87495 w 219960"/>
                <a:gd name="connsiteY5" fmla="*/ 75193 h 101867"/>
                <a:gd name="connsiteX6" fmla="*/ 132465 w 219960"/>
                <a:gd name="connsiteY6" fmla="*/ 75193 h 101867"/>
                <a:gd name="connsiteX7" fmla="*/ 205165 w 219960"/>
                <a:gd name="connsiteY7" fmla="*/ 2538 h 101867"/>
                <a:gd name="connsiteX8" fmla="*/ 217421 w 219960"/>
                <a:gd name="connsiteY8" fmla="*/ 2538 h 101867"/>
                <a:gd name="connsiteX9" fmla="*/ 217421 w 219960"/>
                <a:gd name="connsiteY9" fmla="*/ 14785 h 101867"/>
                <a:gd name="connsiteX10" fmla="*/ 144721 w 219960"/>
                <a:gd name="connsiteY10" fmla="*/ 87441 h 101867"/>
                <a:gd name="connsiteX11" fmla="*/ 110032 w 219960"/>
                <a:gd name="connsiteY11" fmla="*/ 101868 h 101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9960" h="101867">
                  <a:moveTo>
                    <a:pt x="110032" y="101868"/>
                  </a:moveTo>
                  <a:cubicBezTo>
                    <a:pt x="96988" y="101837"/>
                    <a:pt x="84473" y="96647"/>
                    <a:pt x="75240" y="87441"/>
                  </a:cubicBezTo>
                  <a:lnTo>
                    <a:pt x="2540" y="14785"/>
                  </a:lnTo>
                  <a:cubicBezTo>
                    <a:pt x="-847" y="11402"/>
                    <a:pt x="-847" y="5921"/>
                    <a:pt x="2540" y="2538"/>
                  </a:cubicBezTo>
                  <a:cubicBezTo>
                    <a:pt x="5925" y="-846"/>
                    <a:pt x="11409" y="-846"/>
                    <a:pt x="14795" y="2538"/>
                  </a:cubicBezTo>
                  <a:lnTo>
                    <a:pt x="87495" y="75193"/>
                  </a:lnTo>
                  <a:cubicBezTo>
                    <a:pt x="99937" y="87555"/>
                    <a:pt x="120023" y="87555"/>
                    <a:pt x="132465" y="75193"/>
                  </a:cubicBezTo>
                  <a:lnTo>
                    <a:pt x="205165" y="2538"/>
                  </a:lnTo>
                  <a:cubicBezTo>
                    <a:pt x="208551" y="-846"/>
                    <a:pt x="214035" y="-846"/>
                    <a:pt x="217421" y="2538"/>
                  </a:cubicBezTo>
                  <a:cubicBezTo>
                    <a:pt x="220807" y="5921"/>
                    <a:pt x="220807" y="11402"/>
                    <a:pt x="217421" y="14785"/>
                  </a:cubicBezTo>
                  <a:lnTo>
                    <a:pt x="144721" y="87441"/>
                  </a:lnTo>
                  <a:cubicBezTo>
                    <a:pt x="135518" y="96647"/>
                    <a:pt x="123045" y="101826"/>
                    <a:pt x="110032" y="101868"/>
                  </a:cubicBez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8" name="Freeform 427">
              <a:extLst>
                <a:ext uri="{FF2B5EF4-FFF2-40B4-BE49-F238E27FC236}">
                  <a16:creationId xmlns:a16="http://schemas.microsoft.com/office/drawing/2014/main" id="{985E6305-81BD-604E-9F0A-D6BEAA9A295F}"/>
                </a:ext>
              </a:extLst>
            </p:cNvPr>
            <p:cNvSpPr/>
            <p:nvPr/>
          </p:nvSpPr>
          <p:spPr>
            <a:xfrm>
              <a:off x="9363984" y="2927030"/>
              <a:ext cx="71359" cy="71249"/>
            </a:xfrm>
            <a:custGeom>
              <a:avLst/>
              <a:gdLst>
                <a:gd name="connsiteX0" fmla="*/ 8687 w 71359"/>
                <a:gd name="connsiteY0" fmla="*/ 71249 h 71249"/>
                <a:gd name="connsiteX1" fmla="*/ 2559 w 71359"/>
                <a:gd name="connsiteY1" fmla="*/ 68758 h 71249"/>
                <a:gd name="connsiteX2" fmla="*/ 2497 w 71359"/>
                <a:gd name="connsiteY2" fmla="*/ 56572 h 71249"/>
                <a:gd name="connsiteX3" fmla="*/ 2559 w 71359"/>
                <a:gd name="connsiteY3" fmla="*/ 56510 h 71249"/>
                <a:gd name="connsiteX4" fmla="*/ 56565 w 71359"/>
                <a:gd name="connsiteY4" fmla="*/ 2538 h 71249"/>
                <a:gd name="connsiteX5" fmla="*/ 68820 w 71359"/>
                <a:gd name="connsiteY5" fmla="*/ 2538 h 71249"/>
                <a:gd name="connsiteX6" fmla="*/ 68820 w 71359"/>
                <a:gd name="connsiteY6" fmla="*/ 14785 h 71249"/>
                <a:gd name="connsiteX7" fmla="*/ 14814 w 71359"/>
                <a:gd name="connsiteY7" fmla="*/ 68758 h 71249"/>
                <a:gd name="connsiteX8" fmla="*/ 8687 w 71359"/>
                <a:gd name="connsiteY8" fmla="*/ 71249 h 71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359" h="71249">
                  <a:moveTo>
                    <a:pt x="8687" y="71249"/>
                  </a:moveTo>
                  <a:cubicBezTo>
                    <a:pt x="6401" y="71259"/>
                    <a:pt x="4200" y="70356"/>
                    <a:pt x="2559" y="68758"/>
                  </a:cubicBezTo>
                  <a:cubicBezTo>
                    <a:pt x="-827" y="65416"/>
                    <a:pt x="-858" y="59956"/>
                    <a:pt x="2497" y="56572"/>
                  </a:cubicBezTo>
                  <a:cubicBezTo>
                    <a:pt x="2517" y="56552"/>
                    <a:pt x="2538" y="56531"/>
                    <a:pt x="2559" y="56510"/>
                  </a:cubicBezTo>
                  <a:lnTo>
                    <a:pt x="56565" y="2538"/>
                  </a:lnTo>
                  <a:cubicBezTo>
                    <a:pt x="59950" y="-846"/>
                    <a:pt x="65434" y="-846"/>
                    <a:pt x="68820" y="2538"/>
                  </a:cubicBezTo>
                  <a:cubicBezTo>
                    <a:pt x="72206" y="5921"/>
                    <a:pt x="72206" y="11402"/>
                    <a:pt x="68820" y="14785"/>
                  </a:cubicBezTo>
                  <a:lnTo>
                    <a:pt x="14814" y="68758"/>
                  </a:lnTo>
                  <a:cubicBezTo>
                    <a:pt x="13194" y="70377"/>
                    <a:pt x="10981" y="71280"/>
                    <a:pt x="8687" y="71249"/>
                  </a:cubicBez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9" name="Freeform 428">
              <a:extLst>
                <a:ext uri="{FF2B5EF4-FFF2-40B4-BE49-F238E27FC236}">
                  <a16:creationId xmlns:a16="http://schemas.microsoft.com/office/drawing/2014/main" id="{AFE22C8F-7A19-BD4F-9363-03054743ACAF}"/>
                </a:ext>
              </a:extLst>
            </p:cNvPr>
            <p:cNvSpPr/>
            <p:nvPr/>
          </p:nvSpPr>
          <p:spPr>
            <a:xfrm>
              <a:off x="9512520" y="2927030"/>
              <a:ext cx="71359" cy="71249"/>
            </a:xfrm>
            <a:custGeom>
              <a:avLst/>
              <a:gdLst>
                <a:gd name="connsiteX0" fmla="*/ 62673 w 71359"/>
                <a:gd name="connsiteY0" fmla="*/ 71249 h 71249"/>
                <a:gd name="connsiteX1" fmla="*/ 56545 w 71359"/>
                <a:gd name="connsiteY1" fmla="*/ 68758 h 71249"/>
                <a:gd name="connsiteX2" fmla="*/ 2539 w 71359"/>
                <a:gd name="connsiteY2" fmla="*/ 14785 h 71249"/>
                <a:gd name="connsiteX3" fmla="*/ 2539 w 71359"/>
                <a:gd name="connsiteY3" fmla="*/ 2538 h 71249"/>
                <a:gd name="connsiteX4" fmla="*/ 14794 w 71359"/>
                <a:gd name="connsiteY4" fmla="*/ 2538 h 71249"/>
                <a:gd name="connsiteX5" fmla="*/ 68800 w 71359"/>
                <a:gd name="connsiteY5" fmla="*/ 56510 h 71249"/>
                <a:gd name="connsiteX6" fmla="*/ 68862 w 71359"/>
                <a:gd name="connsiteY6" fmla="*/ 68696 h 71249"/>
                <a:gd name="connsiteX7" fmla="*/ 62673 w 71359"/>
                <a:gd name="connsiteY7" fmla="*/ 71249 h 71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1359" h="71249">
                  <a:moveTo>
                    <a:pt x="62673" y="71249"/>
                  </a:moveTo>
                  <a:cubicBezTo>
                    <a:pt x="60388" y="71259"/>
                    <a:pt x="58186" y="70356"/>
                    <a:pt x="56545" y="68758"/>
                  </a:cubicBezTo>
                  <a:lnTo>
                    <a:pt x="2539" y="14785"/>
                  </a:lnTo>
                  <a:cubicBezTo>
                    <a:pt x="-846" y="11402"/>
                    <a:pt x="-846" y="5921"/>
                    <a:pt x="2539" y="2538"/>
                  </a:cubicBezTo>
                  <a:cubicBezTo>
                    <a:pt x="5925" y="-846"/>
                    <a:pt x="11409" y="-846"/>
                    <a:pt x="14794" y="2538"/>
                  </a:cubicBezTo>
                  <a:lnTo>
                    <a:pt x="68800" y="56510"/>
                  </a:lnTo>
                  <a:cubicBezTo>
                    <a:pt x="72186" y="59852"/>
                    <a:pt x="72217" y="65312"/>
                    <a:pt x="68862" y="68696"/>
                  </a:cubicBezTo>
                  <a:cubicBezTo>
                    <a:pt x="67232" y="70346"/>
                    <a:pt x="65000" y="71270"/>
                    <a:pt x="62673" y="71249"/>
                  </a:cubicBez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0" name="Freeform 429">
              <a:extLst>
                <a:ext uri="{FF2B5EF4-FFF2-40B4-BE49-F238E27FC236}">
                  <a16:creationId xmlns:a16="http://schemas.microsoft.com/office/drawing/2014/main" id="{3AC679EA-0EBD-F14F-BECF-5DB9989336B8}"/>
                </a:ext>
              </a:extLst>
            </p:cNvPr>
            <p:cNvSpPr/>
            <p:nvPr/>
          </p:nvSpPr>
          <p:spPr>
            <a:xfrm>
              <a:off x="8877478" y="2921680"/>
              <a:ext cx="217893" cy="81996"/>
            </a:xfrm>
            <a:custGeom>
              <a:avLst/>
              <a:gdLst>
                <a:gd name="connsiteX0" fmla="*/ 196395 w 217893"/>
                <a:gd name="connsiteY0" fmla="*/ 81997 h 81996"/>
                <a:gd name="connsiteX1" fmla="*/ 21499 w 217893"/>
                <a:gd name="connsiteY1" fmla="*/ 81997 h 81996"/>
                <a:gd name="connsiteX2" fmla="*/ 0 w 217893"/>
                <a:gd name="connsiteY2" fmla="*/ 66531 h 81996"/>
                <a:gd name="connsiteX3" fmla="*/ 0 w 217893"/>
                <a:gd name="connsiteY3" fmla="*/ 15465 h 81996"/>
                <a:gd name="connsiteX4" fmla="*/ 21499 w 217893"/>
                <a:gd name="connsiteY4" fmla="*/ 0 h 81996"/>
                <a:gd name="connsiteX5" fmla="*/ 196395 w 217893"/>
                <a:gd name="connsiteY5" fmla="*/ 0 h 81996"/>
                <a:gd name="connsiteX6" fmla="*/ 217893 w 217893"/>
                <a:gd name="connsiteY6" fmla="*/ 15465 h 81996"/>
                <a:gd name="connsiteX7" fmla="*/ 217893 w 217893"/>
                <a:gd name="connsiteY7" fmla="*/ 66531 h 81996"/>
                <a:gd name="connsiteX8" fmla="*/ 196395 w 217893"/>
                <a:gd name="connsiteY8" fmla="*/ 81997 h 81996"/>
                <a:gd name="connsiteX9" fmla="*/ 19317 w 217893"/>
                <a:gd name="connsiteY9" fmla="*/ 62483 h 81996"/>
                <a:gd name="connsiteX10" fmla="*/ 21499 w 217893"/>
                <a:gd name="connsiteY10" fmla="*/ 62483 h 81996"/>
                <a:gd name="connsiteX11" fmla="*/ 196395 w 217893"/>
                <a:gd name="connsiteY11" fmla="*/ 62483 h 81996"/>
                <a:gd name="connsiteX12" fmla="*/ 198575 w 217893"/>
                <a:gd name="connsiteY12" fmla="*/ 62483 h 81996"/>
                <a:gd name="connsiteX13" fmla="*/ 198575 w 217893"/>
                <a:gd name="connsiteY13" fmla="*/ 19513 h 81996"/>
                <a:gd name="connsiteX14" fmla="*/ 196395 w 217893"/>
                <a:gd name="connsiteY14" fmla="*/ 19513 h 81996"/>
                <a:gd name="connsiteX15" fmla="*/ 21499 w 217893"/>
                <a:gd name="connsiteY15" fmla="*/ 19513 h 81996"/>
                <a:gd name="connsiteX16" fmla="*/ 19317 w 217893"/>
                <a:gd name="connsiteY16" fmla="*/ 19513 h 81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17893" h="81996">
                  <a:moveTo>
                    <a:pt x="196395" y="81997"/>
                  </a:moveTo>
                  <a:lnTo>
                    <a:pt x="21499" y="81997"/>
                  </a:lnTo>
                  <a:cubicBezTo>
                    <a:pt x="9036" y="81997"/>
                    <a:pt x="0" y="75458"/>
                    <a:pt x="0" y="66531"/>
                  </a:cubicBezTo>
                  <a:lnTo>
                    <a:pt x="0" y="15465"/>
                  </a:lnTo>
                  <a:cubicBezTo>
                    <a:pt x="0" y="6539"/>
                    <a:pt x="9036" y="0"/>
                    <a:pt x="21499" y="0"/>
                  </a:cubicBezTo>
                  <a:lnTo>
                    <a:pt x="196395" y="0"/>
                  </a:lnTo>
                  <a:cubicBezTo>
                    <a:pt x="208858" y="0"/>
                    <a:pt x="217893" y="6539"/>
                    <a:pt x="217893" y="15465"/>
                  </a:cubicBezTo>
                  <a:lnTo>
                    <a:pt x="217893" y="66531"/>
                  </a:lnTo>
                  <a:cubicBezTo>
                    <a:pt x="217893" y="75458"/>
                    <a:pt x="208858" y="81997"/>
                    <a:pt x="196395" y="81997"/>
                  </a:cubicBezTo>
                  <a:close/>
                  <a:moveTo>
                    <a:pt x="19317" y="62483"/>
                  </a:moveTo>
                  <a:lnTo>
                    <a:pt x="21499" y="62483"/>
                  </a:lnTo>
                  <a:lnTo>
                    <a:pt x="196395" y="62483"/>
                  </a:lnTo>
                  <a:lnTo>
                    <a:pt x="198575" y="62483"/>
                  </a:lnTo>
                  <a:lnTo>
                    <a:pt x="198575" y="19513"/>
                  </a:lnTo>
                  <a:lnTo>
                    <a:pt x="196395" y="19513"/>
                  </a:lnTo>
                  <a:lnTo>
                    <a:pt x="21499" y="19513"/>
                  </a:lnTo>
                  <a:lnTo>
                    <a:pt x="19317" y="19513"/>
                  </a:ln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1" name="Freeform 430">
              <a:extLst>
                <a:ext uri="{FF2B5EF4-FFF2-40B4-BE49-F238E27FC236}">
                  <a16:creationId xmlns:a16="http://schemas.microsoft.com/office/drawing/2014/main" id="{EBDA5209-E04A-1B40-8017-8E12974B55ED}"/>
                </a:ext>
              </a:extLst>
            </p:cNvPr>
            <p:cNvSpPr/>
            <p:nvPr/>
          </p:nvSpPr>
          <p:spPr>
            <a:xfrm>
              <a:off x="8773413" y="2990287"/>
              <a:ext cx="425608" cy="222013"/>
            </a:xfrm>
            <a:custGeom>
              <a:avLst/>
              <a:gdLst>
                <a:gd name="connsiteX0" fmla="*/ 373472 w 425608"/>
                <a:gd name="connsiteY0" fmla="*/ 222014 h 222013"/>
                <a:gd name="connsiteX1" fmla="*/ 298279 w 425608"/>
                <a:gd name="connsiteY1" fmla="*/ 222014 h 222013"/>
                <a:gd name="connsiteX2" fmla="*/ 298279 w 425608"/>
                <a:gd name="connsiteY2" fmla="*/ 149359 h 222013"/>
                <a:gd name="connsiteX3" fmla="*/ 295786 w 425608"/>
                <a:gd name="connsiteY3" fmla="*/ 146867 h 222013"/>
                <a:gd name="connsiteX4" fmla="*/ 135638 w 425608"/>
                <a:gd name="connsiteY4" fmla="*/ 146867 h 222013"/>
                <a:gd name="connsiteX5" fmla="*/ 133145 w 425608"/>
                <a:gd name="connsiteY5" fmla="*/ 149359 h 222013"/>
                <a:gd name="connsiteX6" fmla="*/ 133145 w 425608"/>
                <a:gd name="connsiteY6" fmla="*/ 222014 h 222013"/>
                <a:gd name="connsiteX7" fmla="*/ 52656 w 425608"/>
                <a:gd name="connsiteY7" fmla="*/ 222014 h 222013"/>
                <a:gd name="connsiteX8" fmla="*/ 10386 w 425608"/>
                <a:gd name="connsiteY8" fmla="*/ 180497 h 222013"/>
                <a:gd name="connsiteX9" fmla="*/ 0 w 425608"/>
                <a:gd name="connsiteY9" fmla="*/ 112201 h 222013"/>
                <a:gd name="connsiteX10" fmla="*/ 0 w 425608"/>
                <a:gd name="connsiteY10" fmla="*/ 44008 h 222013"/>
                <a:gd name="connsiteX11" fmla="*/ 43932 w 425608"/>
                <a:gd name="connsiteY11" fmla="*/ 0 h 222013"/>
                <a:gd name="connsiteX12" fmla="*/ 381573 w 425608"/>
                <a:gd name="connsiteY12" fmla="*/ 0 h 222013"/>
                <a:gd name="connsiteX13" fmla="*/ 425608 w 425608"/>
                <a:gd name="connsiteY13" fmla="*/ 44008 h 222013"/>
                <a:gd name="connsiteX14" fmla="*/ 425608 w 425608"/>
                <a:gd name="connsiteY14" fmla="*/ 110644 h 222013"/>
                <a:gd name="connsiteX15" fmla="*/ 415222 w 425608"/>
                <a:gd name="connsiteY15" fmla="*/ 180393 h 222013"/>
                <a:gd name="connsiteX16" fmla="*/ 373472 w 425608"/>
                <a:gd name="connsiteY16" fmla="*/ 222014 h 222013"/>
                <a:gd name="connsiteX17" fmla="*/ 317596 w 425608"/>
                <a:gd name="connsiteY17" fmla="*/ 202708 h 222013"/>
                <a:gd name="connsiteX18" fmla="*/ 373472 w 425608"/>
                <a:gd name="connsiteY18" fmla="*/ 202708 h 222013"/>
                <a:gd name="connsiteX19" fmla="*/ 396320 w 425608"/>
                <a:gd name="connsiteY19" fmla="*/ 179770 h 222013"/>
                <a:gd name="connsiteX20" fmla="*/ 396320 w 425608"/>
                <a:gd name="connsiteY20" fmla="*/ 178421 h 222013"/>
                <a:gd name="connsiteX21" fmla="*/ 406706 w 425608"/>
                <a:gd name="connsiteY21" fmla="*/ 108672 h 222013"/>
                <a:gd name="connsiteX22" fmla="*/ 406706 w 425608"/>
                <a:gd name="connsiteY22" fmla="*/ 44112 h 222013"/>
                <a:gd name="connsiteX23" fmla="*/ 381988 w 425608"/>
                <a:gd name="connsiteY23" fmla="*/ 19409 h 222013"/>
                <a:gd name="connsiteX24" fmla="*/ 44139 w 425608"/>
                <a:gd name="connsiteY24" fmla="*/ 19409 h 222013"/>
                <a:gd name="connsiteX25" fmla="*/ 19525 w 425608"/>
                <a:gd name="connsiteY25" fmla="*/ 44112 h 222013"/>
                <a:gd name="connsiteX26" fmla="*/ 19525 w 425608"/>
                <a:gd name="connsiteY26" fmla="*/ 111578 h 222013"/>
                <a:gd name="connsiteX27" fmla="*/ 29911 w 425608"/>
                <a:gd name="connsiteY27" fmla="*/ 179770 h 222013"/>
                <a:gd name="connsiteX28" fmla="*/ 52864 w 425608"/>
                <a:gd name="connsiteY28" fmla="*/ 202708 h 222013"/>
                <a:gd name="connsiteX29" fmla="*/ 114036 w 425608"/>
                <a:gd name="connsiteY29" fmla="*/ 202708 h 222013"/>
                <a:gd name="connsiteX30" fmla="*/ 114036 w 425608"/>
                <a:gd name="connsiteY30" fmla="*/ 149670 h 222013"/>
                <a:gd name="connsiteX31" fmla="*/ 135846 w 425608"/>
                <a:gd name="connsiteY31" fmla="*/ 127873 h 222013"/>
                <a:gd name="connsiteX32" fmla="*/ 295994 w 425608"/>
                <a:gd name="connsiteY32" fmla="*/ 127873 h 222013"/>
                <a:gd name="connsiteX33" fmla="*/ 317804 w 425608"/>
                <a:gd name="connsiteY33" fmla="*/ 149670 h 222013"/>
                <a:gd name="connsiteX34" fmla="*/ 369525 w 425608"/>
                <a:gd name="connsiteY34" fmla="*/ 116560 h 222013"/>
                <a:gd name="connsiteX35" fmla="*/ 351247 w 425608"/>
                <a:gd name="connsiteY35" fmla="*/ 116560 h 222013"/>
                <a:gd name="connsiteX36" fmla="*/ 336291 w 425608"/>
                <a:gd name="connsiteY36" fmla="*/ 99019 h 222013"/>
                <a:gd name="connsiteX37" fmla="*/ 351247 w 425608"/>
                <a:gd name="connsiteY37" fmla="*/ 84072 h 222013"/>
                <a:gd name="connsiteX38" fmla="*/ 369525 w 425608"/>
                <a:gd name="connsiteY38" fmla="*/ 84072 h 222013"/>
                <a:gd name="connsiteX39" fmla="*/ 384480 w 425608"/>
                <a:gd name="connsiteY39" fmla="*/ 101614 h 222013"/>
                <a:gd name="connsiteX40" fmla="*/ 369525 w 425608"/>
                <a:gd name="connsiteY40" fmla="*/ 116560 h 222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425608" h="222013">
                  <a:moveTo>
                    <a:pt x="373472" y="222014"/>
                  </a:moveTo>
                  <a:lnTo>
                    <a:pt x="298279" y="222014"/>
                  </a:lnTo>
                  <a:lnTo>
                    <a:pt x="298279" y="149359"/>
                  </a:lnTo>
                  <a:cubicBezTo>
                    <a:pt x="298279" y="147978"/>
                    <a:pt x="297168" y="146867"/>
                    <a:pt x="295786" y="146867"/>
                  </a:cubicBezTo>
                  <a:lnTo>
                    <a:pt x="135638" y="146867"/>
                  </a:lnTo>
                  <a:cubicBezTo>
                    <a:pt x="134257" y="146867"/>
                    <a:pt x="133145" y="147978"/>
                    <a:pt x="133145" y="149359"/>
                  </a:cubicBezTo>
                  <a:lnTo>
                    <a:pt x="133145" y="222014"/>
                  </a:lnTo>
                  <a:lnTo>
                    <a:pt x="52656" y="222014"/>
                  </a:lnTo>
                  <a:cubicBezTo>
                    <a:pt x="29610" y="221962"/>
                    <a:pt x="10843" y="203518"/>
                    <a:pt x="10386" y="180497"/>
                  </a:cubicBezTo>
                  <a:lnTo>
                    <a:pt x="0" y="112201"/>
                  </a:lnTo>
                  <a:lnTo>
                    <a:pt x="0" y="44008"/>
                  </a:lnTo>
                  <a:cubicBezTo>
                    <a:pt x="0" y="19741"/>
                    <a:pt x="19650" y="62"/>
                    <a:pt x="43932" y="0"/>
                  </a:cubicBezTo>
                  <a:lnTo>
                    <a:pt x="381573" y="0"/>
                  </a:lnTo>
                  <a:cubicBezTo>
                    <a:pt x="405896" y="0"/>
                    <a:pt x="425608" y="19700"/>
                    <a:pt x="425608" y="44008"/>
                  </a:cubicBezTo>
                  <a:lnTo>
                    <a:pt x="425608" y="110644"/>
                  </a:lnTo>
                  <a:lnTo>
                    <a:pt x="415222" y="180393"/>
                  </a:lnTo>
                  <a:cubicBezTo>
                    <a:pt x="414828" y="203258"/>
                    <a:pt x="396351" y="221682"/>
                    <a:pt x="373472" y="222014"/>
                  </a:cubicBezTo>
                  <a:close/>
                  <a:moveTo>
                    <a:pt x="317596" y="202708"/>
                  </a:moveTo>
                  <a:lnTo>
                    <a:pt x="373472" y="202708"/>
                  </a:lnTo>
                  <a:cubicBezTo>
                    <a:pt x="386111" y="202646"/>
                    <a:pt x="396320" y="192402"/>
                    <a:pt x="396320" y="179770"/>
                  </a:cubicBezTo>
                  <a:lnTo>
                    <a:pt x="396320" y="178421"/>
                  </a:lnTo>
                  <a:lnTo>
                    <a:pt x="406706" y="108672"/>
                  </a:lnTo>
                  <a:lnTo>
                    <a:pt x="406706" y="44112"/>
                  </a:lnTo>
                  <a:cubicBezTo>
                    <a:pt x="406644" y="30494"/>
                    <a:pt x="395614" y="19461"/>
                    <a:pt x="381988" y="19409"/>
                  </a:cubicBezTo>
                  <a:lnTo>
                    <a:pt x="44139" y="19409"/>
                  </a:lnTo>
                  <a:cubicBezTo>
                    <a:pt x="30524" y="19472"/>
                    <a:pt x="19525" y="30505"/>
                    <a:pt x="19525" y="44112"/>
                  </a:cubicBezTo>
                  <a:lnTo>
                    <a:pt x="19525" y="111578"/>
                  </a:lnTo>
                  <a:lnTo>
                    <a:pt x="29911" y="179770"/>
                  </a:lnTo>
                  <a:cubicBezTo>
                    <a:pt x="29911" y="192443"/>
                    <a:pt x="40183" y="202708"/>
                    <a:pt x="52864" y="202708"/>
                  </a:cubicBezTo>
                  <a:lnTo>
                    <a:pt x="114036" y="202708"/>
                  </a:lnTo>
                  <a:lnTo>
                    <a:pt x="114036" y="149670"/>
                  </a:lnTo>
                  <a:cubicBezTo>
                    <a:pt x="114036" y="137630"/>
                    <a:pt x="123798" y="127873"/>
                    <a:pt x="135846" y="127873"/>
                  </a:cubicBezTo>
                  <a:lnTo>
                    <a:pt x="295994" y="127873"/>
                  </a:lnTo>
                  <a:cubicBezTo>
                    <a:pt x="308021" y="127925"/>
                    <a:pt x="317752" y="137651"/>
                    <a:pt x="317804" y="149670"/>
                  </a:cubicBezTo>
                  <a:close/>
                  <a:moveTo>
                    <a:pt x="369525" y="116560"/>
                  </a:moveTo>
                  <a:lnTo>
                    <a:pt x="351247" y="116560"/>
                  </a:lnTo>
                  <a:cubicBezTo>
                    <a:pt x="342273" y="115844"/>
                    <a:pt x="335574" y="107986"/>
                    <a:pt x="336291" y="99019"/>
                  </a:cubicBezTo>
                  <a:cubicBezTo>
                    <a:pt x="336934" y="91047"/>
                    <a:pt x="343270" y="84706"/>
                    <a:pt x="351247" y="84072"/>
                  </a:cubicBezTo>
                  <a:lnTo>
                    <a:pt x="369525" y="84072"/>
                  </a:lnTo>
                  <a:cubicBezTo>
                    <a:pt x="378498" y="84789"/>
                    <a:pt x="385197" y="92646"/>
                    <a:pt x="384480" y="101614"/>
                  </a:cubicBezTo>
                  <a:cubicBezTo>
                    <a:pt x="383837" y="109585"/>
                    <a:pt x="377501" y="115927"/>
                    <a:pt x="369525" y="116560"/>
                  </a:cubicBez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2" name="Freeform 431">
              <a:extLst>
                <a:ext uri="{FF2B5EF4-FFF2-40B4-BE49-F238E27FC236}">
                  <a16:creationId xmlns:a16="http://schemas.microsoft.com/office/drawing/2014/main" id="{0516B94F-860F-B84F-958F-0D582B24126A}"/>
                </a:ext>
              </a:extLst>
            </p:cNvPr>
            <p:cNvSpPr/>
            <p:nvPr/>
          </p:nvSpPr>
          <p:spPr>
            <a:xfrm>
              <a:off x="8909466" y="3150440"/>
              <a:ext cx="153708" cy="108463"/>
            </a:xfrm>
            <a:custGeom>
              <a:avLst/>
              <a:gdLst>
                <a:gd name="connsiteX0" fmla="*/ 133769 w 153708"/>
                <a:gd name="connsiteY0" fmla="*/ 108464 h 108463"/>
                <a:gd name="connsiteX1" fmla="*/ 20148 w 153708"/>
                <a:gd name="connsiteY1" fmla="*/ 108464 h 108463"/>
                <a:gd name="connsiteX2" fmla="*/ 0 w 153708"/>
                <a:gd name="connsiteY2" fmla="*/ 88328 h 108463"/>
                <a:gd name="connsiteX3" fmla="*/ 0 w 153708"/>
                <a:gd name="connsiteY3" fmla="*/ 86875 h 108463"/>
                <a:gd name="connsiteX4" fmla="*/ 10386 w 153708"/>
                <a:gd name="connsiteY4" fmla="*/ 19202 h 108463"/>
                <a:gd name="connsiteX5" fmla="*/ 30430 w 153708"/>
                <a:gd name="connsiteY5" fmla="*/ 0 h 108463"/>
                <a:gd name="connsiteX6" fmla="*/ 123279 w 153708"/>
                <a:gd name="connsiteY6" fmla="*/ 0 h 108463"/>
                <a:gd name="connsiteX7" fmla="*/ 143323 w 153708"/>
                <a:gd name="connsiteY7" fmla="*/ 19202 h 108463"/>
                <a:gd name="connsiteX8" fmla="*/ 153709 w 153708"/>
                <a:gd name="connsiteY8" fmla="*/ 88328 h 108463"/>
                <a:gd name="connsiteX9" fmla="*/ 133769 w 153708"/>
                <a:gd name="connsiteY9" fmla="*/ 108464 h 108463"/>
                <a:gd name="connsiteX10" fmla="*/ 19525 w 153708"/>
                <a:gd name="connsiteY10" fmla="*/ 88640 h 108463"/>
                <a:gd name="connsiteX11" fmla="*/ 20356 w 153708"/>
                <a:gd name="connsiteY11" fmla="*/ 89158 h 108463"/>
                <a:gd name="connsiteX12" fmla="*/ 133976 w 153708"/>
                <a:gd name="connsiteY12" fmla="*/ 89158 h 108463"/>
                <a:gd name="connsiteX13" fmla="*/ 134807 w 153708"/>
                <a:gd name="connsiteY13" fmla="*/ 88640 h 108463"/>
                <a:gd name="connsiteX14" fmla="*/ 124421 w 153708"/>
                <a:gd name="connsiteY14" fmla="*/ 20032 h 108463"/>
                <a:gd name="connsiteX15" fmla="*/ 123695 w 153708"/>
                <a:gd name="connsiteY15" fmla="*/ 19306 h 108463"/>
                <a:gd name="connsiteX16" fmla="*/ 30846 w 153708"/>
                <a:gd name="connsiteY16" fmla="*/ 19306 h 108463"/>
                <a:gd name="connsiteX17" fmla="*/ 30119 w 153708"/>
                <a:gd name="connsiteY17" fmla="*/ 20032 h 108463"/>
                <a:gd name="connsiteX18" fmla="*/ 30119 w 153708"/>
                <a:gd name="connsiteY18" fmla="*/ 21485 h 108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53708" h="108463">
                  <a:moveTo>
                    <a:pt x="133769" y="108464"/>
                  </a:moveTo>
                  <a:lnTo>
                    <a:pt x="20148" y="108464"/>
                  </a:lnTo>
                  <a:cubicBezTo>
                    <a:pt x="9025" y="108464"/>
                    <a:pt x="0" y="99444"/>
                    <a:pt x="0" y="88328"/>
                  </a:cubicBezTo>
                  <a:lnTo>
                    <a:pt x="0" y="86875"/>
                  </a:lnTo>
                  <a:lnTo>
                    <a:pt x="10386" y="19202"/>
                  </a:lnTo>
                  <a:cubicBezTo>
                    <a:pt x="10832" y="8459"/>
                    <a:pt x="19681" y="-10"/>
                    <a:pt x="30430" y="0"/>
                  </a:cubicBezTo>
                  <a:lnTo>
                    <a:pt x="123279" y="0"/>
                  </a:lnTo>
                  <a:cubicBezTo>
                    <a:pt x="134028" y="-10"/>
                    <a:pt x="142877" y="8459"/>
                    <a:pt x="143323" y="19202"/>
                  </a:cubicBezTo>
                  <a:lnTo>
                    <a:pt x="153709" y="88328"/>
                  </a:lnTo>
                  <a:cubicBezTo>
                    <a:pt x="153709" y="99372"/>
                    <a:pt x="144819" y="108350"/>
                    <a:pt x="133769" y="108464"/>
                  </a:cubicBezTo>
                  <a:close/>
                  <a:moveTo>
                    <a:pt x="19525" y="88640"/>
                  </a:moveTo>
                  <a:cubicBezTo>
                    <a:pt x="19702" y="88940"/>
                    <a:pt x="20013" y="89138"/>
                    <a:pt x="20356" y="89158"/>
                  </a:cubicBezTo>
                  <a:lnTo>
                    <a:pt x="133976" y="89158"/>
                  </a:lnTo>
                  <a:cubicBezTo>
                    <a:pt x="134319" y="89138"/>
                    <a:pt x="134631" y="88940"/>
                    <a:pt x="134807" y="88640"/>
                  </a:cubicBezTo>
                  <a:lnTo>
                    <a:pt x="124421" y="20032"/>
                  </a:lnTo>
                  <a:cubicBezTo>
                    <a:pt x="124421" y="19627"/>
                    <a:pt x="124100" y="19306"/>
                    <a:pt x="123695" y="19306"/>
                  </a:cubicBezTo>
                  <a:lnTo>
                    <a:pt x="30846" y="19306"/>
                  </a:lnTo>
                  <a:cubicBezTo>
                    <a:pt x="30441" y="19306"/>
                    <a:pt x="30119" y="19627"/>
                    <a:pt x="30119" y="20032"/>
                  </a:cubicBezTo>
                  <a:lnTo>
                    <a:pt x="30119" y="21485"/>
                  </a:ln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3" name="Freeform 432">
              <a:extLst>
                <a:ext uri="{FF2B5EF4-FFF2-40B4-BE49-F238E27FC236}">
                  <a16:creationId xmlns:a16="http://schemas.microsoft.com/office/drawing/2014/main" id="{B49522B2-9C74-8D45-A55E-A16162A22A54}"/>
                </a:ext>
              </a:extLst>
            </p:cNvPr>
            <p:cNvSpPr/>
            <p:nvPr/>
          </p:nvSpPr>
          <p:spPr>
            <a:xfrm>
              <a:off x="11360192" y="4292166"/>
              <a:ext cx="38011" cy="37988"/>
            </a:xfrm>
            <a:custGeom>
              <a:avLst/>
              <a:gdLst>
                <a:gd name="connsiteX0" fmla="*/ 38012 w 38011"/>
                <a:gd name="connsiteY0" fmla="*/ 18994 h 37988"/>
                <a:gd name="connsiteX1" fmla="*/ 19005 w 38011"/>
                <a:gd name="connsiteY1" fmla="*/ 0 h 37988"/>
                <a:gd name="connsiteX2" fmla="*/ 0 w 38011"/>
                <a:gd name="connsiteY2" fmla="*/ 18994 h 37988"/>
                <a:gd name="connsiteX3" fmla="*/ 19005 w 38011"/>
                <a:gd name="connsiteY3" fmla="*/ 37988 h 37988"/>
                <a:gd name="connsiteX4" fmla="*/ 38012 w 38011"/>
                <a:gd name="connsiteY4" fmla="*/ 18994 h 37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011" h="37988">
                  <a:moveTo>
                    <a:pt x="38012" y="18994"/>
                  </a:moveTo>
                  <a:cubicBezTo>
                    <a:pt x="38012" y="8501"/>
                    <a:pt x="29506" y="0"/>
                    <a:pt x="19005" y="0"/>
                  </a:cubicBezTo>
                  <a:cubicBezTo>
                    <a:pt x="8506" y="0"/>
                    <a:pt x="0" y="8501"/>
                    <a:pt x="0" y="18994"/>
                  </a:cubicBezTo>
                  <a:cubicBezTo>
                    <a:pt x="0" y="29488"/>
                    <a:pt x="8506" y="37988"/>
                    <a:pt x="19005" y="37988"/>
                  </a:cubicBezTo>
                  <a:cubicBezTo>
                    <a:pt x="29506" y="37988"/>
                    <a:pt x="38012" y="29488"/>
                    <a:pt x="38012" y="18994"/>
                  </a:cubicBez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4" name="Freeform 433">
              <a:extLst>
                <a:ext uri="{FF2B5EF4-FFF2-40B4-BE49-F238E27FC236}">
                  <a16:creationId xmlns:a16="http://schemas.microsoft.com/office/drawing/2014/main" id="{7DEA65A1-9B55-FC42-8629-12A4E34CC92B}"/>
                </a:ext>
              </a:extLst>
            </p:cNvPr>
            <p:cNvSpPr/>
            <p:nvPr/>
          </p:nvSpPr>
          <p:spPr>
            <a:xfrm>
              <a:off x="11357803" y="4289779"/>
              <a:ext cx="42789" cy="42763"/>
            </a:xfrm>
            <a:custGeom>
              <a:avLst/>
              <a:gdLst>
                <a:gd name="connsiteX0" fmla="*/ 21395 w 42789"/>
                <a:gd name="connsiteY0" fmla="*/ 42763 h 42763"/>
                <a:gd name="connsiteX1" fmla="*/ 0 w 42789"/>
                <a:gd name="connsiteY1" fmla="*/ 21382 h 42763"/>
                <a:gd name="connsiteX2" fmla="*/ 21395 w 42789"/>
                <a:gd name="connsiteY2" fmla="*/ 0 h 42763"/>
                <a:gd name="connsiteX3" fmla="*/ 42789 w 42789"/>
                <a:gd name="connsiteY3" fmla="*/ 21382 h 42763"/>
                <a:gd name="connsiteX4" fmla="*/ 21395 w 42789"/>
                <a:gd name="connsiteY4" fmla="*/ 42763 h 42763"/>
                <a:gd name="connsiteX5" fmla="*/ 21395 w 42789"/>
                <a:gd name="connsiteY5" fmla="*/ 4878 h 42763"/>
                <a:gd name="connsiteX6" fmla="*/ 6138 w 42789"/>
                <a:gd name="connsiteY6" fmla="*/ 22741 h 42763"/>
                <a:gd name="connsiteX7" fmla="*/ 21395 w 42789"/>
                <a:gd name="connsiteY7" fmla="*/ 37988 h 42763"/>
                <a:gd name="connsiteX8" fmla="*/ 39269 w 42789"/>
                <a:gd name="connsiteY8" fmla="*/ 22741 h 42763"/>
                <a:gd name="connsiteX9" fmla="*/ 24022 w 42789"/>
                <a:gd name="connsiteY9" fmla="*/ 4878 h 42763"/>
                <a:gd name="connsiteX10" fmla="*/ 21395 w 42789"/>
                <a:gd name="connsiteY10" fmla="*/ 4878 h 42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2789" h="42763">
                  <a:moveTo>
                    <a:pt x="21395" y="42763"/>
                  </a:moveTo>
                  <a:cubicBezTo>
                    <a:pt x="9576" y="42763"/>
                    <a:pt x="0" y="33193"/>
                    <a:pt x="0" y="21382"/>
                  </a:cubicBezTo>
                  <a:cubicBezTo>
                    <a:pt x="0" y="9570"/>
                    <a:pt x="9576" y="0"/>
                    <a:pt x="21395" y="0"/>
                  </a:cubicBezTo>
                  <a:cubicBezTo>
                    <a:pt x="33214" y="0"/>
                    <a:pt x="42789" y="9570"/>
                    <a:pt x="42789" y="21382"/>
                  </a:cubicBezTo>
                  <a:cubicBezTo>
                    <a:pt x="42789" y="33193"/>
                    <a:pt x="33214" y="42763"/>
                    <a:pt x="21395" y="42763"/>
                  </a:cubicBezTo>
                  <a:close/>
                  <a:moveTo>
                    <a:pt x="21395" y="4878"/>
                  </a:moveTo>
                  <a:cubicBezTo>
                    <a:pt x="12245" y="5605"/>
                    <a:pt x="5422" y="13597"/>
                    <a:pt x="6138" y="22741"/>
                  </a:cubicBezTo>
                  <a:cubicBezTo>
                    <a:pt x="6782" y="30879"/>
                    <a:pt x="13252" y="37345"/>
                    <a:pt x="21395" y="37988"/>
                  </a:cubicBezTo>
                  <a:cubicBezTo>
                    <a:pt x="30545" y="38715"/>
                    <a:pt x="38552" y="31886"/>
                    <a:pt x="39269" y="22741"/>
                  </a:cubicBezTo>
                  <a:cubicBezTo>
                    <a:pt x="39996" y="13607"/>
                    <a:pt x="33172" y="5605"/>
                    <a:pt x="24022" y="4878"/>
                  </a:cubicBezTo>
                  <a:cubicBezTo>
                    <a:pt x="23150" y="4806"/>
                    <a:pt x="22267" y="4806"/>
                    <a:pt x="21395" y="4878"/>
                  </a:cubicBez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5" name="Freeform 434">
              <a:extLst>
                <a:ext uri="{FF2B5EF4-FFF2-40B4-BE49-F238E27FC236}">
                  <a16:creationId xmlns:a16="http://schemas.microsoft.com/office/drawing/2014/main" id="{7C1E9BF5-A688-514A-9493-CCF8818BE09E}"/>
                </a:ext>
              </a:extLst>
            </p:cNvPr>
            <p:cNvSpPr/>
            <p:nvPr/>
          </p:nvSpPr>
          <p:spPr>
            <a:xfrm>
              <a:off x="11223100" y="4205914"/>
              <a:ext cx="240637" cy="25636"/>
            </a:xfrm>
            <a:custGeom>
              <a:avLst/>
              <a:gdLst>
                <a:gd name="connsiteX0" fmla="*/ 0 w 240637"/>
                <a:gd name="connsiteY0" fmla="*/ 0 h 25636"/>
                <a:gd name="connsiteX1" fmla="*/ 240638 w 240637"/>
                <a:gd name="connsiteY1" fmla="*/ 0 h 25636"/>
                <a:gd name="connsiteX2" fmla="*/ 240638 w 240637"/>
                <a:gd name="connsiteY2" fmla="*/ 25637 h 25636"/>
                <a:gd name="connsiteX3" fmla="*/ 0 w 240637"/>
                <a:gd name="connsiteY3" fmla="*/ 25637 h 25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0637" h="25636">
                  <a:moveTo>
                    <a:pt x="0" y="0"/>
                  </a:moveTo>
                  <a:lnTo>
                    <a:pt x="240638" y="0"/>
                  </a:lnTo>
                  <a:lnTo>
                    <a:pt x="240638" y="25637"/>
                  </a:lnTo>
                  <a:lnTo>
                    <a:pt x="0" y="25637"/>
                  </a:ln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6" name="Freeform 435">
              <a:extLst>
                <a:ext uri="{FF2B5EF4-FFF2-40B4-BE49-F238E27FC236}">
                  <a16:creationId xmlns:a16="http://schemas.microsoft.com/office/drawing/2014/main" id="{8A5F3EE3-E981-2049-A8E6-EB361685F7E8}"/>
                </a:ext>
              </a:extLst>
            </p:cNvPr>
            <p:cNvSpPr/>
            <p:nvPr/>
          </p:nvSpPr>
          <p:spPr>
            <a:xfrm>
              <a:off x="11220711" y="4203527"/>
              <a:ext cx="245415" cy="30515"/>
            </a:xfrm>
            <a:custGeom>
              <a:avLst/>
              <a:gdLst>
                <a:gd name="connsiteX0" fmla="*/ 245415 w 245415"/>
                <a:gd name="connsiteY0" fmla="*/ 30515 h 30515"/>
                <a:gd name="connsiteX1" fmla="*/ 0 w 245415"/>
                <a:gd name="connsiteY1" fmla="*/ 30515 h 30515"/>
                <a:gd name="connsiteX2" fmla="*/ 0 w 245415"/>
                <a:gd name="connsiteY2" fmla="*/ 0 h 30515"/>
                <a:gd name="connsiteX3" fmla="*/ 245415 w 245415"/>
                <a:gd name="connsiteY3" fmla="*/ 0 h 30515"/>
                <a:gd name="connsiteX4" fmla="*/ 4778 w 245415"/>
                <a:gd name="connsiteY4" fmla="*/ 25637 h 30515"/>
                <a:gd name="connsiteX5" fmla="*/ 240638 w 245415"/>
                <a:gd name="connsiteY5" fmla="*/ 25637 h 30515"/>
                <a:gd name="connsiteX6" fmla="*/ 240638 w 245415"/>
                <a:gd name="connsiteY6" fmla="*/ 4878 h 30515"/>
                <a:gd name="connsiteX7" fmla="*/ 4778 w 245415"/>
                <a:gd name="connsiteY7" fmla="*/ 4878 h 30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5415" h="30515">
                  <a:moveTo>
                    <a:pt x="245415" y="30515"/>
                  </a:moveTo>
                  <a:lnTo>
                    <a:pt x="0" y="30515"/>
                  </a:lnTo>
                  <a:lnTo>
                    <a:pt x="0" y="0"/>
                  </a:lnTo>
                  <a:lnTo>
                    <a:pt x="245415" y="0"/>
                  </a:lnTo>
                  <a:close/>
                  <a:moveTo>
                    <a:pt x="4778" y="25637"/>
                  </a:moveTo>
                  <a:lnTo>
                    <a:pt x="240638" y="25637"/>
                  </a:lnTo>
                  <a:lnTo>
                    <a:pt x="240638" y="4878"/>
                  </a:lnTo>
                  <a:lnTo>
                    <a:pt x="4778" y="4878"/>
                  </a:ln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7" name="Freeform 436">
              <a:extLst>
                <a:ext uri="{FF2B5EF4-FFF2-40B4-BE49-F238E27FC236}">
                  <a16:creationId xmlns:a16="http://schemas.microsoft.com/office/drawing/2014/main" id="{F153CEBA-6D50-0547-BB14-961F85828E3A}"/>
                </a:ext>
              </a:extLst>
            </p:cNvPr>
            <p:cNvSpPr/>
            <p:nvPr/>
          </p:nvSpPr>
          <p:spPr>
            <a:xfrm>
              <a:off x="11223100" y="4148828"/>
              <a:ext cx="240637" cy="25636"/>
            </a:xfrm>
            <a:custGeom>
              <a:avLst/>
              <a:gdLst>
                <a:gd name="connsiteX0" fmla="*/ 0 w 240637"/>
                <a:gd name="connsiteY0" fmla="*/ 0 h 25636"/>
                <a:gd name="connsiteX1" fmla="*/ 240638 w 240637"/>
                <a:gd name="connsiteY1" fmla="*/ 0 h 25636"/>
                <a:gd name="connsiteX2" fmla="*/ 240638 w 240637"/>
                <a:gd name="connsiteY2" fmla="*/ 25637 h 25636"/>
                <a:gd name="connsiteX3" fmla="*/ 0 w 240637"/>
                <a:gd name="connsiteY3" fmla="*/ 25637 h 25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0637" h="25636">
                  <a:moveTo>
                    <a:pt x="0" y="0"/>
                  </a:moveTo>
                  <a:lnTo>
                    <a:pt x="240638" y="0"/>
                  </a:lnTo>
                  <a:lnTo>
                    <a:pt x="240638" y="25637"/>
                  </a:lnTo>
                  <a:lnTo>
                    <a:pt x="0" y="25637"/>
                  </a:ln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8" name="Freeform 437">
              <a:extLst>
                <a:ext uri="{FF2B5EF4-FFF2-40B4-BE49-F238E27FC236}">
                  <a16:creationId xmlns:a16="http://schemas.microsoft.com/office/drawing/2014/main" id="{997FF2F3-B696-8246-A1FE-E2B9F11B1719}"/>
                </a:ext>
              </a:extLst>
            </p:cNvPr>
            <p:cNvSpPr/>
            <p:nvPr/>
          </p:nvSpPr>
          <p:spPr>
            <a:xfrm>
              <a:off x="11220711" y="4146440"/>
              <a:ext cx="245415" cy="30515"/>
            </a:xfrm>
            <a:custGeom>
              <a:avLst/>
              <a:gdLst>
                <a:gd name="connsiteX0" fmla="*/ 245415 w 245415"/>
                <a:gd name="connsiteY0" fmla="*/ 30515 h 30515"/>
                <a:gd name="connsiteX1" fmla="*/ 0 w 245415"/>
                <a:gd name="connsiteY1" fmla="*/ 30515 h 30515"/>
                <a:gd name="connsiteX2" fmla="*/ 0 w 245415"/>
                <a:gd name="connsiteY2" fmla="*/ 0 h 30515"/>
                <a:gd name="connsiteX3" fmla="*/ 245415 w 245415"/>
                <a:gd name="connsiteY3" fmla="*/ 0 h 30515"/>
                <a:gd name="connsiteX4" fmla="*/ 4778 w 245415"/>
                <a:gd name="connsiteY4" fmla="*/ 25637 h 30515"/>
                <a:gd name="connsiteX5" fmla="*/ 240638 w 245415"/>
                <a:gd name="connsiteY5" fmla="*/ 25637 h 30515"/>
                <a:gd name="connsiteX6" fmla="*/ 240638 w 245415"/>
                <a:gd name="connsiteY6" fmla="*/ 4878 h 30515"/>
                <a:gd name="connsiteX7" fmla="*/ 4778 w 245415"/>
                <a:gd name="connsiteY7" fmla="*/ 4878 h 30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5415" h="30515">
                  <a:moveTo>
                    <a:pt x="245415" y="30515"/>
                  </a:moveTo>
                  <a:lnTo>
                    <a:pt x="0" y="30515"/>
                  </a:lnTo>
                  <a:lnTo>
                    <a:pt x="0" y="0"/>
                  </a:lnTo>
                  <a:lnTo>
                    <a:pt x="245415" y="0"/>
                  </a:lnTo>
                  <a:close/>
                  <a:moveTo>
                    <a:pt x="4778" y="25637"/>
                  </a:moveTo>
                  <a:lnTo>
                    <a:pt x="240638" y="25637"/>
                  </a:lnTo>
                  <a:lnTo>
                    <a:pt x="240638" y="4878"/>
                  </a:lnTo>
                  <a:lnTo>
                    <a:pt x="4778" y="4878"/>
                  </a:ln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9" name="Freeform 438">
              <a:extLst>
                <a:ext uri="{FF2B5EF4-FFF2-40B4-BE49-F238E27FC236}">
                  <a16:creationId xmlns:a16="http://schemas.microsoft.com/office/drawing/2014/main" id="{6BEDA914-AA2E-F348-B262-A629092257E3}"/>
                </a:ext>
              </a:extLst>
            </p:cNvPr>
            <p:cNvSpPr/>
            <p:nvPr/>
          </p:nvSpPr>
          <p:spPr>
            <a:xfrm>
              <a:off x="11223100" y="4265076"/>
              <a:ext cx="142804" cy="25636"/>
            </a:xfrm>
            <a:custGeom>
              <a:avLst/>
              <a:gdLst>
                <a:gd name="connsiteX0" fmla="*/ 0 w 142804"/>
                <a:gd name="connsiteY0" fmla="*/ 0 h 25636"/>
                <a:gd name="connsiteX1" fmla="*/ 142804 w 142804"/>
                <a:gd name="connsiteY1" fmla="*/ 0 h 25636"/>
                <a:gd name="connsiteX2" fmla="*/ 142804 w 142804"/>
                <a:gd name="connsiteY2" fmla="*/ 25637 h 25636"/>
                <a:gd name="connsiteX3" fmla="*/ 0 w 142804"/>
                <a:gd name="connsiteY3" fmla="*/ 25637 h 25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2804" h="25636">
                  <a:moveTo>
                    <a:pt x="0" y="0"/>
                  </a:moveTo>
                  <a:lnTo>
                    <a:pt x="142804" y="0"/>
                  </a:lnTo>
                  <a:lnTo>
                    <a:pt x="142804" y="25637"/>
                  </a:lnTo>
                  <a:lnTo>
                    <a:pt x="0" y="25637"/>
                  </a:ln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0" name="Freeform 439">
              <a:extLst>
                <a:ext uri="{FF2B5EF4-FFF2-40B4-BE49-F238E27FC236}">
                  <a16:creationId xmlns:a16="http://schemas.microsoft.com/office/drawing/2014/main" id="{00CFB500-3007-EC41-B1CF-7611D3555375}"/>
                </a:ext>
              </a:extLst>
            </p:cNvPr>
            <p:cNvSpPr/>
            <p:nvPr/>
          </p:nvSpPr>
          <p:spPr>
            <a:xfrm>
              <a:off x="11220711" y="4262689"/>
              <a:ext cx="147581" cy="30515"/>
            </a:xfrm>
            <a:custGeom>
              <a:avLst/>
              <a:gdLst>
                <a:gd name="connsiteX0" fmla="*/ 147582 w 147581"/>
                <a:gd name="connsiteY0" fmla="*/ 30515 h 30515"/>
                <a:gd name="connsiteX1" fmla="*/ 0 w 147581"/>
                <a:gd name="connsiteY1" fmla="*/ 30515 h 30515"/>
                <a:gd name="connsiteX2" fmla="*/ 0 w 147581"/>
                <a:gd name="connsiteY2" fmla="*/ 0 h 30515"/>
                <a:gd name="connsiteX3" fmla="*/ 147582 w 147581"/>
                <a:gd name="connsiteY3" fmla="*/ 0 h 30515"/>
                <a:gd name="connsiteX4" fmla="*/ 4778 w 147581"/>
                <a:gd name="connsiteY4" fmla="*/ 25637 h 30515"/>
                <a:gd name="connsiteX5" fmla="*/ 143116 w 147581"/>
                <a:gd name="connsiteY5" fmla="*/ 25637 h 30515"/>
                <a:gd name="connsiteX6" fmla="*/ 143116 w 147581"/>
                <a:gd name="connsiteY6" fmla="*/ 4878 h 30515"/>
                <a:gd name="connsiteX7" fmla="*/ 4778 w 147581"/>
                <a:gd name="connsiteY7" fmla="*/ 4878 h 30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7581" h="30515">
                  <a:moveTo>
                    <a:pt x="147582" y="30515"/>
                  </a:moveTo>
                  <a:lnTo>
                    <a:pt x="0" y="30515"/>
                  </a:lnTo>
                  <a:lnTo>
                    <a:pt x="0" y="0"/>
                  </a:lnTo>
                  <a:lnTo>
                    <a:pt x="147582" y="0"/>
                  </a:lnTo>
                  <a:close/>
                  <a:moveTo>
                    <a:pt x="4778" y="25637"/>
                  </a:moveTo>
                  <a:lnTo>
                    <a:pt x="143116" y="25637"/>
                  </a:lnTo>
                  <a:lnTo>
                    <a:pt x="143116" y="4878"/>
                  </a:lnTo>
                  <a:lnTo>
                    <a:pt x="4778" y="4878"/>
                  </a:ln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1" name="Freeform 440">
              <a:extLst>
                <a:ext uri="{FF2B5EF4-FFF2-40B4-BE49-F238E27FC236}">
                  <a16:creationId xmlns:a16="http://schemas.microsoft.com/office/drawing/2014/main" id="{09C83928-C630-7C49-A00F-CB1F9BBE33D2}"/>
                </a:ext>
              </a:extLst>
            </p:cNvPr>
            <p:cNvSpPr/>
            <p:nvPr/>
          </p:nvSpPr>
          <p:spPr>
            <a:xfrm>
              <a:off x="11342848" y="4317629"/>
              <a:ext cx="212077" cy="75631"/>
            </a:xfrm>
            <a:custGeom>
              <a:avLst/>
              <a:gdLst>
                <a:gd name="connsiteX0" fmla="*/ 209377 w 212077"/>
                <a:gd name="connsiteY0" fmla="*/ 51760 h 75631"/>
                <a:gd name="connsiteX1" fmla="*/ 209377 w 212077"/>
                <a:gd name="connsiteY1" fmla="*/ 51760 h 75631"/>
                <a:gd name="connsiteX2" fmla="*/ 167107 w 212077"/>
                <a:gd name="connsiteY2" fmla="*/ 46674 h 75631"/>
                <a:gd name="connsiteX3" fmla="*/ 150178 w 212077"/>
                <a:gd name="connsiteY3" fmla="*/ 38267 h 75631"/>
                <a:gd name="connsiteX4" fmla="*/ 139792 w 212077"/>
                <a:gd name="connsiteY4" fmla="*/ 42834 h 75631"/>
                <a:gd name="connsiteX5" fmla="*/ 114347 w 212077"/>
                <a:gd name="connsiteY5" fmla="*/ 51656 h 75631"/>
                <a:gd name="connsiteX6" fmla="*/ 110505 w 212077"/>
                <a:gd name="connsiteY6" fmla="*/ 54251 h 75631"/>
                <a:gd name="connsiteX7" fmla="*/ 114451 w 212077"/>
                <a:gd name="connsiteY7" fmla="*/ 45428 h 75631"/>
                <a:gd name="connsiteX8" fmla="*/ 123591 w 212077"/>
                <a:gd name="connsiteY8" fmla="*/ 19272 h 75631"/>
                <a:gd name="connsiteX9" fmla="*/ 115178 w 212077"/>
                <a:gd name="connsiteY9" fmla="*/ 5987 h 75631"/>
                <a:gd name="connsiteX10" fmla="*/ 87033 w 212077"/>
                <a:gd name="connsiteY10" fmla="*/ 23216 h 75631"/>
                <a:gd name="connsiteX11" fmla="*/ 68858 w 212077"/>
                <a:gd name="connsiteY11" fmla="*/ 37229 h 75631"/>
                <a:gd name="connsiteX12" fmla="*/ 68858 w 212077"/>
                <a:gd name="connsiteY12" fmla="*/ 34115 h 75631"/>
                <a:gd name="connsiteX13" fmla="*/ 65015 w 212077"/>
                <a:gd name="connsiteY13" fmla="*/ 4119 h 75631"/>
                <a:gd name="connsiteX14" fmla="*/ 0 w 212077"/>
                <a:gd name="connsiteY14" fmla="*/ 69612 h 75631"/>
                <a:gd name="connsiteX15" fmla="*/ 11321 w 212077"/>
                <a:gd name="connsiteY15" fmla="*/ 75632 h 75631"/>
                <a:gd name="connsiteX16" fmla="*/ 54421 w 212077"/>
                <a:gd name="connsiteY16" fmla="*/ 11488 h 75631"/>
                <a:gd name="connsiteX17" fmla="*/ 56187 w 212077"/>
                <a:gd name="connsiteY17" fmla="*/ 32246 h 75631"/>
                <a:gd name="connsiteX18" fmla="*/ 56187 w 212077"/>
                <a:gd name="connsiteY18" fmla="*/ 44286 h 75631"/>
                <a:gd name="connsiteX19" fmla="*/ 69897 w 212077"/>
                <a:gd name="connsiteY19" fmla="*/ 50514 h 75631"/>
                <a:gd name="connsiteX20" fmla="*/ 95238 w 212077"/>
                <a:gd name="connsiteY20" fmla="*/ 32766 h 75631"/>
                <a:gd name="connsiteX21" fmla="*/ 110401 w 212077"/>
                <a:gd name="connsiteY21" fmla="*/ 20414 h 75631"/>
                <a:gd name="connsiteX22" fmla="*/ 102923 w 212077"/>
                <a:gd name="connsiteY22" fmla="*/ 39512 h 75631"/>
                <a:gd name="connsiteX23" fmla="*/ 97626 w 212077"/>
                <a:gd name="connsiteY23" fmla="*/ 55808 h 75631"/>
                <a:gd name="connsiteX24" fmla="*/ 115905 w 212077"/>
                <a:gd name="connsiteY24" fmla="*/ 64318 h 75631"/>
                <a:gd name="connsiteX25" fmla="*/ 145193 w 212077"/>
                <a:gd name="connsiteY25" fmla="*/ 53939 h 75631"/>
                <a:gd name="connsiteX26" fmla="*/ 154125 w 212077"/>
                <a:gd name="connsiteY26" fmla="*/ 50099 h 75631"/>
                <a:gd name="connsiteX27" fmla="*/ 155163 w 212077"/>
                <a:gd name="connsiteY27" fmla="*/ 50099 h 75631"/>
                <a:gd name="connsiteX28" fmla="*/ 210623 w 212077"/>
                <a:gd name="connsiteY28" fmla="*/ 64215 h 75631"/>
                <a:gd name="connsiteX29" fmla="*/ 212078 w 212077"/>
                <a:gd name="connsiteY29" fmla="*/ 64215 h 75631"/>
                <a:gd name="connsiteX30" fmla="*/ 211143 w 212077"/>
                <a:gd name="connsiteY30" fmla="*/ 51448 h 75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12077" h="75631">
                  <a:moveTo>
                    <a:pt x="209377" y="51760"/>
                  </a:moveTo>
                  <a:lnTo>
                    <a:pt x="209377" y="51760"/>
                  </a:lnTo>
                  <a:cubicBezTo>
                    <a:pt x="198991" y="52486"/>
                    <a:pt x="169600" y="54770"/>
                    <a:pt x="167107" y="46674"/>
                  </a:cubicBezTo>
                  <a:cubicBezTo>
                    <a:pt x="164615" y="38578"/>
                    <a:pt x="158487" y="35775"/>
                    <a:pt x="150178" y="38267"/>
                  </a:cubicBezTo>
                  <a:cubicBezTo>
                    <a:pt x="146626" y="39574"/>
                    <a:pt x="143157" y="41100"/>
                    <a:pt x="139792" y="42834"/>
                  </a:cubicBezTo>
                  <a:cubicBezTo>
                    <a:pt x="131837" y="47120"/>
                    <a:pt x="123248" y="50099"/>
                    <a:pt x="114347" y="51656"/>
                  </a:cubicBezTo>
                  <a:cubicBezTo>
                    <a:pt x="111336" y="51656"/>
                    <a:pt x="110609" y="55496"/>
                    <a:pt x="110505" y="54251"/>
                  </a:cubicBezTo>
                  <a:cubicBezTo>
                    <a:pt x="111440" y="51157"/>
                    <a:pt x="112758" y="48189"/>
                    <a:pt x="114451" y="45428"/>
                  </a:cubicBezTo>
                  <a:cubicBezTo>
                    <a:pt x="119114" y="37364"/>
                    <a:pt x="122209" y="28489"/>
                    <a:pt x="123591" y="19272"/>
                  </a:cubicBezTo>
                  <a:cubicBezTo>
                    <a:pt x="124422" y="10450"/>
                    <a:pt x="121202" y="6506"/>
                    <a:pt x="115178" y="5987"/>
                  </a:cubicBezTo>
                  <a:cubicBezTo>
                    <a:pt x="109154" y="5468"/>
                    <a:pt x="97730" y="14186"/>
                    <a:pt x="87033" y="23216"/>
                  </a:cubicBezTo>
                  <a:cubicBezTo>
                    <a:pt x="81394" y="28396"/>
                    <a:pt x="75307" y="33087"/>
                    <a:pt x="68858" y="37229"/>
                  </a:cubicBezTo>
                  <a:cubicBezTo>
                    <a:pt x="68858" y="36294"/>
                    <a:pt x="68858" y="35256"/>
                    <a:pt x="68858" y="34115"/>
                  </a:cubicBezTo>
                  <a:cubicBezTo>
                    <a:pt x="71506" y="23995"/>
                    <a:pt x="70125" y="13242"/>
                    <a:pt x="65015" y="4119"/>
                  </a:cubicBezTo>
                  <a:cubicBezTo>
                    <a:pt x="48190" y="-19962"/>
                    <a:pt x="104" y="69405"/>
                    <a:pt x="0" y="69612"/>
                  </a:cubicBezTo>
                  <a:lnTo>
                    <a:pt x="11321" y="75632"/>
                  </a:lnTo>
                  <a:cubicBezTo>
                    <a:pt x="11321" y="75632"/>
                    <a:pt x="49436" y="4326"/>
                    <a:pt x="54421" y="11488"/>
                  </a:cubicBezTo>
                  <a:cubicBezTo>
                    <a:pt x="57434" y="17985"/>
                    <a:pt x="58067" y="25334"/>
                    <a:pt x="56187" y="32246"/>
                  </a:cubicBezTo>
                  <a:cubicBezTo>
                    <a:pt x="55418" y="36222"/>
                    <a:pt x="55418" y="40311"/>
                    <a:pt x="56187" y="44286"/>
                  </a:cubicBezTo>
                  <a:cubicBezTo>
                    <a:pt x="57953" y="50203"/>
                    <a:pt x="61795" y="52798"/>
                    <a:pt x="69897" y="50514"/>
                  </a:cubicBezTo>
                  <a:cubicBezTo>
                    <a:pt x="79316" y="46124"/>
                    <a:pt x="87895" y="40114"/>
                    <a:pt x="95238" y="32766"/>
                  </a:cubicBezTo>
                  <a:cubicBezTo>
                    <a:pt x="101054" y="27887"/>
                    <a:pt x="106766" y="23009"/>
                    <a:pt x="110401" y="20414"/>
                  </a:cubicBezTo>
                  <a:cubicBezTo>
                    <a:pt x="108822" y="27098"/>
                    <a:pt x="106299" y="33533"/>
                    <a:pt x="102923" y="39512"/>
                  </a:cubicBezTo>
                  <a:cubicBezTo>
                    <a:pt x="99673" y="44338"/>
                    <a:pt x="97834" y="49985"/>
                    <a:pt x="97626" y="55808"/>
                  </a:cubicBezTo>
                  <a:cubicBezTo>
                    <a:pt x="98561" y="62762"/>
                    <a:pt x="103546" y="66187"/>
                    <a:pt x="115905" y="64318"/>
                  </a:cubicBezTo>
                  <a:cubicBezTo>
                    <a:pt x="126166" y="62471"/>
                    <a:pt x="136064" y="58973"/>
                    <a:pt x="145193" y="53939"/>
                  </a:cubicBezTo>
                  <a:cubicBezTo>
                    <a:pt x="148039" y="52382"/>
                    <a:pt x="151030" y="51095"/>
                    <a:pt x="154125" y="50099"/>
                  </a:cubicBezTo>
                  <a:lnTo>
                    <a:pt x="155163" y="50099"/>
                  </a:lnTo>
                  <a:cubicBezTo>
                    <a:pt x="160564" y="67951"/>
                    <a:pt x="198056" y="65149"/>
                    <a:pt x="210623" y="64215"/>
                  </a:cubicBezTo>
                  <a:lnTo>
                    <a:pt x="212078" y="64215"/>
                  </a:lnTo>
                  <a:lnTo>
                    <a:pt x="211143" y="51448"/>
                  </a:ln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2" name="Freeform 441">
              <a:extLst>
                <a:ext uri="{FF2B5EF4-FFF2-40B4-BE49-F238E27FC236}">
                  <a16:creationId xmlns:a16="http://schemas.microsoft.com/office/drawing/2014/main" id="{7847BA45-CCDF-0A40-B47D-7AA4FAF7723F}"/>
                </a:ext>
              </a:extLst>
            </p:cNvPr>
            <p:cNvSpPr/>
            <p:nvPr/>
          </p:nvSpPr>
          <p:spPr>
            <a:xfrm>
              <a:off x="11339628" y="4315162"/>
              <a:ext cx="217789" cy="81420"/>
            </a:xfrm>
            <a:custGeom>
              <a:avLst/>
              <a:gdLst>
                <a:gd name="connsiteX0" fmla="*/ 15475 w 217789"/>
                <a:gd name="connsiteY0" fmla="*/ 81420 h 81420"/>
                <a:gd name="connsiteX1" fmla="*/ 0 w 217789"/>
                <a:gd name="connsiteY1" fmla="*/ 73117 h 81420"/>
                <a:gd name="connsiteX2" fmla="*/ 1143 w 217789"/>
                <a:gd name="connsiteY2" fmla="*/ 71041 h 81420"/>
                <a:gd name="connsiteX3" fmla="*/ 60237 w 217789"/>
                <a:gd name="connsiteY3" fmla="*/ 47 h 81420"/>
                <a:gd name="connsiteX4" fmla="*/ 70623 w 217789"/>
                <a:gd name="connsiteY4" fmla="*/ 5236 h 81420"/>
                <a:gd name="connsiteX5" fmla="*/ 75193 w 217789"/>
                <a:gd name="connsiteY5" fmla="*/ 34817 h 81420"/>
                <a:gd name="connsiteX6" fmla="*/ 88591 w 217789"/>
                <a:gd name="connsiteY6" fmla="*/ 23919 h 81420"/>
                <a:gd name="connsiteX7" fmla="*/ 118606 w 217789"/>
                <a:gd name="connsiteY7" fmla="*/ 6066 h 81420"/>
                <a:gd name="connsiteX8" fmla="*/ 128991 w 217789"/>
                <a:gd name="connsiteY8" fmla="*/ 21947 h 81420"/>
                <a:gd name="connsiteX9" fmla="*/ 119644 w 217789"/>
                <a:gd name="connsiteY9" fmla="*/ 48933 h 81420"/>
                <a:gd name="connsiteX10" fmla="*/ 118294 w 217789"/>
                <a:gd name="connsiteY10" fmla="*/ 51632 h 81420"/>
                <a:gd name="connsiteX11" fmla="*/ 141662 w 217789"/>
                <a:gd name="connsiteY11" fmla="*/ 43225 h 81420"/>
                <a:gd name="connsiteX12" fmla="*/ 152879 w 217789"/>
                <a:gd name="connsiteY12" fmla="*/ 38450 h 81420"/>
                <a:gd name="connsiteX13" fmla="*/ 171656 w 217789"/>
                <a:gd name="connsiteY13" fmla="*/ 44823 h 81420"/>
                <a:gd name="connsiteX14" fmla="*/ 172923 w 217789"/>
                <a:gd name="connsiteY14" fmla="*/ 48830 h 81420"/>
                <a:gd name="connsiteX15" fmla="*/ 212597 w 217789"/>
                <a:gd name="connsiteY15" fmla="*/ 52151 h 81420"/>
                <a:gd name="connsiteX16" fmla="*/ 212597 w 217789"/>
                <a:gd name="connsiteY16" fmla="*/ 54538 h 81420"/>
                <a:gd name="connsiteX17" fmla="*/ 212597 w 217789"/>
                <a:gd name="connsiteY17" fmla="*/ 52151 h 81420"/>
                <a:gd name="connsiteX18" fmla="*/ 216543 w 217789"/>
                <a:gd name="connsiteY18" fmla="*/ 52151 h 81420"/>
                <a:gd name="connsiteX19" fmla="*/ 217790 w 217789"/>
                <a:gd name="connsiteY19" fmla="*/ 69692 h 81420"/>
                <a:gd name="connsiteX20" fmla="*/ 213947 w 217789"/>
                <a:gd name="connsiteY20" fmla="*/ 69692 h 81420"/>
                <a:gd name="connsiteX21" fmla="*/ 156825 w 217789"/>
                <a:gd name="connsiteY21" fmla="*/ 55991 h 81420"/>
                <a:gd name="connsiteX22" fmla="*/ 149763 w 217789"/>
                <a:gd name="connsiteY22" fmla="*/ 59105 h 81420"/>
                <a:gd name="connsiteX23" fmla="*/ 119332 w 217789"/>
                <a:gd name="connsiteY23" fmla="*/ 69484 h 81420"/>
                <a:gd name="connsiteX24" fmla="*/ 98561 w 217789"/>
                <a:gd name="connsiteY24" fmla="*/ 59105 h 81420"/>
                <a:gd name="connsiteX25" fmla="*/ 104065 w 217789"/>
                <a:gd name="connsiteY25" fmla="*/ 41356 h 81420"/>
                <a:gd name="connsiteX26" fmla="*/ 109362 w 217789"/>
                <a:gd name="connsiteY26" fmla="*/ 29835 h 81420"/>
                <a:gd name="connsiteX27" fmla="*/ 100638 w 217789"/>
                <a:gd name="connsiteY27" fmla="*/ 37204 h 81420"/>
                <a:gd name="connsiteX28" fmla="*/ 100119 w 217789"/>
                <a:gd name="connsiteY28" fmla="*/ 37204 h 81420"/>
                <a:gd name="connsiteX29" fmla="*/ 73947 w 217789"/>
                <a:gd name="connsiteY29" fmla="*/ 55368 h 81420"/>
                <a:gd name="connsiteX30" fmla="*/ 57226 w 217789"/>
                <a:gd name="connsiteY30" fmla="*/ 47480 h 81420"/>
                <a:gd name="connsiteX31" fmla="*/ 57226 w 217789"/>
                <a:gd name="connsiteY31" fmla="*/ 34506 h 81420"/>
                <a:gd name="connsiteX32" fmla="*/ 56395 w 217789"/>
                <a:gd name="connsiteY32" fmla="*/ 16134 h 81420"/>
                <a:gd name="connsiteX33" fmla="*/ 16825 w 217789"/>
                <a:gd name="connsiteY33" fmla="*/ 79241 h 81420"/>
                <a:gd name="connsiteX34" fmla="*/ 6543 w 217789"/>
                <a:gd name="connsiteY34" fmla="*/ 71041 h 81420"/>
                <a:gd name="connsiteX35" fmla="*/ 13501 w 217789"/>
                <a:gd name="connsiteY35" fmla="*/ 74778 h 81420"/>
                <a:gd name="connsiteX36" fmla="*/ 56499 w 217789"/>
                <a:gd name="connsiteY36" fmla="*/ 10945 h 81420"/>
                <a:gd name="connsiteX37" fmla="*/ 59614 w 217789"/>
                <a:gd name="connsiteY37" fmla="*/ 12398 h 81420"/>
                <a:gd name="connsiteX38" fmla="*/ 61795 w 217789"/>
                <a:gd name="connsiteY38" fmla="*/ 35025 h 81420"/>
                <a:gd name="connsiteX39" fmla="*/ 61795 w 217789"/>
                <a:gd name="connsiteY39" fmla="*/ 46131 h 81420"/>
                <a:gd name="connsiteX40" fmla="*/ 72181 w 217789"/>
                <a:gd name="connsiteY40" fmla="*/ 50698 h 81420"/>
                <a:gd name="connsiteX41" fmla="*/ 96484 w 217789"/>
                <a:gd name="connsiteY41" fmla="*/ 33572 h 81420"/>
                <a:gd name="connsiteX42" fmla="*/ 97107 w 217789"/>
                <a:gd name="connsiteY42" fmla="*/ 33572 h 81420"/>
                <a:gd name="connsiteX43" fmla="*/ 111959 w 217789"/>
                <a:gd name="connsiteY43" fmla="*/ 21428 h 81420"/>
                <a:gd name="connsiteX44" fmla="*/ 116736 w 217789"/>
                <a:gd name="connsiteY44" fmla="*/ 18003 h 81420"/>
                <a:gd name="connsiteX45" fmla="*/ 115697 w 217789"/>
                <a:gd name="connsiteY45" fmla="*/ 23815 h 81420"/>
                <a:gd name="connsiteX46" fmla="*/ 108012 w 217789"/>
                <a:gd name="connsiteY46" fmla="*/ 43432 h 81420"/>
                <a:gd name="connsiteX47" fmla="*/ 102923 w 217789"/>
                <a:gd name="connsiteY47" fmla="*/ 58482 h 81420"/>
                <a:gd name="connsiteX48" fmla="*/ 118502 w 217789"/>
                <a:gd name="connsiteY48" fmla="*/ 64917 h 81420"/>
                <a:gd name="connsiteX49" fmla="*/ 147063 w 217789"/>
                <a:gd name="connsiteY49" fmla="*/ 55161 h 81420"/>
                <a:gd name="connsiteX50" fmla="*/ 156409 w 217789"/>
                <a:gd name="connsiteY50" fmla="*/ 51113 h 81420"/>
                <a:gd name="connsiteX51" fmla="*/ 159214 w 217789"/>
                <a:gd name="connsiteY51" fmla="*/ 51113 h 81420"/>
                <a:gd name="connsiteX52" fmla="*/ 160149 w 217789"/>
                <a:gd name="connsiteY52" fmla="*/ 51113 h 81420"/>
                <a:gd name="connsiteX53" fmla="*/ 160149 w 217789"/>
                <a:gd name="connsiteY53" fmla="*/ 52151 h 81420"/>
                <a:gd name="connsiteX54" fmla="*/ 212078 w 217789"/>
                <a:gd name="connsiteY54" fmla="*/ 64606 h 81420"/>
                <a:gd name="connsiteX55" fmla="*/ 212078 w 217789"/>
                <a:gd name="connsiteY55" fmla="*/ 64606 h 81420"/>
                <a:gd name="connsiteX56" fmla="*/ 212078 w 217789"/>
                <a:gd name="connsiteY56" fmla="*/ 56614 h 81420"/>
                <a:gd name="connsiteX57" fmla="*/ 168249 w 217789"/>
                <a:gd name="connsiteY57" fmla="*/ 49764 h 81420"/>
                <a:gd name="connsiteX58" fmla="*/ 154229 w 217789"/>
                <a:gd name="connsiteY58" fmla="*/ 42913 h 81420"/>
                <a:gd name="connsiteX59" fmla="*/ 143843 w 217789"/>
                <a:gd name="connsiteY59" fmla="*/ 47376 h 81420"/>
                <a:gd name="connsiteX60" fmla="*/ 117671 w 217789"/>
                <a:gd name="connsiteY60" fmla="*/ 56821 h 81420"/>
                <a:gd name="connsiteX61" fmla="*/ 116009 w 217789"/>
                <a:gd name="connsiteY61" fmla="*/ 58171 h 81420"/>
                <a:gd name="connsiteX62" fmla="*/ 112997 w 217789"/>
                <a:gd name="connsiteY62" fmla="*/ 59520 h 81420"/>
                <a:gd name="connsiteX63" fmla="*/ 111440 w 217789"/>
                <a:gd name="connsiteY63" fmla="*/ 59520 h 81420"/>
                <a:gd name="connsiteX64" fmla="*/ 111440 w 217789"/>
                <a:gd name="connsiteY64" fmla="*/ 57548 h 81420"/>
                <a:gd name="connsiteX65" fmla="*/ 115593 w 217789"/>
                <a:gd name="connsiteY65" fmla="*/ 47169 h 81420"/>
                <a:gd name="connsiteX66" fmla="*/ 124525 w 217789"/>
                <a:gd name="connsiteY66" fmla="*/ 21947 h 81420"/>
                <a:gd name="connsiteX67" fmla="*/ 118294 w 217789"/>
                <a:gd name="connsiteY67" fmla="*/ 11568 h 81420"/>
                <a:gd name="connsiteX68" fmla="*/ 92018 w 217789"/>
                <a:gd name="connsiteY68" fmla="*/ 28174 h 81420"/>
                <a:gd name="connsiteX69" fmla="*/ 73323 w 217789"/>
                <a:gd name="connsiteY69" fmla="*/ 42602 h 81420"/>
                <a:gd name="connsiteX70" fmla="*/ 69273 w 217789"/>
                <a:gd name="connsiteY70" fmla="*/ 44781 h 81420"/>
                <a:gd name="connsiteX71" fmla="*/ 69793 w 217789"/>
                <a:gd name="connsiteY71" fmla="*/ 40111 h 81420"/>
                <a:gd name="connsiteX72" fmla="*/ 69793 w 217789"/>
                <a:gd name="connsiteY72" fmla="*/ 36997 h 81420"/>
                <a:gd name="connsiteX73" fmla="*/ 66365 w 217789"/>
                <a:gd name="connsiteY73" fmla="*/ 8661 h 81420"/>
                <a:gd name="connsiteX74" fmla="*/ 60757 w 217789"/>
                <a:gd name="connsiteY74" fmla="*/ 5548 h 81420"/>
                <a:gd name="connsiteX75" fmla="*/ 6543 w 217789"/>
                <a:gd name="connsiteY75" fmla="*/ 71145 h 81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</a:cxnLst>
              <a:rect l="l" t="t" r="r" b="b"/>
              <a:pathLst>
                <a:path w="217789" h="81420">
                  <a:moveTo>
                    <a:pt x="15475" y="81420"/>
                  </a:moveTo>
                  <a:lnTo>
                    <a:pt x="0" y="73117"/>
                  </a:lnTo>
                  <a:lnTo>
                    <a:pt x="1143" y="71041"/>
                  </a:lnTo>
                  <a:cubicBezTo>
                    <a:pt x="1143" y="70314"/>
                    <a:pt x="38116" y="1500"/>
                    <a:pt x="60237" y="47"/>
                  </a:cubicBezTo>
                  <a:cubicBezTo>
                    <a:pt x="64402" y="-337"/>
                    <a:pt x="68432" y="1676"/>
                    <a:pt x="70623" y="5236"/>
                  </a:cubicBezTo>
                  <a:cubicBezTo>
                    <a:pt x="75931" y="14131"/>
                    <a:pt x="77571" y="24739"/>
                    <a:pt x="75193" y="34817"/>
                  </a:cubicBezTo>
                  <a:cubicBezTo>
                    <a:pt x="79139" y="31911"/>
                    <a:pt x="83917" y="27863"/>
                    <a:pt x="88591" y="23919"/>
                  </a:cubicBezTo>
                  <a:cubicBezTo>
                    <a:pt x="99911" y="14266"/>
                    <a:pt x="110712" y="5340"/>
                    <a:pt x="118606" y="6066"/>
                  </a:cubicBezTo>
                  <a:cubicBezTo>
                    <a:pt x="124110" y="6066"/>
                    <a:pt x="130341" y="9699"/>
                    <a:pt x="128991" y="21947"/>
                  </a:cubicBezTo>
                  <a:cubicBezTo>
                    <a:pt x="127589" y="31444"/>
                    <a:pt x="124422" y="40599"/>
                    <a:pt x="119644" y="48933"/>
                  </a:cubicBezTo>
                  <a:lnTo>
                    <a:pt x="118294" y="51632"/>
                  </a:lnTo>
                  <a:cubicBezTo>
                    <a:pt x="126446" y="49961"/>
                    <a:pt x="134319" y="47127"/>
                    <a:pt x="141662" y="43225"/>
                  </a:cubicBezTo>
                  <a:cubicBezTo>
                    <a:pt x="145276" y="41346"/>
                    <a:pt x="149025" y="39748"/>
                    <a:pt x="152879" y="38450"/>
                  </a:cubicBezTo>
                  <a:cubicBezTo>
                    <a:pt x="159827" y="35035"/>
                    <a:pt x="168228" y="37890"/>
                    <a:pt x="171656" y="44823"/>
                  </a:cubicBezTo>
                  <a:cubicBezTo>
                    <a:pt x="172279" y="46089"/>
                    <a:pt x="172705" y="47439"/>
                    <a:pt x="172923" y="48830"/>
                  </a:cubicBezTo>
                  <a:cubicBezTo>
                    <a:pt x="172923" y="50282"/>
                    <a:pt x="177493" y="54745"/>
                    <a:pt x="212597" y="52151"/>
                  </a:cubicBezTo>
                  <a:lnTo>
                    <a:pt x="212597" y="54538"/>
                  </a:lnTo>
                  <a:lnTo>
                    <a:pt x="212597" y="52151"/>
                  </a:lnTo>
                  <a:lnTo>
                    <a:pt x="216543" y="52151"/>
                  </a:lnTo>
                  <a:lnTo>
                    <a:pt x="217790" y="69692"/>
                  </a:lnTo>
                  <a:lnTo>
                    <a:pt x="213947" y="69692"/>
                  </a:lnTo>
                  <a:cubicBezTo>
                    <a:pt x="200134" y="70626"/>
                    <a:pt x="164822" y="73221"/>
                    <a:pt x="156825" y="55991"/>
                  </a:cubicBezTo>
                  <a:cubicBezTo>
                    <a:pt x="154416" y="56884"/>
                    <a:pt x="152048" y="57932"/>
                    <a:pt x="149763" y="59105"/>
                  </a:cubicBezTo>
                  <a:cubicBezTo>
                    <a:pt x="140229" y="64149"/>
                    <a:pt x="129957" y="67658"/>
                    <a:pt x="119332" y="69484"/>
                  </a:cubicBezTo>
                  <a:cubicBezTo>
                    <a:pt x="114659" y="70107"/>
                    <a:pt x="100119" y="72079"/>
                    <a:pt x="98561" y="59105"/>
                  </a:cubicBezTo>
                  <a:cubicBezTo>
                    <a:pt x="98654" y="52784"/>
                    <a:pt x="100566" y="46619"/>
                    <a:pt x="104065" y="41356"/>
                  </a:cubicBezTo>
                  <a:cubicBezTo>
                    <a:pt x="106060" y="37630"/>
                    <a:pt x="107825" y="33779"/>
                    <a:pt x="109362" y="29835"/>
                  </a:cubicBezTo>
                  <a:lnTo>
                    <a:pt x="100638" y="37204"/>
                  </a:lnTo>
                  <a:lnTo>
                    <a:pt x="100119" y="37204"/>
                  </a:lnTo>
                  <a:cubicBezTo>
                    <a:pt x="92537" y="44750"/>
                    <a:pt x="83678" y="50905"/>
                    <a:pt x="73947" y="55368"/>
                  </a:cubicBezTo>
                  <a:cubicBezTo>
                    <a:pt x="65119" y="57963"/>
                    <a:pt x="59407" y="55368"/>
                    <a:pt x="57226" y="47480"/>
                  </a:cubicBezTo>
                  <a:cubicBezTo>
                    <a:pt x="56291" y="43204"/>
                    <a:pt x="56291" y="38782"/>
                    <a:pt x="57226" y="34506"/>
                  </a:cubicBezTo>
                  <a:cubicBezTo>
                    <a:pt x="58804" y="28434"/>
                    <a:pt x="58514" y="22030"/>
                    <a:pt x="56395" y="16134"/>
                  </a:cubicBezTo>
                  <a:cubicBezTo>
                    <a:pt x="50267" y="20390"/>
                    <a:pt x="29600" y="55368"/>
                    <a:pt x="16825" y="79241"/>
                  </a:cubicBezTo>
                  <a:close/>
                  <a:moveTo>
                    <a:pt x="6543" y="71041"/>
                  </a:moveTo>
                  <a:lnTo>
                    <a:pt x="13501" y="74778"/>
                  </a:lnTo>
                  <a:cubicBezTo>
                    <a:pt x="19525" y="63464"/>
                    <a:pt x="47775" y="11464"/>
                    <a:pt x="56499" y="10945"/>
                  </a:cubicBezTo>
                  <a:cubicBezTo>
                    <a:pt x="57735" y="10789"/>
                    <a:pt x="58939" y="11350"/>
                    <a:pt x="59614" y="12398"/>
                  </a:cubicBezTo>
                  <a:cubicBezTo>
                    <a:pt x="63063" y="19425"/>
                    <a:pt x="63842" y="27469"/>
                    <a:pt x="61795" y="35025"/>
                  </a:cubicBezTo>
                  <a:cubicBezTo>
                    <a:pt x="61079" y="38689"/>
                    <a:pt x="61079" y="42467"/>
                    <a:pt x="61795" y="46131"/>
                  </a:cubicBezTo>
                  <a:cubicBezTo>
                    <a:pt x="63042" y="50386"/>
                    <a:pt x="65327" y="52670"/>
                    <a:pt x="72181" y="50698"/>
                  </a:cubicBezTo>
                  <a:cubicBezTo>
                    <a:pt x="81144" y="46318"/>
                    <a:pt x="89349" y="40536"/>
                    <a:pt x="96484" y="33572"/>
                  </a:cubicBezTo>
                  <a:lnTo>
                    <a:pt x="97107" y="33572"/>
                  </a:lnTo>
                  <a:cubicBezTo>
                    <a:pt x="102819" y="28590"/>
                    <a:pt x="108323" y="24023"/>
                    <a:pt x="111959" y="21428"/>
                  </a:cubicBezTo>
                  <a:lnTo>
                    <a:pt x="116736" y="18003"/>
                  </a:lnTo>
                  <a:lnTo>
                    <a:pt x="115697" y="23815"/>
                  </a:lnTo>
                  <a:cubicBezTo>
                    <a:pt x="114077" y="30686"/>
                    <a:pt x="111492" y="37288"/>
                    <a:pt x="108012" y="43432"/>
                  </a:cubicBezTo>
                  <a:cubicBezTo>
                    <a:pt x="105042" y="47926"/>
                    <a:pt x="103286" y="53106"/>
                    <a:pt x="102923" y="58482"/>
                  </a:cubicBezTo>
                  <a:cubicBezTo>
                    <a:pt x="103546" y="62841"/>
                    <a:pt x="105831" y="66578"/>
                    <a:pt x="118502" y="64917"/>
                  </a:cubicBezTo>
                  <a:cubicBezTo>
                    <a:pt x="128482" y="63215"/>
                    <a:pt x="138120" y="59915"/>
                    <a:pt x="147063" y="55161"/>
                  </a:cubicBezTo>
                  <a:cubicBezTo>
                    <a:pt x="150074" y="53573"/>
                    <a:pt x="153201" y="52224"/>
                    <a:pt x="156409" y="51113"/>
                  </a:cubicBezTo>
                  <a:cubicBezTo>
                    <a:pt x="157313" y="50750"/>
                    <a:pt x="158310" y="50750"/>
                    <a:pt x="159214" y="51113"/>
                  </a:cubicBezTo>
                  <a:lnTo>
                    <a:pt x="160149" y="51113"/>
                  </a:lnTo>
                  <a:lnTo>
                    <a:pt x="160149" y="52151"/>
                  </a:lnTo>
                  <a:cubicBezTo>
                    <a:pt x="164822" y="67616"/>
                    <a:pt x="199095" y="65540"/>
                    <a:pt x="212078" y="64606"/>
                  </a:cubicBezTo>
                  <a:lnTo>
                    <a:pt x="212078" y="64606"/>
                  </a:lnTo>
                  <a:lnTo>
                    <a:pt x="212078" y="56614"/>
                  </a:lnTo>
                  <a:cubicBezTo>
                    <a:pt x="183413" y="58690"/>
                    <a:pt x="170534" y="56614"/>
                    <a:pt x="168249" y="49764"/>
                  </a:cubicBezTo>
                  <a:cubicBezTo>
                    <a:pt x="165965" y="42913"/>
                    <a:pt x="162433" y="40526"/>
                    <a:pt x="154229" y="42913"/>
                  </a:cubicBezTo>
                  <a:cubicBezTo>
                    <a:pt x="151424" y="43847"/>
                    <a:pt x="148205" y="45404"/>
                    <a:pt x="143843" y="47376"/>
                  </a:cubicBezTo>
                  <a:cubicBezTo>
                    <a:pt x="135680" y="51891"/>
                    <a:pt x="126841" y="55078"/>
                    <a:pt x="117671" y="56821"/>
                  </a:cubicBezTo>
                  <a:cubicBezTo>
                    <a:pt x="116934" y="56987"/>
                    <a:pt x="116321" y="57486"/>
                    <a:pt x="116009" y="58171"/>
                  </a:cubicBezTo>
                  <a:cubicBezTo>
                    <a:pt x="115386" y="59198"/>
                    <a:pt x="114181" y="59738"/>
                    <a:pt x="112997" y="59520"/>
                  </a:cubicBezTo>
                  <a:lnTo>
                    <a:pt x="111440" y="59520"/>
                  </a:lnTo>
                  <a:lnTo>
                    <a:pt x="111440" y="57548"/>
                  </a:lnTo>
                  <a:cubicBezTo>
                    <a:pt x="111440" y="56095"/>
                    <a:pt x="111440" y="54434"/>
                    <a:pt x="115593" y="47169"/>
                  </a:cubicBezTo>
                  <a:cubicBezTo>
                    <a:pt x="120153" y="39405"/>
                    <a:pt x="123186" y="30842"/>
                    <a:pt x="124525" y="21947"/>
                  </a:cubicBezTo>
                  <a:cubicBezTo>
                    <a:pt x="125356" y="13125"/>
                    <a:pt x="121825" y="11568"/>
                    <a:pt x="118294" y="11568"/>
                  </a:cubicBezTo>
                  <a:cubicBezTo>
                    <a:pt x="112166" y="11049"/>
                    <a:pt x="101988" y="19767"/>
                    <a:pt x="92018" y="28174"/>
                  </a:cubicBezTo>
                  <a:cubicBezTo>
                    <a:pt x="86202" y="33499"/>
                    <a:pt x="79949" y="38325"/>
                    <a:pt x="73323" y="42602"/>
                  </a:cubicBezTo>
                  <a:lnTo>
                    <a:pt x="69273" y="44781"/>
                  </a:lnTo>
                  <a:lnTo>
                    <a:pt x="69793" y="40111"/>
                  </a:lnTo>
                  <a:cubicBezTo>
                    <a:pt x="69793" y="39177"/>
                    <a:pt x="69793" y="38139"/>
                    <a:pt x="69793" y="36997"/>
                  </a:cubicBezTo>
                  <a:cubicBezTo>
                    <a:pt x="72358" y="27469"/>
                    <a:pt x="71132" y="17307"/>
                    <a:pt x="66365" y="8661"/>
                  </a:cubicBezTo>
                  <a:cubicBezTo>
                    <a:pt x="65150" y="6731"/>
                    <a:pt x="63042" y="5558"/>
                    <a:pt x="60757" y="5548"/>
                  </a:cubicBezTo>
                  <a:cubicBezTo>
                    <a:pt x="44970" y="5755"/>
                    <a:pt x="16929" y="52151"/>
                    <a:pt x="6543" y="71145"/>
                  </a:cubicBez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3" name="Freeform 442">
              <a:extLst>
                <a:ext uri="{FF2B5EF4-FFF2-40B4-BE49-F238E27FC236}">
                  <a16:creationId xmlns:a16="http://schemas.microsoft.com/office/drawing/2014/main" id="{F9EA3F54-C05F-3645-A05F-F44E82F1BCF7}"/>
                </a:ext>
              </a:extLst>
            </p:cNvPr>
            <p:cNvSpPr/>
            <p:nvPr/>
          </p:nvSpPr>
          <p:spPr>
            <a:xfrm>
              <a:off x="11468308" y="4400526"/>
              <a:ext cx="275845" cy="374693"/>
            </a:xfrm>
            <a:custGeom>
              <a:avLst/>
              <a:gdLst>
                <a:gd name="connsiteX0" fmla="*/ 184451 w 275845"/>
                <a:gd name="connsiteY0" fmla="*/ 368778 h 374693"/>
                <a:gd name="connsiteX1" fmla="*/ 205846 w 275845"/>
                <a:gd name="connsiteY1" fmla="*/ 352586 h 374693"/>
                <a:gd name="connsiteX2" fmla="*/ 214362 w 275845"/>
                <a:gd name="connsiteY2" fmla="*/ 361201 h 374693"/>
                <a:gd name="connsiteX3" fmla="*/ 220178 w 275845"/>
                <a:gd name="connsiteY3" fmla="*/ 366805 h 374693"/>
                <a:gd name="connsiteX4" fmla="*/ 226721 w 275845"/>
                <a:gd name="connsiteY4" fmla="*/ 362135 h 374693"/>
                <a:gd name="connsiteX5" fmla="*/ 270030 w 275845"/>
                <a:gd name="connsiteY5" fmla="*/ 330997 h 374693"/>
                <a:gd name="connsiteX6" fmla="*/ 275846 w 275845"/>
                <a:gd name="connsiteY6" fmla="*/ 326845 h 374693"/>
                <a:gd name="connsiteX7" fmla="*/ 273457 w 275845"/>
                <a:gd name="connsiteY7" fmla="*/ 320098 h 374693"/>
                <a:gd name="connsiteX8" fmla="*/ 113308 w 275845"/>
                <a:gd name="connsiteY8" fmla="*/ 81374 h 374693"/>
                <a:gd name="connsiteX9" fmla="*/ 92849 w 275845"/>
                <a:gd name="connsiteY9" fmla="*/ 57294 h 374693"/>
                <a:gd name="connsiteX10" fmla="*/ 87344 w 275845"/>
                <a:gd name="connsiteY10" fmla="*/ 50755 h 374693"/>
                <a:gd name="connsiteX11" fmla="*/ 80074 w 275845"/>
                <a:gd name="connsiteY11" fmla="*/ 55426 h 374693"/>
                <a:gd name="connsiteX12" fmla="*/ 78412 w 275845"/>
                <a:gd name="connsiteY12" fmla="*/ 56567 h 374693"/>
                <a:gd name="connsiteX13" fmla="*/ 78412 w 275845"/>
                <a:gd name="connsiteY13" fmla="*/ 56048 h 374693"/>
                <a:gd name="connsiteX14" fmla="*/ 62211 w 275845"/>
                <a:gd name="connsiteY14" fmla="*/ 25533 h 374693"/>
                <a:gd name="connsiteX15" fmla="*/ 61380 w 275845"/>
                <a:gd name="connsiteY15" fmla="*/ 24080 h 374693"/>
                <a:gd name="connsiteX16" fmla="*/ 59926 w 275845"/>
                <a:gd name="connsiteY16" fmla="*/ 23146 h 374693"/>
                <a:gd name="connsiteX17" fmla="*/ 27315 w 275845"/>
                <a:gd name="connsiteY17" fmla="*/ 2387 h 374693"/>
                <a:gd name="connsiteX18" fmla="*/ 23576 w 275845"/>
                <a:gd name="connsiteY18" fmla="*/ 0 h 374693"/>
                <a:gd name="connsiteX19" fmla="*/ 20148 w 275845"/>
                <a:gd name="connsiteY19" fmla="*/ 2595 h 374693"/>
                <a:gd name="connsiteX20" fmla="*/ 12047 w 275845"/>
                <a:gd name="connsiteY20" fmla="*/ 8719 h 374693"/>
                <a:gd name="connsiteX21" fmla="*/ 3635 w 275845"/>
                <a:gd name="connsiteY21" fmla="*/ 14531 h 374693"/>
                <a:gd name="connsiteX22" fmla="*/ 0 w 275845"/>
                <a:gd name="connsiteY22" fmla="*/ 17022 h 374693"/>
                <a:gd name="connsiteX23" fmla="*/ 1038 w 275845"/>
                <a:gd name="connsiteY23" fmla="*/ 21277 h 374693"/>
                <a:gd name="connsiteX24" fmla="*/ 10282 w 275845"/>
                <a:gd name="connsiteY24" fmla="*/ 58747 h 374693"/>
                <a:gd name="connsiteX25" fmla="*/ 10282 w 275845"/>
                <a:gd name="connsiteY25" fmla="*/ 60408 h 374693"/>
                <a:gd name="connsiteX26" fmla="*/ 11424 w 275845"/>
                <a:gd name="connsiteY26" fmla="*/ 61653 h 374693"/>
                <a:gd name="connsiteX27" fmla="*/ 34896 w 275845"/>
                <a:gd name="connsiteY27" fmla="*/ 86252 h 374693"/>
                <a:gd name="connsiteX28" fmla="*/ 28457 w 275845"/>
                <a:gd name="connsiteY28" fmla="*/ 90508 h 374693"/>
                <a:gd name="connsiteX29" fmla="*/ 33131 w 275845"/>
                <a:gd name="connsiteY29" fmla="*/ 98396 h 374693"/>
                <a:gd name="connsiteX30" fmla="*/ 57434 w 275845"/>
                <a:gd name="connsiteY30" fmla="*/ 139913 h 374693"/>
                <a:gd name="connsiteX31" fmla="*/ 187879 w 275845"/>
                <a:gd name="connsiteY31" fmla="*/ 333592 h 374693"/>
                <a:gd name="connsiteX32" fmla="*/ 176350 w 275845"/>
                <a:gd name="connsiteY32" fmla="*/ 342310 h 374693"/>
                <a:gd name="connsiteX33" fmla="*/ 132314 w 275845"/>
                <a:gd name="connsiteY33" fmla="*/ 296330 h 374693"/>
                <a:gd name="connsiteX34" fmla="*/ 95653 w 275845"/>
                <a:gd name="connsiteY34" fmla="*/ 237168 h 374693"/>
                <a:gd name="connsiteX35" fmla="*/ 73012 w 275845"/>
                <a:gd name="connsiteY35" fmla="*/ 249000 h 374693"/>
                <a:gd name="connsiteX36" fmla="*/ 111959 w 275845"/>
                <a:gd name="connsiteY36" fmla="*/ 311795 h 374693"/>
                <a:gd name="connsiteX37" fmla="*/ 168353 w 275845"/>
                <a:gd name="connsiteY37" fmla="*/ 368674 h 374693"/>
                <a:gd name="connsiteX38" fmla="*/ 176143 w 275845"/>
                <a:gd name="connsiteY38" fmla="*/ 374694 h 374693"/>
                <a:gd name="connsiteX39" fmla="*/ 22433 w 275845"/>
                <a:gd name="connsiteY39" fmla="*/ 54491 h 374693"/>
                <a:gd name="connsiteX40" fmla="*/ 14644 w 275845"/>
                <a:gd name="connsiteY40" fmla="*/ 23353 h 374693"/>
                <a:gd name="connsiteX41" fmla="*/ 19525 w 275845"/>
                <a:gd name="connsiteY41" fmla="*/ 20032 h 374693"/>
                <a:gd name="connsiteX42" fmla="*/ 19525 w 275845"/>
                <a:gd name="connsiteY42" fmla="*/ 20032 h 374693"/>
                <a:gd name="connsiteX43" fmla="*/ 24199 w 275845"/>
                <a:gd name="connsiteY43" fmla="*/ 16503 h 374693"/>
                <a:gd name="connsiteX44" fmla="*/ 51618 w 275845"/>
                <a:gd name="connsiteY44" fmla="*/ 33837 h 374693"/>
                <a:gd name="connsiteX45" fmla="*/ 64392 w 275845"/>
                <a:gd name="connsiteY45" fmla="*/ 57917 h 374693"/>
                <a:gd name="connsiteX46" fmla="*/ 40920 w 275845"/>
                <a:gd name="connsiteY46" fmla="*/ 74005 h 374693"/>
                <a:gd name="connsiteX47" fmla="*/ 74362 w 275845"/>
                <a:gd name="connsiteY47" fmla="*/ 130468 h 374693"/>
                <a:gd name="connsiteX48" fmla="*/ 54733 w 275845"/>
                <a:gd name="connsiteY48" fmla="*/ 96839 h 374693"/>
                <a:gd name="connsiteX49" fmla="*/ 69377 w 275845"/>
                <a:gd name="connsiteY49" fmla="*/ 86460 h 374693"/>
                <a:gd name="connsiteX50" fmla="*/ 83813 w 275845"/>
                <a:gd name="connsiteY50" fmla="*/ 76080 h 374693"/>
                <a:gd name="connsiteX51" fmla="*/ 98457 w 275845"/>
                <a:gd name="connsiteY51" fmla="*/ 93621 h 374693"/>
                <a:gd name="connsiteX52" fmla="*/ 252789 w 275845"/>
                <a:gd name="connsiteY52" fmla="*/ 319372 h 374693"/>
                <a:gd name="connsiteX53" fmla="*/ 221632 w 275845"/>
                <a:gd name="connsiteY53" fmla="*/ 341584 h 374693"/>
                <a:gd name="connsiteX54" fmla="*/ 74466 w 275845"/>
                <a:gd name="connsiteY54" fmla="*/ 130260 h 374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275845" h="374693">
                  <a:moveTo>
                    <a:pt x="184451" y="368778"/>
                  </a:moveTo>
                  <a:lnTo>
                    <a:pt x="205846" y="352586"/>
                  </a:lnTo>
                  <a:lnTo>
                    <a:pt x="214362" y="361201"/>
                  </a:lnTo>
                  <a:lnTo>
                    <a:pt x="220178" y="366805"/>
                  </a:lnTo>
                  <a:lnTo>
                    <a:pt x="226721" y="362135"/>
                  </a:lnTo>
                  <a:lnTo>
                    <a:pt x="270030" y="330997"/>
                  </a:lnTo>
                  <a:lnTo>
                    <a:pt x="275846" y="326845"/>
                  </a:lnTo>
                  <a:lnTo>
                    <a:pt x="273457" y="320098"/>
                  </a:lnTo>
                  <a:cubicBezTo>
                    <a:pt x="244792" y="238621"/>
                    <a:pt x="180504" y="161918"/>
                    <a:pt x="113308" y="81374"/>
                  </a:cubicBezTo>
                  <a:lnTo>
                    <a:pt x="92849" y="57294"/>
                  </a:lnTo>
                  <a:lnTo>
                    <a:pt x="87344" y="50755"/>
                  </a:lnTo>
                  <a:lnTo>
                    <a:pt x="80074" y="55426"/>
                  </a:lnTo>
                  <a:lnTo>
                    <a:pt x="78412" y="56567"/>
                  </a:lnTo>
                  <a:lnTo>
                    <a:pt x="78412" y="56048"/>
                  </a:lnTo>
                  <a:lnTo>
                    <a:pt x="62211" y="25533"/>
                  </a:lnTo>
                  <a:lnTo>
                    <a:pt x="61380" y="24080"/>
                  </a:lnTo>
                  <a:lnTo>
                    <a:pt x="59926" y="23146"/>
                  </a:lnTo>
                  <a:lnTo>
                    <a:pt x="27315" y="2387"/>
                  </a:lnTo>
                  <a:lnTo>
                    <a:pt x="23576" y="0"/>
                  </a:lnTo>
                  <a:lnTo>
                    <a:pt x="20148" y="2595"/>
                  </a:lnTo>
                  <a:lnTo>
                    <a:pt x="12047" y="8719"/>
                  </a:lnTo>
                  <a:lnTo>
                    <a:pt x="3635" y="14531"/>
                  </a:lnTo>
                  <a:lnTo>
                    <a:pt x="0" y="17022"/>
                  </a:lnTo>
                  <a:lnTo>
                    <a:pt x="1038" y="21277"/>
                  </a:lnTo>
                  <a:lnTo>
                    <a:pt x="10282" y="58747"/>
                  </a:lnTo>
                  <a:lnTo>
                    <a:pt x="10282" y="60408"/>
                  </a:lnTo>
                  <a:lnTo>
                    <a:pt x="11424" y="61653"/>
                  </a:lnTo>
                  <a:lnTo>
                    <a:pt x="34896" y="86252"/>
                  </a:lnTo>
                  <a:lnTo>
                    <a:pt x="28457" y="90508"/>
                  </a:lnTo>
                  <a:lnTo>
                    <a:pt x="33131" y="98396"/>
                  </a:lnTo>
                  <a:cubicBezTo>
                    <a:pt x="42062" y="113342"/>
                    <a:pt x="49748" y="126628"/>
                    <a:pt x="57434" y="139913"/>
                  </a:cubicBezTo>
                  <a:cubicBezTo>
                    <a:pt x="97107" y="208105"/>
                    <a:pt x="136365" y="275364"/>
                    <a:pt x="187879" y="333592"/>
                  </a:cubicBezTo>
                  <a:lnTo>
                    <a:pt x="176350" y="342310"/>
                  </a:lnTo>
                  <a:cubicBezTo>
                    <a:pt x="159930" y="328755"/>
                    <a:pt x="145151" y="313321"/>
                    <a:pt x="132314" y="296330"/>
                  </a:cubicBezTo>
                  <a:cubicBezTo>
                    <a:pt x="118439" y="277678"/>
                    <a:pt x="106184" y="257885"/>
                    <a:pt x="95653" y="237168"/>
                  </a:cubicBezTo>
                  <a:lnTo>
                    <a:pt x="73012" y="249000"/>
                  </a:lnTo>
                  <a:cubicBezTo>
                    <a:pt x="84208" y="270984"/>
                    <a:pt x="97231" y="291991"/>
                    <a:pt x="111959" y="311795"/>
                  </a:cubicBezTo>
                  <a:cubicBezTo>
                    <a:pt x="128108" y="333208"/>
                    <a:pt x="147073" y="352337"/>
                    <a:pt x="168353" y="368674"/>
                  </a:cubicBezTo>
                  <a:lnTo>
                    <a:pt x="176143" y="374694"/>
                  </a:lnTo>
                  <a:close/>
                  <a:moveTo>
                    <a:pt x="22433" y="54491"/>
                  </a:moveTo>
                  <a:lnTo>
                    <a:pt x="14644" y="23353"/>
                  </a:lnTo>
                  <a:lnTo>
                    <a:pt x="19525" y="20032"/>
                  </a:lnTo>
                  <a:lnTo>
                    <a:pt x="19525" y="20032"/>
                  </a:lnTo>
                  <a:lnTo>
                    <a:pt x="24199" y="16503"/>
                  </a:lnTo>
                  <a:lnTo>
                    <a:pt x="51618" y="33837"/>
                  </a:lnTo>
                  <a:lnTo>
                    <a:pt x="64392" y="57917"/>
                  </a:lnTo>
                  <a:lnTo>
                    <a:pt x="40920" y="74005"/>
                  </a:lnTo>
                  <a:close/>
                  <a:moveTo>
                    <a:pt x="74362" y="130468"/>
                  </a:moveTo>
                  <a:lnTo>
                    <a:pt x="54733" y="96839"/>
                  </a:lnTo>
                  <a:cubicBezTo>
                    <a:pt x="60653" y="92791"/>
                    <a:pt x="65119" y="89678"/>
                    <a:pt x="69377" y="86460"/>
                  </a:cubicBezTo>
                  <a:lnTo>
                    <a:pt x="83813" y="76080"/>
                  </a:lnTo>
                  <a:lnTo>
                    <a:pt x="98457" y="93621"/>
                  </a:lnTo>
                  <a:cubicBezTo>
                    <a:pt x="162641" y="170325"/>
                    <a:pt x="224021" y="243707"/>
                    <a:pt x="252789" y="319372"/>
                  </a:cubicBezTo>
                  <a:lnTo>
                    <a:pt x="221632" y="341584"/>
                  </a:lnTo>
                  <a:cubicBezTo>
                    <a:pt x="162121" y="280761"/>
                    <a:pt x="118605" y="206030"/>
                    <a:pt x="74466" y="130260"/>
                  </a:cubicBez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4" name="Freeform 443">
              <a:extLst>
                <a:ext uri="{FF2B5EF4-FFF2-40B4-BE49-F238E27FC236}">
                  <a16:creationId xmlns:a16="http://schemas.microsoft.com/office/drawing/2014/main" id="{49EFF596-329A-0940-9FDA-FB13DAD46A6A}"/>
                </a:ext>
              </a:extLst>
            </p:cNvPr>
            <p:cNvSpPr/>
            <p:nvPr/>
          </p:nvSpPr>
          <p:spPr>
            <a:xfrm>
              <a:off x="11465607" y="4397724"/>
              <a:ext cx="281454" cy="380609"/>
            </a:xfrm>
            <a:custGeom>
              <a:avLst/>
              <a:gdLst>
                <a:gd name="connsiteX0" fmla="*/ 179362 w 281454"/>
                <a:gd name="connsiteY0" fmla="*/ 380610 h 380609"/>
                <a:gd name="connsiteX1" fmla="*/ 170119 w 281454"/>
                <a:gd name="connsiteY1" fmla="*/ 373552 h 380609"/>
                <a:gd name="connsiteX2" fmla="*/ 113309 w 281454"/>
                <a:gd name="connsiteY2" fmla="*/ 316154 h 380609"/>
                <a:gd name="connsiteX3" fmla="*/ 74050 w 281454"/>
                <a:gd name="connsiteY3" fmla="*/ 253048 h 380609"/>
                <a:gd name="connsiteX4" fmla="*/ 73012 w 281454"/>
                <a:gd name="connsiteY4" fmla="*/ 250972 h 380609"/>
                <a:gd name="connsiteX5" fmla="*/ 99911 w 281454"/>
                <a:gd name="connsiteY5" fmla="*/ 236752 h 380609"/>
                <a:gd name="connsiteX6" fmla="*/ 101054 w 281454"/>
                <a:gd name="connsiteY6" fmla="*/ 238932 h 380609"/>
                <a:gd name="connsiteX7" fmla="*/ 137507 w 281454"/>
                <a:gd name="connsiteY7" fmla="*/ 297783 h 380609"/>
                <a:gd name="connsiteX8" fmla="*/ 179673 w 281454"/>
                <a:gd name="connsiteY8" fmla="*/ 342103 h 380609"/>
                <a:gd name="connsiteX9" fmla="*/ 187567 w 281454"/>
                <a:gd name="connsiteY9" fmla="*/ 336186 h 380609"/>
                <a:gd name="connsiteX10" fmla="*/ 58576 w 281454"/>
                <a:gd name="connsiteY10" fmla="*/ 143961 h 380609"/>
                <a:gd name="connsiteX11" fmla="*/ 54525 w 281454"/>
                <a:gd name="connsiteY11" fmla="*/ 137215 h 380609"/>
                <a:gd name="connsiteX12" fmla="*/ 34273 w 281454"/>
                <a:gd name="connsiteY12" fmla="*/ 102548 h 380609"/>
                <a:gd name="connsiteX13" fmla="*/ 28457 w 281454"/>
                <a:gd name="connsiteY13" fmla="*/ 92687 h 380609"/>
                <a:gd name="connsiteX14" fmla="*/ 34377 w 281454"/>
                <a:gd name="connsiteY14" fmla="*/ 88847 h 380609"/>
                <a:gd name="connsiteX15" fmla="*/ 11321 w 281454"/>
                <a:gd name="connsiteY15" fmla="*/ 64559 h 380609"/>
                <a:gd name="connsiteX16" fmla="*/ 0 w 281454"/>
                <a:gd name="connsiteY16" fmla="*/ 18994 h 380609"/>
                <a:gd name="connsiteX17" fmla="*/ 13501 w 281454"/>
                <a:gd name="connsiteY17" fmla="*/ 9757 h 380609"/>
                <a:gd name="connsiteX18" fmla="*/ 26380 w 281454"/>
                <a:gd name="connsiteY18" fmla="*/ 0 h 380609"/>
                <a:gd name="connsiteX19" fmla="*/ 66157 w 281454"/>
                <a:gd name="connsiteY19" fmla="*/ 25118 h 380609"/>
                <a:gd name="connsiteX20" fmla="*/ 67196 w 281454"/>
                <a:gd name="connsiteY20" fmla="*/ 27194 h 380609"/>
                <a:gd name="connsiteX21" fmla="*/ 82463 w 281454"/>
                <a:gd name="connsiteY21" fmla="*/ 55944 h 380609"/>
                <a:gd name="connsiteX22" fmla="*/ 90875 w 281454"/>
                <a:gd name="connsiteY22" fmla="*/ 50339 h 380609"/>
                <a:gd name="connsiteX23" fmla="*/ 97730 w 281454"/>
                <a:gd name="connsiteY23" fmla="*/ 58643 h 380609"/>
                <a:gd name="connsiteX24" fmla="*/ 117879 w 281454"/>
                <a:gd name="connsiteY24" fmla="*/ 82723 h 380609"/>
                <a:gd name="connsiteX25" fmla="*/ 278442 w 281454"/>
                <a:gd name="connsiteY25" fmla="*/ 321967 h 380609"/>
                <a:gd name="connsiteX26" fmla="*/ 281454 w 281454"/>
                <a:gd name="connsiteY26" fmla="*/ 330478 h 380609"/>
                <a:gd name="connsiteX27" fmla="*/ 222567 w 281454"/>
                <a:gd name="connsiteY27" fmla="*/ 372825 h 380609"/>
                <a:gd name="connsiteX28" fmla="*/ 215400 w 281454"/>
                <a:gd name="connsiteY28" fmla="*/ 365664 h 380609"/>
                <a:gd name="connsiteX29" fmla="*/ 208234 w 281454"/>
                <a:gd name="connsiteY29" fmla="*/ 358502 h 380609"/>
                <a:gd name="connsiteX30" fmla="*/ 79451 w 281454"/>
                <a:gd name="connsiteY30" fmla="*/ 252944 h 380609"/>
                <a:gd name="connsiteX31" fmla="*/ 117152 w 281454"/>
                <a:gd name="connsiteY31" fmla="*/ 313248 h 380609"/>
                <a:gd name="connsiteX32" fmla="*/ 173027 w 281454"/>
                <a:gd name="connsiteY32" fmla="*/ 369712 h 380609"/>
                <a:gd name="connsiteX33" fmla="*/ 179362 w 281454"/>
                <a:gd name="connsiteY33" fmla="*/ 374486 h 380609"/>
                <a:gd name="connsiteX34" fmla="*/ 208754 w 281454"/>
                <a:gd name="connsiteY34" fmla="*/ 352171 h 380609"/>
                <a:gd name="connsiteX35" fmla="*/ 210208 w 281454"/>
                <a:gd name="connsiteY35" fmla="*/ 353623 h 380609"/>
                <a:gd name="connsiteX36" fmla="*/ 218724 w 281454"/>
                <a:gd name="connsiteY36" fmla="*/ 362239 h 380609"/>
                <a:gd name="connsiteX37" fmla="*/ 223086 w 281454"/>
                <a:gd name="connsiteY37" fmla="*/ 366494 h 380609"/>
                <a:gd name="connsiteX38" fmla="*/ 275638 w 281454"/>
                <a:gd name="connsiteY38" fmla="*/ 328610 h 380609"/>
                <a:gd name="connsiteX39" fmla="*/ 273872 w 281454"/>
                <a:gd name="connsiteY39" fmla="*/ 323524 h 380609"/>
                <a:gd name="connsiteX40" fmla="*/ 114139 w 281454"/>
                <a:gd name="connsiteY40" fmla="*/ 85733 h 380609"/>
                <a:gd name="connsiteX41" fmla="*/ 94095 w 281454"/>
                <a:gd name="connsiteY41" fmla="*/ 61653 h 380609"/>
                <a:gd name="connsiteX42" fmla="*/ 89941 w 281454"/>
                <a:gd name="connsiteY42" fmla="*/ 56775 h 380609"/>
                <a:gd name="connsiteX43" fmla="*/ 80697 w 281454"/>
                <a:gd name="connsiteY43" fmla="*/ 62899 h 380609"/>
                <a:gd name="connsiteX44" fmla="*/ 79451 w 281454"/>
                <a:gd name="connsiteY44" fmla="*/ 60511 h 380609"/>
                <a:gd name="connsiteX45" fmla="*/ 62418 w 281454"/>
                <a:gd name="connsiteY45" fmla="*/ 28543 h 380609"/>
                <a:gd name="connsiteX46" fmla="*/ 26587 w 281454"/>
                <a:gd name="connsiteY46" fmla="*/ 5916 h 380609"/>
                <a:gd name="connsiteX47" fmla="*/ 16202 w 281454"/>
                <a:gd name="connsiteY47" fmla="*/ 13597 h 380609"/>
                <a:gd name="connsiteX48" fmla="*/ 5816 w 281454"/>
                <a:gd name="connsiteY48" fmla="*/ 21070 h 380609"/>
                <a:gd name="connsiteX49" fmla="*/ 16202 w 281454"/>
                <a:gd name="connsiteY49" fmla="*/ 62587 h 380609"/>
                <a:gd name="connsiteX50" fmla="*/ 42374 w 281454"/>
                <a:gd name="connsiteY50" fmla="*/ 90092 h 380609"/>
                <a:gd name="connsiteX51" fmla="*/ 35416 w 281454"/>
                <a:gd name="connsiteY51" fmla="*/ 94659 h 380609"/>
                <a:gd name="connsiteX52" fmla="*/ 38947 w 281454"/>
                <a:gd name="connsiteY52" fmla="*/ 100576 h 380609"/>
                <a:gd name="connsiteX53" fmla="*/ 59718 w 281454"/>
                <a:gd name="connsiteY53" fmla="*/ 135139 h 380609"/>
                <a:gd name="connsiteX54" fmla="*/ 63769 w 281454"/>
                <a:gd name="connsiteY54" fmla="*/ 141989 h 380609"/>
                <a:gd name="connsiteX55" fmla="*/ 193902 w 281454"/>
                <a:gd name="connsiteY55" fmla="*/ 335356 h 380609"/>
                <a:gd name="connsiteX56" fmla="*/ 195668 w 281454"/>
                <a:gd name="connsiteY56" fmla="*/ 337224 h 380609"/>
                <a:gd name="connsiteX57" fmla="*/ 179570 w 281454"/>
                <a:gd name="connsiteY57" fmla="*/ 347915 h 380609"/>
                <a:gd name="connsiteX58" fmla="*/ 178012 w 281454"/>
                <a:gd name="connsiteY58" fmla="*/ 346670 h 380609"/>
                <a:gd name="connsiteX59" fmla="*/ 133665 w 281454"/>
                <a:gd name="connsiteY59" fmla="*/ 300274 h 380609"/>
                <a:gd name="connsiteX60" fmla="*/ 97938 w 281454"/>
                <a:gd name="connsiteY60" fmla="*/ 242876 h 380609"/>
                <a:gd name="connsiteX61" fmla="*/ 224852 w 281454"/>
                <a:gd name="connsiteY61" fmla="*/ 347708 h 380609"/>
                <a:gd name="connsiteX62" fmla="*/ 223398 w 281454"/>
                <a:gd name="connsiteY62" fmla="*/ 346254 h 380609"/>
                <a:gd name="connsiteX63" fmla="*/ 75505 w 281454"/>
                <a:gd name="connsiteY63" fmla="*/ 134412 h 380609"/>
                <a:gd name="connsiteX64" fmla="*/ 77478 w 281454"/>
                <a:gd name="connsiteY64" fmla="*/ 133063 h 380609"/>
                <a:gd name="connsiteX65" fmla="*/ 75401 w 281454"/>
                <a:gd name="connsiteY65" fmla="*/ 134309 h 380609"/>
                <a:gd name="connsiteX66" fmla="*/ 73947 w 281454"/>
                <a:gd name="connsiteY66" fmla="*/ 131817 h 380609"/>
                <a:gd name="connsiteX67" fmla="*/ 55771 w 281454"/>
                <a:gd name="connsiteY67" fmla="*/ 100679 h 380609"/>
                <a:gd name="connsiteX68" fmla="*/ 54006 w 281454"/>
                <a:gd name="connsiteY68" fmla="*/ 98811 h 380609"/>
                <a:gd name="connsiteX69" fmla="*/ 55771 w 281454"/>
                <a:gd name="connsiteY69" fmla="*/ 97566 h 380609"/>
                <a:gd name="connsiteX70" fmla="*/ 70416 w 281454"/>
                <a:gd name="connsiteY70" fmla="*/ 87186 h 380609"/>
                <a:gd name="connsiteX71" fmla="*/ 84955 w 281454"/>
                <a:gd name="connsiteY71" fmla="*/ 76807 h 380609"/>
                <a:gd name="connsiteX72" fmla="*/ 86825 w 281454"/>
                <a:gd name="connsiteY72" fmla="*/ 75562 h 380609"/>
                <a:gd name="connsiteX73" fmla="*/ 102819 w 281454"/>
                <a:gd name="connsiteY73" fmla="*/ 94763 h 380609"/>
                <a:gd name="connsiteX74" fmla="*/ 257463 w 281454"/>
                <a:gd name="connsiteY74" fmla="*/ 321240 h 380609"/>
                <a:gd name="connsiteX75" fmla="*/ 258190 w 281454"/>
                <a:gd name="connsiteY75" fmla="*/ 323005 h 380609"/>
                <a:gd name="connsiteX76" fmla="*/ 61068 w 281454"/>
                <a:gd name="connsiteY76" fmla="*/ 100160 h 380609"/>
                <a:gd name="connsiteX77" fmla="*/ 78101 w 281454"/>
                <a:gd name="connsiteY77" fmla="*/ 129326 h 380609"/>
                <a:gd name="connsiteX78" fmla="*/ 79659 w 281454"/>
                <a:gd name="connsiteY78" fmla="*/ 131921 h 380609"/>
                <a:gd name="connsiteX79" fmla="*/ 225059 w 281454"/>
                <a:gd name="connsiteY79" fmla="*/ 341376 h 380609"/>
                <a:gd name="connsiteX80" fmla="*/ 252686 w 281454"/>
                <a:gd name="connsiteY80" fmla="*/ 321551 h 380609"/>
                <a:gd name="connsiteX81" fmla="*/ 99496 w 281454"/>
                <a:gd name="connsiteY81" fmla="*/ 98188 h 380609"/>
                <a:gd name="connsiteX82" fmla="*/ 86202 w 281454"/>
                <a:gd name="connsiteY82" fmla="*/ 82308 h 380609"/>
                <a:gd name="connsiteX83" fmla="*/ 73531 w 281454"/>
                <a:gd name="connsiteY83" fmla="*/ 91130 h 380609"/>
                <a:gd name="connsiteX84" fmla="*/ 43620 w 281454"/>
                <a:gd name="connsiteY84" fmla="*/ 79921 h 380609"/>
                <a:gd name="connsiteX85" fmla="*/ 22849 w 281454"/>
                <a:gd name="connsiteY85" fmla="*/ 58228 h 380609"/>
                <a:gd name="connsiteX86" fmla="*/ 22849 w 281454"/>
                <a:gd name="connsiteY86" fmla="*/ 57605 h 380609"/>
                <a:gd name="connsiteX87" fmla="*/ 14748 w 281454"/>
                <a:gd name="connsiteY87" fmla="*/ 24495 h 380609"/>
                <a:gd name="connsiteX88" fmla="*/ 27107 w 281454"/>
                <a:gd name="connsiteY88" fmla="*/ 15569 h 380609"/>
                <a:gd name="connsiteX89" fmla="*/ 56499 w 281454"/>
                <a:gd name="connsiteY89" fmla="*/ 34148 h 380609"/>
                <a:gd name="connsiteX90" fmla="*/ 70520 w 281454"/>
                <a:gd name="connsiteY90" fmla="*/ 60615 h 380609"/>
                <a:gd name="connsiteX91" fmla="*/ 27315 w 281454"/>
                <a:gd name="connsiteY91" fmla="*/ 55841 h 380609"/>
                <a:gd name="connsiteX92" fmla="*/ 44243 w 281454"/>
                <a:gd name="connsiteY92" fmla="*/ 73589 h 380609"/>
                <a:gd name="connsiteX93" fmla="*/ 64184 w 281454"/>
                <a:gd name="connsiteY93" fmla="*/ 59162 h 380609"/>
                <a:gd name="connsiteX94" fmla="*/ 52760 w 281454"/>
                <a:gd name="connsiteY94" fmla="*/ 37573 h 380609"/>
                <a:gd name="connsiteX95" fmla="*/ 27211 w 281454"/>
                <a:gd name="connsiteY95" fmla="*/ 21485 h 380609"/>
                <a:gd name="connsiteX96" fmla="*/ 20148 w 281454"/>
                <a:gd name="connsiteY96" fmla="*/ 26571 h 38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281454" h="380609">
                  <a:moveTo>
                    <a:pt x="179362" y="380610"/>
                  </a:moveTo>
                  <a:lnTo>
                    <a:pt x="170119" y="373552"/>
                  </a:lnTo>
                  <a:cubicBezTo>
                    <a:pt x="148693" y="357059"/>
                    <a:pt x="129583" y="337754"/>
                    <a:pt x="113309" y="316154"/>
                  </a:cubicBezTo>
                  <a:cubicBezTo>
                    <a:pt x="98488" y="296247"/>
                    <a:pt x="85350" y="275146"/>
                    <a:pt x="74050" y="253048"/>
                  </a:cubicBezTo>
                  <a:lnTo>
                    <a:pt x="73012" y="250972"/>
                  </a:lnTo>
                  <a:lnTo>
                    <a:pt x="99911" y="236752"/>
                  </a:lnTo>
                  <a:lnTo>
                    <a:pt x="101054" y="238932"/>
                  </a:lnTo>
                  <a:cubicBezTo>
                    <a:pt x="111502" y="259556"/>
                    <a:pt x="123695" y="279245"/>
                    <a:pt x="137507" y="297783"/>
                  </a:cubicBezTo>
                  <a:cubicBezTo>
                    <a:pt x="149825" y="314120"/>
                    <a:pt x="163971" y="328993"/>
                    <a:pt x="179673" y="342103"/>
                  </a:cubicBezTo>
                  <a:lnTo>
                    <a:pt x="187567" y="336186"/>
                  </a:lnTo>
                  <a:cubicBezTo>
                    <a:pt x="136677" y="278166"/>
                    <a:pt x="96899" y="209974"/>
                    <a:pt x="58576" y="143961"/>
                  </a:cubicBezTo>
                  <a:lnTo>
                    <a:pt x="54525" y="137215"/>
                  </a:lnTo>
                  <a:cubicBezTo>
                    <a:pt x="48190" y="126213"/>
                    <a:pt x="41647" y="115003"/>
                    <a:pt x="34273" y="102548"/>
                  </a:cubicBezTo>
                  <a:lnTo>
                    <a:pt x="28457" y="92687"/>
                  </a:lnTo>
                  <a:lnTo>
                    <a:pt x="34377" y="88847"/>
                  </a:lnTo>
                  <a:lnTo>
                    <a:pt x="11321" y="64559"/>
                  </a:lnTo>
                  <a:lnTo>
                    <a:pt x="0" y="18994"/>
                  </a:lnTo>
                  <a:lnTo>
                    <a:pt x="13501" y="9757"/>
                  </a:lnTo>
                  <a:lnTo>
                    <a:pt x="26380" y="0"/>
                  </a:lnTo>
                  <a:lnTo>
                    <a:pt x="66157" y="25118"/>
                  </a:lnTo>
                  <a:lnTo>
                    <a:pt x="67196" y="27194"/>
                  </a:lnTo>
                  <a:lnTo>
                    <a:pt x="82463" y="55944"/>
                  </a:lnTo>
                  <a:lnTo>
                    <a:pt x="90875" y="50339"/>
                  </a:lnTo>
                  <a:lnTo>
                    <a:pt x="97730" y="58643"/>
                  </a:lnTo>
                  <a:lnTo>
                    <a:pt x="117879" y="82723"/>
                  </a:lnTo>
                  <a:cubicBezTo>
                    <a:pt x="185593" y="163682"/>
                    <a:pt x="249570" y="240178"/>
                    <a:pt x="278442" y="321967"/>
                  </a:cubicBezTo>
                  <a:lnTo>
                    <a:pt x="281454" y="330478"/>
                  </a:lnTo>
                  <a:lnTo>
                    <a:pt x="222567" y="372825"/>
                  </a:lnTo>
                  <a:lnTo>
                    <a:pt x="215400" y="365664"/>
                  </a:lnTo>
                  <a:lnTo>
                    <a:pt x="208234" y="358502"/>
                  </a:lnTo>
                  <a:close/>
                  <a:moveTo>
                    <a:pt x="79451" y="252944"/>
                  </a:moveTo>
                  <a:cubicBezTo>
                    <a:pt x="90314" y="274066"/>
                    <a:pt x="102923" y="294233"/>
                    <a:pt x="117152" y="313248"/>
                  </a:cubicBezTo>
                  <a:cubicBezTo>
                    <a:pt x="133135" y="334505"/>
                    <a:pt x="151933" y="353499"/>
                    <a:pt x="173027" y="369712"/>
                  </a:cubicBezTo>
                  <a:lnTo>
                    <a:pt x="179362" y="374486"/>
                  </a:lnTo>
                  <a:lnTo>
                    <a:pt x="208754" y="352171"/>
                  </a:lnTo>
                  <a:lnTo>
                    <a:pt x="210208" y="353623"/>
                  </a:lnTo>
                  <a:lnTo>
                    <a:pt x="218724" y="362239"/>
                  </a:lnTo>
                  <a:lnTo>
                    <a:pt x="223086" y="366494"/>
                  </a:lnTo>
                  <a:lnTo>
                    <a:pt x="275638" y="328610"/>
                  </a:lnTo>
                  <a:lnTo>
                    <a:pt x="273872" y="323524"/>
                  </a:lnTo>
                  <a:cubicBezTo>
                    <a:pt x="245311" y="242565"/>
                    <a:pt x="181647" y="166381"/>
                    <a:pt x="114139" y="85733"/>
                  </a:cubicBezTo>
                  <a:cubicBezTo>
                    <a:pt x="109050" y="79609"/>
                    <a:pt x="104273" y="74004"/>
                    <a:pt x="94095" y="61653"/>
                  </a:cubicBezTo>
                  <a:lnTo>
                    <a:pt x="89941" y="56775"/>
                  </a:lnTo>
                  <a:lnTo>
                    <a:pt x="80697" y="62899"/>
                  </a:lnTo>
                  <a:lnTo>
                    <a:pt x="79451" y="60511"/>
                  </a:lnTo>
                  <a:lnTo>
                    <a:pt x="62418" y="28543"/>
                  </a:lnTo>
                  <a:lnTo>
                    <a:pt x="26587" y="5916"/>
                  </a:lnTo>
                  <a:lnTo>
                    <a:pt x="16202" y="13597"/>
                  </a:lnTo>
                  <a:lnTo>
                    <a:pt x="5816" y="21070"/>
                  </a:lnTo>
                  <a:lnTo>
                    <a:pt x="16202" y="62587"/>
                  </a:lnTo>
                  <a:lnTo>
                    <a:pt x="42374" y="90092"/>
                  </a:lnTo>
                  <a:lnTo>
                    <a:pt x="35416" y="94659"/>
                  </a:lnTo>
                  <a:lnTo>
                    <a:pt x="38947" y="100576"/>
                  </a:lnTo>
                  <a:cubicBezTo>
                    <a:pt x="46321" y="113031"/>
                    <a:pt x="52864" y="124241"/>
                    <a:pt x="59718" y="135139"/>
                  </a:cubicBezTo>
                  <a:lnTo>
                    <a:pt x="63769" y="141989"/>
                  </a:lnTo>
                  <a:cubicBezTo>
                    <a:pt x="102507" y="208521"/>
                    <a:pt x="142493" y="276920"/>
                    <a:pt x="193902" y="335356"/>
                  </a:cubicBezTo>
                  <a:lnTo>
                    <a:pt x="195668" y="337224"/>
                  </a:lnTo>
                  <a:lnTo>
                    <a:pt x="179570" y="347915"/>
                  </a:lnTo>
                  <a:lnTo>
                    <a:pt x="178012" y="346670"/>
                  </a:lnTo>
                  <a:cubicBezTo>
                    <a:pt x="161478" y="332969"/>
                    <a:pt x="146595" y="317400"/>
                    <a:pt x="133665" y="300274"/>
                  </a:cubicBezTo>
                  <a:cubicBezTo>
                    <a:pt x="120142" y="282193"/>
                    <a:pt x="108188" y="262991"/>
                    <a:pt x="97938" y="242876"/>
                  </a:cubicBezTo>
                  <a:close/>
                  <a:moveTo>
                    <a:pt x="224852" y="347708"/>
                  </a:moveTo>
                  <a:lnTo>
                    <a:pt x="223398" y="346254"/>
                  </a:lnTo>
                  <a:cubicBezTo>
                    <a:pt x="163160" y="285016"/>
                    <a:pt x="120578" y="211842"/>
                    <a:pt x="75505" y="134412"/>
                  </a:cubicBezTo>
                  <a:lnTo>
                    <a:pt x="77478" y="133063"/>
                  </a:lnTo>
                  <a:lnTo>
                    <a:pt x="75401" y="134309"/>
                  </a:lnTo>
                  <a:lnTo>
                    <a:pt x="73947" y="131817"/>
                  </a:lnTo>
                  <a:lnTo>
                    <a:pt x="55771" y="100679"/>
                  </a:lnTo>
                  <a:lnTo>
                    <a:pt x="54006" y="98811"/>
                  </a:lnTo>
                  <a:lnTo>
                    <a:pt x="55771" y="97566"/>
                  </a:lnTo>
                  <a:cubicBezTo>
                    <a:pt x="61795" y="93518"/>
                    <a:pt x="66157" y="90404"/>
                    <a:pt x="70416" y="87186"/>
                  </a:cubicBezTo>
                  <a:lnTo>
                    <a:pt x="84955" y="76807"/>
                  </a:lnTo>
                  <a:lnTo>
                    <a:pt x="86825" y="75562"/>
                  </a:lnTo>
                  <a:lnTo>
                    <a:pt x="102819" y="94763"/>
                  </a:lnTo>
                  <a:cubicBezTo>
                    <a:pt x="167522" y="172089"/>
                    <a:pt x="228590" y="245056"/>
                    <a:pt x="257463" y="321240"/>
                  </a:cubicBezTo>
                  <a:lnTo>
                    <a:pt x="258190" y="323005"/>
                  </a:lnTo>
                  <a:close/>
                  <a:moveTo>
                    <a:pt x="61068" y="100160"/>
                  </a:moveTo>
                  <a:lnTo>
                    <a:pt x="78101" y="129326"/>
                  </a:lnTo>
                  <a:lnTo>
                    <a:pt x="79659" y="131921"/>
                  </a:lnTo>
                  <a:cubicBezTo>
                    <a:pt x="124214" y="208521"/>
                    <a:pt x="166380" y="280865"/>
                    <a:pt x="225059" y="341376"/>
                  </a:cubicBezTo>
                  <a:lnTo>
                    <a:pt x="252686" y="321551"/>
                  </a:lnTo>
                  <a:cubicBezTo>
                    <a:pt x="223813" y="246717"/>
                    <a:pt x="163368" y="174580"/>
                    <a:pt x="99496" y="98188"/>
                  </a:cubicBezTo>
                  <a:lnTo>
                    <a:pt x="86202" y="82308"/>
                  </a:lnTo>
                  <a:cubicBezTo>
                    <a:pt x="80905" y="85837"/>
                    <a:pt x="77270" y="88536"/>
                    <a:pt x="73531" y="91130"/>
                  </a:cubicBezTo>
                  <a:close/>
                  <a:moveTo>
                    <a:pt x="43620" y="79921"/>
                  </a:moveTo>
                  <a:lnTo>
                    <a:pt x="22849" y="58228"/>
                  </a:lnTo>
                  <a:lnTo>
                    <a:pt x="22849" y="57605"/>
                  </a:lnTo>
                  <a:lnTo>
                    <a:pt x="14748" y="24495"/>
                  </a:lnTo>
                  <a:lnTo>
                    <a:pt x="27107" y="15569"/>
                  </a:lnTo>
                  <a:lnTo>
                    <a:pt x="56499" y="34148"/>
                  </a:lnTo>
                  <a:lnTo>
                    <a:pt x="70520" y="60615"/>
                  </a:lnTo>
                  <a:close/>
                  <a:moveTo>
                    <a:pt x="27315" y="55841"/>
                  </a:moveTo>
                  <a:lnTo>
                    <a:pt x="44243" y="73589"/>
                  </a:lnTo>
                  <a:lnTo>
                    <a:pt x="64184" y="59162"/>
                  </a:lnTo>
                  <a:lnTo>
                    <a:pt x="52760" y="37573"/>
                  </a:lnTo>
                  <a:lnTo>
                    <a:pt x="27211" y="21485"/>
                  </a:lnTo>
                  <a:lnTo>
                    <a:pt x="20148" y="26571"/>
                  </a:ln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5" name="Freeform 444">
              <a:extLst>
                <a:ext uri="{FF2B5EF4-FFF2-40B4-BE49-F238E27FC236}">
                  <a16:creationId xmlns:a16="http://schemas.microsoft.com/office/drawing/2014/main" id="{5F5F176F-AF7B-6E49-86DB-14A14819A855}"/>
                </a:ext>
              </a:extLst>
            </p:cNvPr>
            <p:cNvSpPr/>
            <p:nvPr/>
          </p:nvSpPr>
          <p:spPr>
            <a:xfrm>
              <a:off x="11620355" y="4256669"/>
              <a:ext cx="68338" cy="68295"/>
            </a:xfrm>
            <a:custGeom>
              <a:avLst/>
              <a:gdLst>
                <a:gd name="connsiteX0" fmla="*/ 68338 w 68338"/>
                <a:gd name="connsiteY0" fmla="*/ 34148 h 68295"/>
                <a:gd name="connsiteX1" fmla="*/ 34169 w 68338"/>
                <a:gd name="connsiteY1" fmla="*/ 0 h 68295"/>
                <a:gd name="connsiteX2" fmla="*/ 34169 w 68338"/>
                <a:gd name="connsiteY2" fmla="*/ 0 h 68295"/>
                <a:gd name="connsiteX3" fmla="*/ 0 w 68338"/>
                <a:gd name="connsiteY3" fmla="*/ 34148 h 68295"/>
                <a:gd name="connsiteX4" fmla="*/ 34169 w 68338"/>
                <a:gd name="connsiteY4" fmla="*/ 68296 h 68295"/>
                <a:gd name="connsiteX5" fmla="*/ 68338 w 68338"/>
                <a:gd name="connsiteY5" fmla="*/ 34148 h 68295"/>
                <a:gd name="connsiteX6" fmla="*/ 15163 w 68338"/>
                <a:gd name="connsiteY6" fmla="*/ 34148 h 68295"/>
                <a:gd name="connsiteX7" fmla="*/ 34065 w 68338"/>
                <a:gd name="connsiteY7" fmla="*/ 15050 h 68295"/>
                <a:gd name="connsiteX8" fmla="*/ 53175 w 68338"/>
                <a:gd name="connsiteY8" fmla="*/ 33940 h 68295"/>
                <a:gd name="connsiteX9" fmla="*/ 34273 w 68338"/>
                <a:gd name="connsiteY9" fmla="*/ 53038 h 68295"/>
                <a:gd name="connsiteX10" fmla="*/ 15163 w 68338"/>
                <a:gd name="connsiteY10" fmla="*/ 34148 h 68295"/>
                <a:gd name="connsiteX11" fmla="*/ 15163 w 68338"/>
                <a:gd name="connsiteY11" fmla="*/ 34148 h 68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8338" h="68295">
                  <a:moveTo>
                    <a:pt x="68338" y="34148"/>
                  </a:moveTo>
                  <a:cubicBezTo>
                    <a:pt x="68338" y="15289"/>
                    <a:pt x="53040" y="0"/>
                    <a:pt x="34169" y="0"/>
                  </a:cubicBezTo>
                  <a:lnTo>
                    <a:pt x="34169" y="0"/>
                  </a:lnTo>
                  <a:cubicBezTo>
                    <a:pt x="15298" y="0"/>
                    <a:pt x="0" y="15289"/>
                    <a:pt x="0" y="34148"/>
                  </a:cubicBezTo>
                  <a:cubicBezTo>
                    <a:pt x="0" y="53007"/>
                    <a:pt x="15298" y="68296"/>
                    <a:pt x="34169" y="68296"/>
                  </a:cubicBezTo>
                  <a:cubicBezTo>
                    <a:pt x="53040" y="68296"/>
                    <a:pt x="68338" y="53007"/>
                    <a:pt x="68338" y="34148"/>
                  </a:cubicBezTo>
                  <a:close/>
                  <a:moveTo>
                    <a:pt x="15163" y="34148"/>
                  </a:moveTo>
                  <a:cubicBezTo>
                    <a:pt x="15101" y="23654"/>
                    <a:pt x="23565" y="15112"/>
                    <a:pt x="34065" y="15050"/>
                  </a:cubicBezTo>
                  <a:cubicBezTo>
                    <a:pt x="44565" y="14998"/>
                    <a:pt x="53113" y="23447"/>
                    <a:pt x="53175" y="33940"/>
                  </a:cubicBezTo>
                  <a:cubicBezTo>
                    <a:pt x="53227" y="44434"/>
                    <a:pt x="44773" y="52976"/>
                    <a:pt x="34273" y="53038"/>
                  </a:cubicBezTo>
                  <a:cubicBezTo>
                    <a:pt x="23773" y="53101"/>
                    <a:pt x="15226" y="44641"/>
                    <a:pt x="15163" y="34148"/>
                  </a:cubicBezTo>
                  <a:cubicBezTo>
                    <a:pt x="15163" y="34148"/>
                    <a:pt x="15163" y="34148"/>
                    <a:pt x="15163" y="34148"/>
                  </a:cubicBez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6" name="Freeform 445">
              <a:extLst>
                <a:ext uri="{FF2B5EF4-FFF2-40B4-BE49-F238E27FC236}">
                  <a16:creationId xmlns:a16="http://schemas.microsoft.com/office/drawing/2014/main" id="{5C8DF13A-B83A-EC42-BB08-2FF023F2FB2B}"/>
                </a:ext>
              </a:extLst>
            </p:cNvPr>
            <p:cNvSpPr/>
            <p:nvPr/>
          </p:nvSpPr>
          <p:spPr>
            <a:xfrm>
              <a:off x="11617863" y="4254074"/>
              <a:ext cx="73323" cy="73278"/>
            </a:xfrm>
            <a:custGeom>
              <a:avLst/>
              <a:gdLst>
                <a:gd name="connsiteX0" fmla="*/ 36765 w 73323"/>
                <a:gd name="connsiteY0" fmla="*/ 73278 h 73278"/>
                <a:gd name="connsiteX1" fmla="*/ 0 w 73323"/>
                <a:gd name="connsiteY1" fmla="*/ 36743 h 73278"/>
                <a:gd name="connsiteX2" fmla="*/ 36558 w 73323"/>
                <a:gd name="connsiteY2" fmla="*/ 0 h 73278"/>
                <a:gd name="connsiteX3" fmla="*/ 73324 w 73323"/>
                <a:gd name="connsiteY3" fmla="*/ 36535 h 73278"/>
                <a:gd name="connsiteX4" fmla="*/ 73324 w 73323"/>
                <a:gd name="connsiteY4" fmla="*/ 36743 h 73278"/>
                <a:gd name="connsiteX5" fmla="*/ 36765 w 73323"/>
                <a:gd name="connsiteY5" fmla="*/ 73278 h 73278"/>
                <a:gd name="connsiteX6" fmla="*/ 36765 w 73323"/>
                <a:gd name="connsiteY6" fmla="*/ 4982 h 73278"/>
                <a:gd name="connsiteX7" fmla="*/ 4985 w 73323"/>
                <a:gd name="connsiteY7" fmla="*/ 36743 h 73278"/>
                <a:gd name="connsiteX8" fmla="*/ 36765 w 73323"/>
                <a:gd name="connsiteY8" fmla="*/ 68503 h 73278"/>
                <a:gd name="connsiteX9" fmla="*/ 68546 w 73323"/>
                <a:gd name="connsiteY9" fmla="*/ 36743 h 73278"/>
                <a:gd name="connsiteX10" fmla="*/ 36765 w 73323"/>
                <a:gd name="connsiteY10" fmla="*/ 4982 h 73278"/>
                <a:gd name="connsiteX11" fmla="*/ 36765 w 73323"/>
                <a:gd name="connsiteY11" fmla="*/ 58124 h 73278"/>
                <a:gd name="connsiteX12" fmla="*/ 15371 w 73323"/>
                <a:gd name="connsiteY12" fmla="*/ 36743 h 73278"/>
                <a:gd name="connsiteX13" fmla="*/ 36765 w 73323"/>
                <a:gd name="connsiteY13" fmla="*/ 15361 h 73278"/>
                <a:gd name="connsiteX14" fmla="*/ 58160 w 73323"/>
                <a:gd name="connsiteY14" fmla="*/ 36743 h 73278"/>
                <a:gd name="connsiteX15" fmla="*/ 36765 w 73323"/>
                <a:gd name="connsiteY15" fmla="*/ 58124 h 73278"/>
                <a:gd name="connsiteX16" fmla="*/ 36765 w 73323"/>
                <a:gd name="connsiteY16" fmla="*/ 20136 h 73278"/>
                <a:gd name="connsiteX17" fmla="*/ 18891 w 73323"/>
                <a:gd name="connsiteY17" fmla="*/ 35383 h 73278"/>
                <a:gd name="connsiteX18" fmla="*/ 34138 w 73323"/>
                <a:gd name="connsiteY18" fmla="*/ 53246 h 73278"/>
                <a:gd name="connsiteX19" fmla="*/ 36765 w 73323"/>
                <a:gd name="connsiteY19" fmla="*/ 53246 h 73278"/>
                <a:gd name="connsiteX20" fmla="*/ 52022 w 73323"/>
                <a:gd name="connsiteY20" fmla="*/ 35383 h 73278"/>
                <a:gd name="connsiteX21" fmla="*/ 36765 w 73323"/>
                <a:gd name="connsiteY21" fmla="*/ 20136 h 73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73323" h="73278">
                  <a:moveTo>
                    <a:pt x="36765" y="73278"/>
                  </a:moveTo>
                  <a:cubicBezTo>
                    <a:pt x="16513" y="73340"/>
                    <a:pt x="62" y="56983"/>
                    <a:pt x="0" y="36743"/>
                  </a:cubicBezTo>
                  <a:cubicBezTo>
                    <a:pt x="-52" y="16503"/>
                    <a:pt x="16306" y="62"/>
                    <a:pt x="36558" y="0"/>
                  </a:cubicBezTo>
                  <a:cubicBezTo>
                    <a:pt x="56810" y="-52"/>
                    <a:pt x="73272" y="16295"/>
                    <a:pt x="73324" y="36535"/>
                  </a:cubicBezTo>
                  <a:cubicBezTo>
                    <a:pt x="73324" y="36608"/>
                    <a:pt x="73324" y="36670"/>
                    <a:pt x="73324" y="36743"/>
                  </a:cubicBezTo>
                  <a:cubicBezTo>
                    <a:pt x="73272" y="56900"/>
                    <a:pt x="56935" y="73216"/>
                    <a:pt x="36765" y="73278"/>
                  </a:cubicBezTo>
                  <a:close/>
                  <a:moveTo>
                    <a:pt x="36765" y="4982"/>
                  </a:moveTo>
                  <a:cubicBezTo>
                    <a:pt x="19214" y="4982"/>
                    <a:pt x="4985" y="19202"/>
                    <a:pt x="4985" y="36743"/>
                  </a:cubicBezTo>
                  <a:cubicBezTo>
                    <a:pt x="4985" y="54284"/>
                    <a:pt x="19214" y="68503"/>
                    <a:pt x="36765" y="68503"/>
                  </a:cubicBezTo>
                  <a:cubicBezTo>
                    <a:pt x="54317" y="68503"/>
                    <a:pt x="68546" y="54284"/>
                    <a:pt x="68546" y="36743"/>
                  </a:cubicBezTo>
                  <a:cubicBezTo>
                    <a:pt x="68546" y="19202"/>
                    <a:pt x="54317" y="4982"/>
                    <a:pt x="36765" y="4982"/>
                  </a:cubicBezTo>
                  <a:close/>
                  <a:moveTo>
                    <a:pt x="36765" y="58124"/>
                  </a:moveTo>
                  <a:cubicBezTo>
                    <a:pt x="24946" y="58124"/>
                    <a:pt x="15371" y="48554"/>
                    <a:pt x="15371" y="36743"/>
                  </a:cubicBezTo>
                  <a:cubicBezTo>
                    <a:pt x="15371" y="24931"/>
                    <a:pt x="24946" y="15361"/>
                    <a:pt x="36765" y="15361"/>
                  </a:cubicBezTo>
                  <a:cubicBezTo>
                    <a:pt x="48584" y="15361"/>
                    <a:pt x="58160" y="24931"/>
                    <a:pt x="58160" y="36743"/>
                  </a:cubicBezTo>
                  <a:cubicBezTo>
                    <a:pt x="58160" y="48554"/>
                    <a:pt x="48584" y="58124"/>
                    <a:pt x="36765" y="58124"/>
                  </a:cubicBezTo>
                  <a:close/>
                  <a:moveTo>
                    <a:pt x="36765" y="20136"/>
                  </a:moveTo>
                  <a:cubicBezTo>
                    <a:pt x="27616" y="19409"/>
                    <a:pt x="19608" y="26239"/>
                    <a:pt x="18891" y="35383"/>
                  </a:cubicBezTo>
                  <a:cubicBezTo>
                    <a:pt x="18164" y="44517"/>
                    <a:pt x="24988" y="52520"/>
                    <a:pt x="34138" y="53246"/>
                  </a:cubicBezTo>
                  <a:cubicBezTo>
                    <a:pt x="35010" y="53319"/>
                    <a:pt x="35893" y="53319"/>
                    <a:pt x="36765" y="53246"/>
                  </a:cubicBezTo>
                  <a:cubicBezTo>
                    <a:pt x="45915" y="52520"/>
                    <a:pt x="52739" y="44527"/>
                    <a:pt x="52022" y="35383"/>
                  </a:cubicBezTo>
                  <a:cubicBezTo>
                    <a:pt x="51378" y="27246"/>
                    <a:pt x="44908" y="20779"/>
                    <a:pt x="36765" y="20136"/>
                  </a:cubicBez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7" name="Freeform 446">
              <a:extLst>
                <a:ext uri="{FF2B5EF4-FFF2-40B4-BE49-F238E27FC236}">
                  <a16:creationId xmlns:a16="http://schemas.microsoft.com/office/drawing/2014/main" id="{2C6F3485-E3E7-6647-85EB-B92050C83342}"/>
                </a:ext>
              </a:extLst>
            </p:cNvPr>
            <p:cNvSpPr/>
            <p:nvPr/>
          </p:nvSpPr>
          <p:spPr>
            <a:xfrm>
              <a:off x="11145934" y="4260405"/>
              <a:ext cx="15163" cy="60719"/>
            </a:xfrm>
            <a:custGeom>
              <a:avLst/>
              <a:gdLst>
                <a:gd name="connsiteX0" fmla="*/ 0 w 15163"/>
                <a:gd name="connsiteY0" fmla="*/ 0 h 60719"/>
                <a:gd name="connsiteX1" fmla="*/ 15164 w 15163"/>
                <a:gd name="connsiteY1" fmla="*/ 0 h 60719"/>
                <a:gd name="connsiteX2" fmla="*/ 15164 w 15163"/>
                <a:gd name="connsiteY2" fmla="*/ 60719 h 60719"/>
                <a:gd name="connsiteX3" fmla="*/ 0 w 15163"/>
                <a:gd name="connsiteY3" fmla="*/ 60719 h 60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163" h="60719">
                  <a:moveTo>
                    <a:pt x="0" y="0"/>
                  </a:moveTo>
                  <a:lnTo>
                    <a:pt x="15164" y="0"/>
                  </a:lnTo>
                  <a:lnTo>
                    <a:pt x="15164" y="60719"/>
                  </a:lnTo>
                  <a:lnTo>
                    <a:pt x="0" y="60719"/>
                  </a:ln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8" name="Freeform 447">
              <a:extLst>
                <a:ext uri="{FF2B5EF4-FFF2-40B4-BE49-F238E27FC236}">
                  <a16:creationId xmlns:a16="http://schemas.microsoft.com/office/drawing/2014/main" id="{53C7ADB6-CAD7-2A4F-96A9-33E4F550321C}"/>
                </a:ext>
              </a:extLst>
            </p:cNvPr>
            <p:cNvSpPr/>
            <p:nvPr/>
          </p:nvSpPr>
          <p:spPr>
            <a:xfrm>
              <a:off x="11143545" y="4257811"/>
              <a:ext cx="19941" cy="65701"/>
            </a:xfrm>
            <a:custGeom>
              <a:avLst/>
              <a:gdLst>
                <a:gd name="connsiteX0" fmla="*/ 19941 w 19941"/>
                <a:gd name="connsiteY0" fmla="*/ 65701 h 65701"/>
                <a:gd name="connsiteX1" fmla="*/ 0 w 19941"/>
                <a:gd name="connsiteY1" fmla="*/ 65701 h 65701"/>
                <a:gd name="connsiteX2" fmla="*/ 0 w 19941"/>
                <a:gd name="connsiteY2" fmla="*/ 0 h 65701"/>
                <a:gd name="connsiteX3" fmla="*/ 19941 w 19941"/>
                <a:gd name="connsiteY3" fmla="*/ 0 h 65701"/>
                <a:gd name="connsiteX4" fmla="*/ 4778 w 19941"/>
                <a:gd name="connsiteY4" fmla="*/ 60927 h 65701"/>
                <a:gd name="connsiteX5" fmla="*/ 15163 w 19941"/>
                <a:gd name="connsiteY5" fmla="*/ 60927 h 65701"/>
                <a:gd name="connsiteX6" fmla="*/ 15163 w 19941"/>
                <a:gd name="connsiteY6" fmla="*/ 5086 h 65701"/>
                <a:gd name="connsiteX7" fmla="*/ 4778 w 19941"/>
                <a:gd name="connsiteY7" fmla="*/ 5086 h 65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941" h="65701">
                  <a:moveTo>
                    <a:pt x="19941" y="65701"/>
                  </a:moveTo>
                  <a:lnTo>
                    <a:pt x="0" y="65701"/>
                  </a:lnTo>
                  <a:lnTo>
                    <a:pt x="0" y="0"/>
                  </a:lnTo>
                  <a:lnTo>
                    <a:pt x="19941" y="0"/>
                  </a:lnTo>
                  <a:close/>
                  <a:moveTo>
                    <a:pt x="4778" y="60927"/>
                  </a:moveTo>
                  <a:lnTo>
                    <a:pt x="15163" y="60927"/>
                  </a:lnTo>
                  <a:lnTo>
                    <a:pt x="15163" y="5086"/>
                  </a:lnTo>
                  <a:lnTo>
                    <a:pt x="4778" y="5086"/>
                  </a:ln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9" name="Freeform 448">
              <a:extLst>
                <a:ext uri="{FF2B5EF4-FFF2-40B4-BE49-F238E27FC236}">
                  <a16:creationId xmlns:a16="http://schemas.microsoft.com/office/drawing/2014/main" id="{FCA4C5CC-874E-4943-8FA1-C228127168EA}"/>
                </a:ext>
              </a:extLst>
            </p:cNvPr>
            <p:cNvSpPr/>
            <p:nvPr/>
          </p:nvSpPr>
          <p:spPr>
            <a:xfrm>
              <a:off x="11100548" y="4059358"/>
              <a:ext cx="622106" cy="462918"/>
            </a:xfrm>
            <a:custGeom>
              <a:avLst/>
              <a:gdLst>
                <a:gd name="connsiteX0" fmla="*/ 580771 w 622106"/>
                <a:gd name="connsiteY0" fmla="*/ 0 h 462918"/>
                <a:gd name="connsiteX1" fmla="*/ 41543 w 622106"/>
                <a:gd name="connsiteY1" fmla="*/ 0 h 462918"/>
                <a:gd name="connsiteX2" fmla="*/ 0 w 622106"/>
                <a:gd name="connsiteY2" fmla="*/ 41517 h 462918"/>
                <a:gd name="connsiteX3" fmla="*/ 0 w 622106"/>
                <a:gd name="connsiteY3" fmla="*/ 420986 h 462918"/>
                <a:gd name="connsiteX4" fmla="*/ 41543 w 622106"/>
                <a:gd name="connsiteY4" fmla="*/ 462503 h 462918"/>
                <a:gd name="connsiteX5" fmla="*/ 364124 w 622106"/>
                <a:gd name="connsiteY5" fmla="*/ 462503 h 462918"/>
                <a:gd name="connsiteX6" fmla="*/ 364124 w 622106"/>
                <a:gd name="connsiteY6" fmla="*/ 439668 h 462918"/>
                <a:gd name="connsiteX7" fmla="*/ 94718 w 622106"/>
                <a:gd name="connsiteY7" fmla="*/ 439668 h 462918"/>
                <a:gd name="connsiteX8" fmla="*/ 94718 w 622106"/>
                <a:gd name="connsiteY8" fmla="*/ 22731 h 462918"/>
                <a:gd name="connsiteX9" fmla="*/ 489377 w 622106"/>
                <a:gd name="connsiteY9" fmla="*/ 22731 h 462918"/>
                <a:gd name="connsiteX10" fmla="*/ 489377 w 622106"/>
                <a:gd name="connsiteY10" fmla="*/ 396905 h 462918"/>
                <a:gd name="connsiteX11" fmla="*/ 504539 w 622106"/>
                <a:gd name="connsiteY11" fmla="*/ 396905 h 462918"/>
                <a:gd name="connsiteX12" fmla="*/ 504539 w 622106"/>
                <a:gd name="connsiteY12" fmla="*/ 22731 h 462918"/>
                <a:gd name="connsiteX13" fmla="*/ 580563 w 622106"/>
                <a:gd name="connsiteY13" fmla="*/ 22731 h 462918"/>
                <a:gd name="connsiteX14" fmla="*/ 599465 w 622106"/>
                <a:gd name="connsiteY14" fmla="*/ 41725 h 462918"/>
                <a:gd name="connsiteX15" fmla="*/ 599465 w 622106"/>
                <a:gd name="connsiteY15" fmla="*/ 421193 h 462918"/>
                <a:gd name="connsiteX16" fmla="*/ 580563 w 622106"/>
                <a:gd name="connsiteY16" fmla="*/ 440083 h 462918"/>
                <a:gd name="connsiteX17" fmla="*/ 541721 w 622106"/>
                <a:gd name="connsiteY17" fmla="*/ 440083 h 462918"/>
                <a:gd name="connsiteX18" fmla="*/ 541721 w 622106"/>
                <a:gd name="connsiteY18" fmla="*/ 462918 h 462918"/>
                <a:gd name="connsiteX19" fmla="*/ 580563 w 622106"/>
                <a:gd name="connsiteY19" fmla="*/ 462918 h 462918"/>
                <a:gd name="connsiteX20" fmla="*/ 622106 w 622106"/>
                <a:gd name="connsiteY20" fmla="*/ 421401 h 462918"/>
                <a:gd name="connsiteX21" fmla="*/ 622106 w 622106"/>
                <a:gd name="connsiteY21" fmla="*/ 41725 h 462918"/>
                <a:gd name="connsiteX22" fmla="*/ 580771 w 622106"/>
                <a:gd name="connsiteY22" fmla="*/ 0 h 462918"/>
                <a:gd name="connsiteX23" fmla="*/ 580771 w 622106"/>
                <a:gd name="connsiteY23" fmla="*/ 0 h 462918"/>
                <a:gd name="connsiteX24" fmla="*/ 79555 w 622106"/>
                <a:gd name="connsiteY24" fmla="*/ 440083 h 462918"/>
                <a:gd name="connsiteX25" fmla="*/ 41543 w 622106"/>
                <a:gd name="connsiteY25" fmla="*/ 440083 h 462918"/>
                <a:gd name="connsiteX26" fmla="*/ 22641 w 622106"/>
                <a:gd name="connsiteY26" fmla="*/ 421193 h 462918"/>
                <a:gd name="connsiteX27" fmla="*/ 22641 w 622106"/>
                <a:gd name="connsiteY27" fmla="*/ 41725 h 462918"/>
                <a:gd name="connsiteX28" fmla="*/ 41543 w 622106"/>
                <a:gd name="connsiteY28" fmla="*/ 22731 h 462918"/>
                <a:gd name="connsiteX29" fmla="*/ 79555 w 622106"/>
                <a:gd name="connsiteY29" fmla="*/ 22731 h 462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622106" h="462918">
                  <a:moveTo>
                    <a:pt x="580771" y="0"/>
                  </a:moveTo>
                  <a:lnTo>
                    <a:pt x="41543" y="0"/>
                  </a:lnTo>
                  <a:cubicBezTo>
                    <a:pt x="18600" y="0"/>
                    <a:pt x="0" y="18589"/>
                    <a:pt x="0" y="41517"/>
                  </a:cubicBezTo>
                  <a:lnTo>
                    <a:pt x="0" y="420986"/>
                  </a:lnTo>
                  <a:cubicBezTo>
                    <a:pt x="0" y="443913"/>
                    <a:pt x="18600" y="462503"/>
                    <a:pt x="41543" y="462503"/>
                  </a:cubicBezTo>
                  <a:lnTo>
                    <a:pt x="364124" y="462503"/>
                  </a:lnTo>
                  <a:lnTo>
                    <a:pt x="364124" y="439668"/>
                  </a:lnTo>
                  <a:lnTo>
                    <a:pt x="94718" y="439668"/>
                  </a:lnTo>
                  <a:lnTo>
                    <a:pt x="94718" y="22731"/>
                  </a:lnTo>
                  <a:lnTo>
                    <a:pt x="489377" y="22731"/>
                  </a:lnTo>
                  <a:lnTo>
                    <a:pt x="489377" y="396905"/>
                  </a:lnTo>
                  <a:lnTo>
                    <a:pt x="504539" y="396905"/>
                  </a:lnTo>
                  <a:lnTo>
                    <a:pt x="504539" y="22731"/>
                  </a:lnTo>
                  <a:lnTo>
                    <a:pt x="580563" y="22731"/>
                  </a:lnTo>
                  <a:cubicBezTo>
                    <a:pt x="591022" y="22793"/>
                    <a:pt x="599465" y="31273"/>
                    <a:pt x="599465" y="41725"/>
                  </a:cubicBezTo>
                  <a:lnTo>
                    <a:pt x="599465" y="421193"/>
                  </a:lnTo>
                  <a:cubicBezTo>
                    <a:pt x="599413" y="431604"/>
                    <a:pt x="590980" y="440032"/>
                    <a:pt x="580563" y="440083"/>
                  </a:cubicBezTo>
                  <a:lnTo>
                    <a:pt x="541721" y="440083"/>
                  </a:lnTo>
                  <a:lnTo>
                    <a:pt x="541721" y="462918"/>
                  </a:lnTo>
                  <a:lnTo>
                    <a:pt x="580563" y="462918"/>
                  </a:lnTo>
                  <a:cubicBezTo>
                    <a:pt x="603505" y="462918"/>
                    <a:pt x="622106" y="444329"/>
                    <a:pt x="622106" y="421401"/>
                  </a:cubicBezTo>
                  <a:lnTo>
                    <a:pt x="622106" y="41725"/>
                  </a:lnTo>
                  <a:cubicBezTo>
                    <a:pt x="622220" y="18797"/>
                    <a:pt x="603713" y="114"/>
                    <a:pt x="580771" y="0"/>
                  </a:cubicBezTo>
                  <a:cubicBezTo>
                    <a:pt x="580771" y="0"/>
                    <a:pt x="580771" y="0"/>
                    <a:pt x="580771" y="0"/>
                  </a:cubicBezTo>
                  <a:close/>
                  <a:moveTo>
                    <a:pt x="79555" y="440083"/>
                  </a:moveTo>
                  <a:lnTo>
                    <a:pt x="41543" y="440083"/>
                  </a:lnTo>
                  <a:cubicBezTo>
                    <a:pt x="31126" y="440032"/>
                    <a:pt x="22703" y="431604"/>
                    <a:pt x="22641" y="421193"/>
                  </a:cubicBezTo>
                  <a:lnTo>
                    <a:pt x="22641" y="41725"/>
                  </a:lnTo>
                  <a:cubicBezTo>
                    <a:pt x="22641" y="31273"/>
                    <a:pt x="31084" y="22793"/>
                    <a:pt x="41543" y="22731"/>
                  </a:cubicBezTo>
                  <a:lnTo>
                    <a:pt x="79555" y="22731"/>
                  </a:ln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0" name="Freeform 449">
              <a:extLst>
                <a:ext uri="{FF2B5EF4-FFF2-40B4-BE49-F238E27FC236}">
                  <a16:creationId xmlns:a16="http://schemas.microsoft.com/office/drawing/2014/main" id="{CD041628-A76E-E449-A905-8C9CC100324D}"/>
                </a:ext>
              </a:extLst>
            </p:cNvPr>
            <p:cNvSpPr/>
            <p:nvPr/>
          </p:nvSpPr>
          <p:spPr>
            <a:xfrm>
              <a:off x="11097952" y="4056867"/>
              <a:ext cx="627506" cy="467796"/>
            </a:xfrm>
            <a:custGeom>
              <a:avLst/>
              <a:gdLst>
                <a:gd name="connsiteX0" fmla="*/ 583368 w 627506"/>
                <a:gd name="connsiteY0" fmla="*/ 467796 h 467796"/>
                <a:gd name="connsiteX1" fmla="*/ 541824 w 627506"/>
                <a:gd name="connsiteY1" fmla="*/ 467796 h 467796"/>
                <a:gd name="connsiteX2" fmla="*/ 541824 w 627506"/>
                <a:gd name="connsiteY2" fmla="*/ 440187 h 467796"/>
                <a:gd name="connsiteX3" fmla="*/ 583368 w 627506"/>
                <a:gd name="connsiteY3" fmla="*/ 440187 h 467796"/>
                <a:gd name="connsiteX4" fmla="*/ 599880 w 627506"/>
                <a:gd name="connsiteY4" fmla="*/ 423684 h 467796"/>
                <a:gd name="connsiteX5" fmla="*/ 599880 w 627506"/>
                <a:gd name="connsiteY5" fmla="*/ 44216 h 467796"/>
                <a:gd name="connsiteX6" fmla="*/ 583368 w 627506"/>
                <a:gd name="connsiteY6" fmla="*/ 27609 h 467796"/>
                <a:gd name="connsiteX7" fmla="*/ 509836 w 627506"/>
                <a:gd name="connsiteY7" fmla="*/ 27609 h 467796"/>
                <a:gd name="connsiteX8" fmla="*/ 509836 w 627506"/>
                <a:gd name="connsiteY8" fmla="*/ 401887 h 467796"/>
                <a:gd name="connsiteX9" fmla="*/ 489792 w 627506"/>
                <a:gd name="connsiteY9" fmla="*/ 401887 h 467796"/>
                <a:gd name="connsiteX10" fmla="*/ 489792 w 627506"/>
                <a:gd name="connsiteY10" fmla="*/ 27609 h 467796"/>
                <a:gd name="connsiteX11" fmla="*/ 99703 w 627506"/>
                <a:gd name="connsiteY11" fmla="*/ 27609 h 467796"/>
                <a:gd name="connsiteX12" fmla="*/ 99703 w 627506"/>
                <a:gd name="connsiteY12" fmla="*/ 440187 h 467796"/>
                <a:gd name="connsiteX13" fmla="*/ 369109 w 627506"/>
                <a:gd name="connsiteY13" fmla="*/ 440187 h 467796"/>
                <a:gd name="connsiteX14" fmla="*/ 369109 w 627506"/>
                <a:gd name="connsiteY14" fmla="*/ 467796 h 467796"/>
                <a:gd name="connsiteX15" fmla="*/ 44139 w 627506"/>
                <a:gd name="connsiteY15" fmla="*/ 467796 h 467796"/>
                <a:gd name="connsiteX16" fmla="*/ 0 w 627506"/>
                <a:gd name="connsiteY16" fmla="*/ 423684 h 467796"/>
                <a:gd name="connsiteX17" fmla="*/ 0 w 627506"/>
                <a:gd name="connsiteY17" fmla="*/ 44216 h 467796"/>
                <a:gd name="connsiteX18" fmla="*/ 44139 w 627506"/>
                <a:gd name="connsiteY18" fmla="*/ 0 h 467796"/>
                <a:gd name="connsiteX19" fmla="*/ 583368 w 627506"/>
                <a:gd name="connsiteY19" fmla="*/ 0 h 467796"/>
                <a:gd name="connsiteX20" fmla="*/ 627507 w 627506"/>
                <a:gd name="connsiteY20" fmla="*/ 44216 h 467796"/>
                <a:gd name="connsiteX21" fmla="*/ 627507 w 627506"/>
                <a:gd name="connsiteY21" fmla="*/ 423684 h 467796"/>
                <a:gd name="connsiteX22" fmla="*/ 583368 w 627506"/>
                <a:gd name="connsiteY22" fmla="*/ 467796 h 467796"/>
                <a:gd name="connsiteX23" fmla="*/ 546913 w 627506"/>
                <a:gd name="connsiteY23" fmla="*/ 463022 h 467796"/>
                <a:gd name="connsiteX24" fmla="*/ 583368 w 627506"/>
                <a:gd name="connsiteY24" fmla="*/ 463022 h 467796"/>
                <a:gd name="connsiteX25" fmla="*/ 622625 w 627506"/>
                <a:gd name="connsiteY25" fmla="*/ 423684 h 467796"/>
                <a:gd name="connsiteX26" fmla="*/ 622625 w 627506"/>
                <a:gd name="connsiteY26" fmla="*/ 44216 h 467796"/>
                <a:gd name="connsiteX27" fmla="*/ 583368 w 627506"/>
                <a:gd name="connsiteY27" fmla="*/ 4878 h 467796"/>
                <a:gd name="connsiteX28" fmla="*/ 44139 w 627506"/>
                <a:gd name="connsiteY28" fmla="*/ 4878 h 467796"/>
                <a:gd name="connsiteX29" fmla="*/ 4881 w 627506"/>
                <a:gd name="connsiteY29" fmla="*/ 44216 h 467796"/>
                <a:gd name="connsiteX30" fmla="*/ 4881 w 627506"/>
                <a:gd name="connsiteY30" fmla="*/ 423684 h 467796"/>
                <a:gd name="connsiteX31" fmla="*/ 44139 w 627506"/>
                <a:gd name="connsiteY31" fmla="*/ 463022 h 467796"/>
                <a:gd name="connsiteX32" fmla="*/ 364332 w 627506"/>
                <a:gd name="connsiteY32" fmla="*/ 463022 h 467796"/>
                <a:gd name="connsiteX33" fmla="*/ 364332 w 627506"/>
                <a:gd name="connsiteY33" fmla="*/ 445065 h 467796"/>
                <a:gd name="connsiteX34" fmla="*/ 94925 w 627506"/>
                <a:gd name="connsiteY34" fmla="*/ 445065 h 467796"/>
                <a:gd name="connsiteX35" fmla="*/ 94925 w 627506"/>
                <a:gd name="connsiteY35" fmla="*/ 22834 h 467796"/>
                <a:gd name="connsiteX36" fmla="*/ 494362 w 627506"/>
                <a:gd name="connsiteY36" fmla="*/ 22834 h 467796"/>
                <a:gd name="connsiteX37" fmla="*/ 494362 w 627506"/>
                <a:gd name="connsiteY37" fmla="*/ 397009 h 467796"/>
                <a:gd name="connsiteX38" fmla="*/ 504747 w 627506"/>
                <a:gd name="connsiteY38" fmla="*/ 397009 h 467796"/>
                <a:gd name="connsiteX39" fmla="*/ 504747 w 627506"/>
                <a:gd name="connsiteY39" fmla="*/ 22834 h 467796"/>
                <a:gd name="connsiteX40" fmla="*/ 583160 w 627506"/>
                <a:gd name="connsiteY40" fmla="*/ 22834 h 467796"/>
                <a:gd name="connsiteX41" fmla="*/ 604554 w 627506"/>
                <a:gd name="connsiteY41" fmla="*/ 44216 h 467796"/>
                <a:gd name="connsiteX42" fmla="*/ 604554 w 627506"/>
                <a:gd name="connsiteY42" fmla="*/ 423684 h 467796"/>
                <a:gd name="connsiteX43" fmla="*/ 583160 w 627506"/>
                <a:gd name="connsiteY43" fmla="*/ 445065 h 467796"/>
                <a:gd name="connsiteX44" fmla="*/ 546705 w 627506"/>
                <a:gd name="connsiteY44" fmla="*/ 445065 h 467796"/>
                <a:gd name="connsiteX45" fmla="*/ 84540 w 627506"/>
                <a:gd name="connsiteY45" fmla="*/ 445065 h 467796"/>
                <a:gd name="connsiteX46" fmla="*/ 44139 w 627506"/>
                <a:gd name="connsiteY46" fmla="*/ 445065 h 467796"/>
                <a:gd name="connsiteX47" fmla="*/ 22745 w 627506"/>
                <a:gd name="connsiteY47" fmla="*/ 423684 h 467796"/>
                <a:gd name="connsiteX48" fmla="*/ 22745 w 627506"/>
                <a:gd name="connsiteY48" fmla="*/ 44216 h 467796"/>
                <a:gd name="connsiteX49" fmla="*/ 44139 w 627506"/>
                <a:gd name="connsiteY49" fmla="*/ 22834 h 467796"/>
                <a:gd name="connsiteX50" fmla="*/ 84540 w 627506"/>
                <a:gd name="connsiteY50" fmla="*/ 22834 h 467796"/>
                <a:gd name="connsiteX51" fmla="*/ 44139 w 627506"/>
                <a:gd name="connsiteY51" fmla="*/ 27609 h 467796"/>
                <a:gd name="connsiteX52" fmla="*/ 27626 w 627506"/>
                <a:gd name="connsiteY52" fmla="*/ 44216 h 467796"/>
                <a:gd name="connsiteX53" fmla="*/ 27626 w 627506"/>
                <a:gd name="connsiteY53" fmla="*/ 423684 h 467796"/>
                <a:gd name="connsiteX54" fmla="*/ 44139 w 627506"/>
                <a:gd name="connsiteY54" fmla="*/ 440187 h 467796"/>
                <a:gd name="connsiteX55" fmla="*/ 79762 w 627506"/>
                <a:gd name="connsiteY55" fmla="*/ 440187 h 467796"/>
                <a:gd name="connsiteX56" fmla="*/ 79762 w 627506"/>
                <a:gd name="connsiteY56" fmla="*/ 27609 h 467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627506" h="467796">
                  <a:moveTo>
                    <a:pt x="583368" y="467796"/>
                  </a:moveTo>
                  <a:lnTo>
                    <a:pt x="541824" y="467796"/>
                  </a:lnTo>
                  <a:lnTo>
                    <a:pt x="541824" y="440187"/>
                  </a:lnTo>
                  <a:lnTo>
                    <a:pt x="583368" y="440187"/>
                  </a:lnTo>
                  <a:cubicBezTo>
                    <a:pt x="592486" y="440187"/>
                    <a:pt x="599880" y="432797"/>
                    <a:pt x="599880" y="423684"/>
                  </a:cubicBezTo>
                  <a:lnTo>
                    <a:pt x="599880" y="44216"/>
                  </a:lnTo>
                  <a:cubicBezTo>
                    <a:pt x="599880" y="35082"/>
                    <a:pt x="592507" y="27661"/>
                    <a:pt x="583368" y="27609"/>
                  </a:cubicBezTo>
                  <a:lnTo>
                    <a:pt x="509836" y="27609"/>
                  </a:lnTo>
                  <a:lnTo>
                    <a:pt x="509836" y="401887"/>
                  </a:lnTo>
                  <a:lnTo>
                    <a:pt x="489792" y="401887"/>
                  </a:lnTo>
                  <a:lnTo>
                    <a:pt x="489792" y="27609"/>
                  </a:lnTo>
                  <a:lnTo>
                    <a:pt x="99703" y="27609"/>
                  </a:lnTo>
                  <a:lnTo>
                    <a:pt x="99703" y="440187"/>
                  </a:lnTo>
                  <a:lnTo>
                    <a:pt x="369109" y="440187"/>
                  </a:lnTo>
                  <a:lnTo>
                    <a:pt x="369109" y="467796"/>
                  </a:lnTo>
                  <a:lnTo>
                    <a:pt x="44139" y="467796"/>
                  </a:lnTo>
                  <a:cubicBezTo>
                    <a:pt x="19785" y="467734"/>
                    <a:pt x="62" y="448023"/>
                    <a:pt x="0" y="423684"/>
                  </a:cubicBezTo>
                  <a:lnTo>
                    <a:pt x="0" y="44216"/>
                  </a:lnTo>
                  <a:cubicBezTo>
                    <a:pt x="0" y="19835"/>
                    <a:pt x="19743" y="62"/>
                    <a:pt x="44139" y="0"/>
                  </a:cubicBezTo>
                  <a:lnTo>
                    <a:pt x="583368" y="0"/>
                  </a:lnTo>
                  <a:cubicBezTo>
                    <a:pt x="607764" y="62"/>
                    <a:pt x="627507" y="19835"/>
                    <a:pt x="627507" y="44216"/>
                  </a:cubicBezTo>
                  <a:lnTo>
                    <a:pt x="627507" y="423684"/>
                  </a:lnTo>
                  <a:cubicBezTo>
                    <a:pt x="627455" y="448023"/>
                    <a:pt x="607722" y="467734"/>
                    <a:pt x="583368" y="467796"/>
                  </a:cubicBezTo>
                  <a:close/>
                  <a:moveTo>
                    <a:pt x="546913" y="463022"/>
                  </a:moveTo>
                  <a:lnTo>
                    <a:pt x="583368" y="463022"/>
                  </a:lnTo>
                  <a:cubicBezTo>
                    <a:pt x="605063" y="462959"/>
                    <a:pt x="622625" y="445367"/>
                    <a:pt x="622625" y="423684"/>
                  </a:cubicBezTo>
                  <a:lnTo>
                    <a:pt x="622625" y="44216"/>
                  </a:lnTo>
                  <a:cubicBezTo>
                    <a:pt x="622625" y="22533"/>
                    <a:pt x="605063" y="4940"/>
                    <a:pt x="583368" y="4878"/>
                  </a:cubicBezTo>
                  <a:lnTo>
                    <a:pt x="44139" y="4878"/>
                  </a:lnTo>
                  <a:cubicBezTo>
                    <a:pt x="22443" y="4940"/>
                    <a:pt x="4881" y="22533"/>
                    <a:pt x="4881" y="44216"/>
                  </a:cubicBezTo>
                  <a:lnTo>
                    <a:pt x="4881" y="423684"/>
                  </a:lnTo>
                  <a:cubicBezTo>
                    <a:pt x="4881" y="445367"/>
                    <a:pt x="22443" y="462959"/>
                    <a:pt x="44139" y="463022"/>
                  </a:cubicBezTo>
                  <a:lnTo>
                    <a:pt x="364332" y="463022"/>
                  </a:lnTo>
                  <a:lnTo>
                    <a:pt x="364332" y="445065"/>
                  </a:lnTo>
                  <a:lnTo>
                    <a:pt x="94925" y="445065"/>
                  </a:lnTo>
                  <a:lnTo>
                    <a:pt x="94925" y="22834"/>
                  </a:lnTo>
                  <a:lnTo>
                    <a:pt x="494362" y="22834"/>
                  </a:lnTo>
                  <a:lnTo>
                    <a:pt x="494362" y="397009"/>
                  </a:lnTo>
                  <a:lnTo>
                    <a:pt x="504747" y="397009"/>
                  </a:lnTo>
                  <a:lnTo>
                    <a:pt x="504747" y="22834"/>
                  </a:lnTo>
                  <a:lnTo>
                    <a:pt x="583160" y="22834"/>
                  </a:lnTo>
                  <a:cubicBezTo>
                    <a:pt x="594979" y="22834"/>
                    <a:pt x="604554" y="32404"/>
                    <a:pt x="604554" y="44216"/>
                  </a:cubicBezTo>
                  <a:lnTo>
                    <a:pt x="604554" y="423684"/>
                  </a:lnTo>
                  <a:cubicBezTo>
                    <a:pt x="604492" y="435465"/>
                    <a:pt x="594948" y="445014"/>
                    <a:pt x="583160" y="445065"/>
                  </a:cubicBezTo>
                  <a:lnTo>
                    <a:pt x="546705" y="445065"/>
                  </a:lnTo>
                  <a:close/>
                  <a:moveTo>
                    <a:pt x="84540" y="445065"/>
                  </a:moveTo>
                  <a:lnTo>
                    <a:pt x="44139" y="445065"/>
                  </a:lnTo>
                  <a:cubicBezTo>
                    <a:pt x="32352" y="445014"/>
                    <a:pt x="22807" y="435465"/>
                    <a:pt x="22745" y="423684"/>
                  </a:cubicBezTo>
                  <a:lnTo>
                    <a:pt x="22745" y="44216"/>
                  </a:lnTo>
                  <a:cubicBezTo>
                    <a:pt x="22745" y="32404"/>
                    <a:pt x="32320" y="22834"/>
                    <a:pt x="44139" y="22834"/>
                  </a:cubicBezTo>
                  <a:lnTo>
                    <a:pt x="84540" y="22834"/>
                  </a:lnTo>
                  <a:close/>
                  <a:moveTo>
                    <a:pt x="44139" y="27609"/>
                  </a:moveTo>
                  <a:cubicBezTo>
                    <a:pt x="35000" y="27661"/>
                    <a:pt x="27626" y="35082"/>
                    <a:pt x="27626" y="44216"/>
                  </a:cubicBezTo>
                  <a:lnTo>
                    <a:pt x="27626" y="423684"/>
                  </a:lnTo>
                  <a:cubicBezTo>
                    <a:pt x="27626" y="432797"/>
                    <a:pt x="35020" y="440187"/>
                    <a:pt x="44139" y="440187"/>
                  </a:cubicBezTo>
                  <a:lnTo>
                    <a:pt x="79762" y="440187"/>
                  </a:lnTo>
                  <a:lnTo>
                    <a:pt x="79762" y="27609"/>
                  </a:ln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1" name="Freeform 450">
              <a:extLst>
                <a:ext uri="{FF2B5EF4-FFF2-40B4-BE49-F238E27FC236}">
                  <a16:creationId xmlns:a16="http://schemas.microsoft.com/office/drawing/2014/main" id="{D6B92F64-1FAA-674A-B956-C855C3F45D35}"/>
                </a:ext>
              </a:extLst>
            </p:cNvPr>
            <p:cNvSpPr/>
            <p:nvPr/>
          </p:nvSpPr>
          <p:spPr>
            <a:xfrm>
              <a:off x="5298444" y="5500735"/>
              <a:ext cx="67922" cy="51585"/>
            </a:xfrm>
            <a:custGeom>
              <a:avLst/>
              <a:gdLst>
                <a:gd name="connsiteX0" fmla="*/ 0 w 67922"/>
                <a:gd name="connsiteY0" fmla="*/ 0 h 51585"/>
                <a:gd name="connsiteX1" fmla="*/ 67923 w 67922"/>
                <a:gd name="connsiteY1" fmla="*/ 0 h 51585"/>
                <a:gd name="connsiteX2" fmla="*/ 67923 w 67922"/>
                <a:gd name="connsiteY2" fmla="*/ 51585 h 51585"/>
                <a:gd name="connsiteX3" fmla="*/ 0 w 67922"/>
                <a:gd name="connsiteY3" fmla="*/ 51585 h 51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922" h="51585">
                  <a:moveTo>
                    <a:pt x="0" y="0"/>
                  </a:moveTo>
                  <a:lnTo>
                    <a:pt x="67923" y="0"/>
                  </a:lnTo>
                  <a:lnTo>
                    <a:pt x="67923" y="51585"/>
                  </a:lnTo>
                  <a:lnTo>
                    <a:pt x="0" y="51585"/>
                  </a:lnTo>
                  <a:close/>
                </a:path>
              </a:pathLst>
            </a:custGeom>
            <a:noFill/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2" name="Freeform 451">
              <a:extLst>
                <a:ext uri="{FF2B5EF4-FFF2-40B4-BE49-F238E27FC236}">
                  <a16:creationId xmlns:a16="http://schemas.microsoft.com/office/drawing/2014/main" id="{EF21137D-B5E3-D14B-835A-6D1BBCABD436}"/>
                </a:ext>
              </a:extLst>
            </p:cNvPr>
            <p:cNvSpPr/>
            <p:nvPr/>
          </p:nvSpPr>
          <p:spPr>
            <a:xfrm>
              <a:off x="5200299" y="5337365"/>
              <a:ext cx="67922" cy="51585"/>
            </a:xfrm>
            <a:custGeom>
              <a:avLst/>
              <a:gdLst>
                <a:gd name="connsiteX0" fmla="*/ 0 w 67922"/>
                <a:gd name="connsiteY0" fmla="*/ 0 h 51585"/>
                <a:gd name="connsiteX1" fmla="*/ 67923 w 67922"/>
                <a:gd name="connsiteY1" fmla="*/ 0 h 51585"/>
                <a:gd name="connsiteX2" fmla="*/ 67923 w 67922"/>
                <a:gd name="connsiteY2" fmla="*/ 51585 h 51585"/>
                <a:gd name="connsiteX3" fmla="*/ 0 w 67922"/>
                <a:gd name="connsiteY3" fmla="*/ 51585 h 51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922" h="51585">
                  <a:moveTo>
                    <a:pt x="0" y="0"/>
                  </a:moveTo>
                  <a:lnTo>
                    <a:pt x="67923" y="0"/>
                  </a:lnTo>
                  <a:lnTo>
                    <a:pt x="67923" y="51585"/>
                  </a:lnTo>
                  <a:lnTo>
                    <a:pt x="0" y="51585"/>
                  </a:lnTo>
                  <a:close/>
                </a:path>
              </a:pathLst>
            </a:custGeom>
            <a:noFill/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3" name="Freeform 452">
              <a:extLst>
                <a:ext uri="{FF2B5EF4-FFF2-40B4-BE49-F238E27FC236}">
                  <a16:creationId xmlns:a16="http://schemas.microsoft.com/office/drawing/2014/main" id="{D024B3D1-A175-F94A-AE74-B2DAD9D75E00}"/>
                </a:ext>
              </a:extLst>
            </p:cNvPr>
            <p:cNvSpPr/>
            <p:nvPr/>
          </p:nvSpPr>
          <p:spPr>
            <a:xfrm>
              <a:off x="5298444" y="5419050"/>
              <a:ext cx="67922" cy="51585"/>
            </a:xfrm>
            <a:custGeom>
              <a:avLst/>
              <a:gdLst>
                <a:gd name="connsiteX0" fmla="*/ 0 w 67922"/>
                <a:gd name="connsiteY0" fmla="*/ 0 h 51585"/>
                <a:gd name="connsiteX1" fmla="*/ 67923 w 67922"/>
                <a:gd name="connsiteY1" fmla="*/ 0 h 51585"/>
                <a:gd name="connsiteX2" fmla="*/ 67923 w 67922"/>
                <a:gd name="connsiteY2" fmla="*/ 51585 h 51585"/>
                <a:gd name="connsiteX3" fmla="*/ 0 w 67922"/>
                <a:gd name="connsiteY3" fmla="*/ 51585 h 51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922" h="51585">
                  <a:moveTo>
                    <a:pt x="0" y="0"/>
                  </a:moveTo>
                  <a:lnTo>
                    <a:pt x="67923" y="0"/>
                  </a:lnTo>
                  <a:lnTo>
                    <a:pt x="67923" y="51585"/>
                  </a:lnTo>
                  <a:lnTo>
                    <a:pt x="0" y="51585"/>
                  </a:lnTo>
                  <a:close/>
                </a:path>
              </a:pathLst>
            </a:custGeom>
            <a:noFill/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4" name="Freeform 453">
              <a:extLst>
                <a:ext uri="{FF2B5EF4-FFF2-40B4-BE49-F238E27FC236}">
                  <a16:creationId xmlns:a16="http://schemas.microsoft.com/office/drawing/2014/main" id="{D490FBF7-7728-3A45-A6D7-58E7BB57A1F5}"/>
                </a:ext>
              </a:extLst>
            </p:cNvPr>
            <p:cNvSpPr/>
            <p:nvPr/>
          </p:nvSpPr>
          <p:spPr>
            <a:xfrm>
              <a:off x="4938682" y="5157595"/>
              <a:ext cx="427685" cy="67880"/>
            </a:xfrm>
            <a:custGeom>
              <a:avLst/>
              <a:gdLst>
                <a:gd name="connsiteX0" fmla="*/ 0 w 427685"/>
                <a:gd name="connsiteY0" fmla="*/ 0 h 67880"/>
                <a:gd name="connsiteX1" fmla="*/ 427685 w 427685"/>
                <a:gd name="connsiteY1" fmla="*/ 0 h 67880"/>
                <a:gd name="connsiteX2" fmla="*/ 427685 w 427685"/>
                <a:gd name="connsiteY2" fmla="*/ 67881 h 67880"/>
                <a:gd name="connsiteX3" fmla="*/ 0 w 427685"/>
                <a:gd name="connsiteY3" fmla="*/ 67881 h 67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685" h="67880">
                  <a:moveTo>
                    <a:pt x="0" y="0"/>
                  </a:moveTo>
                  <a:lnTo>
                    <a:pt x="427685" y="0"/>
                  </a:lnTo>
                  <a:lnTo>
                    <a:pt x="427685" y="67881"/>
                  </a:lnTo>
                  <a:lnTo>
                    <a:pt x="0" y="67881"/>
                  </a:lnTo>
                  <a:close/>
                </a:path>
              </a:pathLst>
            </a:custGeom>
            <a:noFill/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5" name="Freeform 454">
              <a:extLst>
                <a:ext uri="{FF2B5EF4-FFF2-40B4-BE49-F238E27FC236}">
                  <a16:creationId xmlns:a16="http://schemas.microsoft.com/office/drawing/2014/main" id="{19851EC3-C252-8248-A5B9-9C7E9D16D246}"/>
                </a:ext>
              </a:extLst>
            </p:cNvPr>
            <p:cNvSpPr/>
            <p:nvPr/>
          </p:nvSpPr>
          <p:spPr>
            <a:xfrm>
              <a:off x="5298444" y="5255679"/>
              <a:ext cx="67922" cy="51585"/>
            </a:xfrm>
            <a:custGeom>
              <a:avLst/>
              <a:gdLst>
                <a:gd name="connsiteX0" fmla="*/ 0 w 67922"/>
                <a:gd name="connsiteY0" fmla="*/ 0 h 51585"/>
                <a:gd name="connsiteX1" fmla="*/ 67923 w 67922"/>
                <a:gd name="connsiteY1" fmla="*/ 0 h 51585"/>
                <a:gd name="connsiteX2" fmla="*/ 67923 w 67922"/>
                <a:gd name="connsiteY2" fmla="*/ 51585 h 51585"/>
                <a:gd name="connsiteX3" fmla="*/ 0 w 67922"/>
                <a:gd name="connsiteY3" fmla="*/ 51585 h 51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922" h="51585">
                  <a:moveTo>
                    <a:pt x="0" y="0"/>
                  </a:moveTo>
                  <a:lnTo>
                    <a:pt x="67923" y="0"/>
                  </a:lnTo>
                  <a:lnTo>
                    <a:pt x="67923" y="51585"/>
                  </a:lnTo>
                  <a:lnTo>
                    <a:pt x="0" y="51585"/>
                  </a:lnTo>
                  <a:close/>
                </a:path>
              </a:pathLst>
            </a:custGeom>
            <a:noFill/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6" name="Freeform 455">
              <a:extLst>
                <a:ext uri="{FF2B5EF4-FFF2-40B4-BE49-F238E27FC236}">
                  <a16:creationId xmlns:a16="http://schemas.microsoft.com/office/drawing/2014/main" id="{39D48C3A-55A7-1248-900D-DBE8E01C8533}"/>
                </a:ext>
              </a:extLst>
            </p:cNvPr>
            <p:cNvSpPr/>
            <p:nvPr/>
          </p:nvSpPr>
          <p:spPr>
            <a:xfrm>
              <a:off x="5298444" y="5337365"/>
              <a:ext cx="67922" cy="51585"/>
            </a:xfrm>
            <a:custGeom>
              <a:avLst/>
              <a:gdLst>
                <a:gd name="connsiteX0" fmla="*/ 0 w 67922"/>
                <a:gd name="connsiteY0" fmla="*/ 0 h 51585"/>
                <a:gd name="connsiteX1" fmla="*/ 67923 w 67922"/>
                <a:gd name="connsiteY1" fmla="*/ 0 h 51585"/>
                <a:gd name="connsiteX2" fmla="*/ 67923 w 67922"/>
                <a:gd name="connsiteY2" fmla="*/ 51585 h 51585"/>
                <a:gd name="connsiteX3" fmla="*/ 0 w 67922"/>
                <a:gd name="connsiteY3" fmla="*/ 51585 h 51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922" h="51585">
                  <a:moveTo>
                    <a:pt x="0" y="0"/>
                  </a:moveTo>
                  <a:lnTo>
                    <a:pt x="67923" y="0"/>
                  </a:lnTo>
                  <a:lnTo>
                    <a:pt x="67923" y="51585"/>
                  </a:lnTo>
                  <a:lnTo>
                    <a:pt x="0" y="51585"/>
                  </a:lnTo>
                  <a:close/>
                </a:path>
              </a:pathLst>
            </a:custGeom>
            <a:noFill/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7" name="Freeform 456">
              <a:extLst>
                <a:ext uri="{FF2B5EF4-FFF2-40B4-BE49-F238E27FC236}">
                  <a16:creationId xmlns:a16="http://schemas.microsoft.com/office/drawing/2014/main" id="{54248954-C8CF-1349-BA88-75FEE069A688}"/>
                </a:ext>
              </a:extLst>
            </p:cNvPr>
            <p:cNvSpPr/>
            <p:nvPr/>
          </p:nvSpPr>
          <p:spPr>
            <a:xfrm>
              <a:off x="5200299" y="5255679"/>
              <a:ext cx="67922" cy="51585"/>
            </a:xfrm>
            <a:custGeom>
              <a:avLst/>
              <a:gdLst>
                <a:gd name="connsiteX0" fmla="*/ 0 w 67922"/>
                <a:gd name="connsiteY0" fmla="*/ 0 h 51585"/>
                <a:gd name="connsiteX1" fmla="*/ 67923 w 67922"/>
                <a:gd name="connsiteY1" fmla="*/ 0 h 51585"/>
                <a:gd name="connsiteX2" fmla="*/ 67923 w 67922"/>
                <a:gd name="connsiteY2" fmla="*/ 51585 h 51585"/>
                <a:gd name="connsiteX3" fmla="*/ 0 w 67922"/>
                <a:gd name="connsiteY3" fmla="*/ 51585 h 51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922" h="51585">
                  <a:moveTo>
                    <a:pt x="0" y="0"/>
                  </a:moveTo>
                  <a:lnTo>
                    <a:pt x="67923" y="0"/>
                  </a:lnTo>
                  <a:lnTo>
                    <a:pt x="67923" y="51585"/>
                  </a:lnTo>
                  <a:lnTo>
                    <a:pt x="0" y="51585"/>
                  </a:lnTo>
                  <a:close/>
                </a:path>
              </a:pathLst>
            </a:custGeom>
            <a:noFill/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8" name="Freeform 457">
              <a:extLst>
                <a:ext uri="{FF2B5EF4-FFF2-40B4-BE49-F238E27FC236}">
                  <a16:creationId xmlns:a16="http://schemas.microsoft.com/office/drawing/2014/main" id="{EDC79434-170F-9F4F-9424-176559749F20}"/>
                </a:ext>
              </a:extLst>
            </p:cNvPr>
            <p:cNvSpPr/>
            <p:nvPr/>
          </p:nvSpPr>
          <p:spPr>
            <a:xfrm>
              <a:off x="5102257" y="5419050"/>
              <a:ext cx="67922" cy="51585"/>
            </a:xfrm>
            <a:custGeom>
              <a:avLst/>
              <a:gdLst>
                <a:gd name="connsiteX0" fmla="*/ 0 w 67922"/>
                <a:gd name="connsiteY0" fmla="*/ 0 h 51585"/>
                <a:gd name="connsiteX1" fmla="*/ 67923 w 67922"/>
                <a:gd name="connsiteY1" fmla="*/ 0 h 51585"/>
                <a:gd name="connsiteX2" fmla="*/ 67923 w 67922"/>
                <a:gd name="connsiteY2" fmla="*/ 51585 h 51585"/>
                <a:gd name="connsiteX3" fmla="*/ 0 w 67922"/>
                <a:gd name="connsiteY3" fmla="*/ 51585 h 51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922" h="51585">
                  <a:moveTo>
                    <a:pt x="0" y="0"/>
                  </a:moveTo>
                  <a:lnTo>
                    <a:pt x="67923" y="0"/>
                  </a:lnTo>
                  <a:lnTo>
                    <a:pt x="67923" y="51585"/>
                  </a:lnTo>
                  <a:lnTo>
                    <a:pt x="0" y="51585"/>
                  </a:lnTo>
                  <a:close/>
                </a:path>
              </a:pathLst>
            </a:custGeom>
            <a:noFill/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9" name="Freeform 458">
              <a:extLst>
                <a:ext uri="{FF2B5EF4-FFF2-40B4-BE49-F238E27FC236}">
                  <a16:creationId xmlns:a16="http://schemas.microsoft.com/office/drawing/2014/main" id="{AE83288B-D0D6-ED43-AE39-51B36C895F19}"/>
                </a:ext>
              </a:extLst>
            </p:cNvPr>
            <p:cNvSpPr/>
            <p:nvPr/>
          </p:nvSpPr>
          <p:spPr>
            <a:xfrm>
              <a:off x="5200299" y="5500735"/>
              <a:ext cx="68026" cy="51377"/>
            </a:xfrm>
            <a:custGeom>
              <a:avLst/>
              <a:gdLst>
                <a:gd name="connsiteX0" fmla="*/ 68027 w 68026"/>
                <a:gd name="connsiteY0" fmla="*/ 0 h 51377"/>
                <a:gd name="connsiteX1" fmla="*/ 0 w 68026"/>
                <a:gd name="connsiteY1" fmla="*/ 0 h 51377"/>
                <a:gd name="connsiteX2" fmla="*/ 0 w 68026"/>
                <a:gd name="connsiteY2" fmla="*/ 44112 h 51377"/>
                <a:gd name="connsiteX3" fmla="*/ 39570 w 68026"/>
                <a:gd name="connsiteY3" fmla="*/ 51378 h 51377"/>
                <a:gd name="connsiteX4" fmla="*/ 68027 w 68026"/>
                <a:gd name="connsiteY4" fmla="*/ 51378 h 51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026" h="51377">
                  <a:moveTo>
                    <a:pt x="68027" y="0"/>
                  </a:moveTo>
                  <a:lnTo>
                    <a:pt x="0" y="0"/>
                  </a:lnTo>
                  <a:lnTo>
                    <a:pt x="0" y="44112"/>
                  </a:lnTo>
                  <a:cubicBezTo>
                    <a:pt x="13315" y="45825"/>
                    <a:pt x="26515" y="48253"/>
                    <a:pt x="39570" y="51378"/>
                  </a:cubicBezTo>
                  <a:lnTo>
                    <a:pt x="68027" y="51378"/>
                  </a:lnTo>
                  <a:close/>
                </a:path>
              </a:pathLst>
            </a:custGeom>
            <a:noFill/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0" name="Freeform 459">
              <a:extLst>
                <a:ext uri="{FF2B5EF4-FFF2-40B4-BE49-F238E27FC236}">
                  <a16:creationId xmlns:a16="http://schemas.microsoft.com/office/drawing/2014/main" id="{1BB0BEC0-CCB9-8C48-A25E-9AA95498FD41}"/>
                </a:ext>
              </a:extLst>
            </p:cNvPr>
            <p:cNvSpPr/>
            <p:nvPr/>
          </p:nvSpPr>
          <p:spPr>
            <a:xfrm>
              <a:off x="5102258" y="5500735"/>
              <a:ext cx="67922" cy="51896"/>
            </a:xfrm>
            <a:custGeom>
              <a:avLst/>
              <a:gdLst>
                <a:gd name="connsiteX0" fmla="*/ 0 w 67922"/>
                <a:gd name="connsiteY0" fmla="*/ 0 h 51896"/>
                <a:gd name="connsiteX1" fmla="*/ 0 w 67922"/>
                <a:gd name="connsiteY1" fmla="*/ 51897 h 51896"/>
                <a:gd name="connsiteX2" fmla="*/ 22226 w 67922"/>
                <a:gd name="connsiteY2" fmla="*/ 51897 h 51896"/>
                <a:gd name="connsiteX3" fmla="*/ 67923 w 67922"/>
                <a:gd name="connsiteY3" fmla="*/ 42348 h 51896"/>
                <a:gd name="connsiteX4" fmla="*/ 67923 w 67922"/>
                <a:gd name="connsiteY4" fmla="*/ 311 h 51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922" h="51896">
                  <a:moveTo>
                    <a:pt x="0" y="0"/>
                  </a:moveTo>
                  <a:lnTo>
                    <a:pt x="0" y="51897"/>
                  </a:lnTo>
                  <a:lnTo>
                    <a:pt x="22226" y="51897"/>
                  </a:lnTo>
                  <a:cubicBezTo>
                    <a:pt x="36236" y="44413"/>
                    <a:pt x="52095" y="41102"/>
                    <a:pt x="67923" y="42348"/>
                  </a:cubicBezTo>
                  <a:lnTo>
                    <a:pt x="67923" y="311"/>
                  </a:lnTo>
                  <a:close/>
                </a:path>
              </a:pathLst>
            </a:custGeom>
            <a:noFill/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1" name="Freeform 460">
              <a:extLst>
                <a:ext uri="{FF2B5EF4-FFF2-40B4-BE49-F238E27FC236}">
                  <a16:creationId xmlns:a16="http://schemas.microsoft.com/office/drawing/2014/main" id="{029FF26F-73BA-3B44-944B-1F353D632D6E}"/>
                </a:ext>
              </a:extLst>
            </p:cNvPr>
            <p:cNvSpPr/>
            <p:nvPr/>
          </p:nvSpPr>
          <p:spPr>
            <a:xfrm>
              <a:off x="5102257" y="5337365"/>
              <a:ext cx="67922" cy="51585"/>
            </a:xfrm>
            <a:custGeom>
              <a:avLst/>
              <a:gdLst>
                <a:gd name="connsiteX0" fmla="*/ 0 w 67922"/>
                <a:gd name="connsiteY0" fmla="*/ 0 h 51585"/>
                <a:gd name="connsiteX1" fmla="*/ 67923 w 67922"/>
                <a:gd name="connsiteY1" fmla="*/ 0 h 51585"/>
                <a:gd name="connsiteX2" fmla="*/ 67923 w 67922"/>
                <a:gd name="connsiteY2" fmla="*/ 51585 h 51585"/>
                <a:gd name="connsiteX3" fmla="*/ 0 w 67922"/>
                <a:gd name="connsiteY3" fmla="*/ 51585 h 51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922" h="51585">
                  <a:moveTo>
                    <a:pt x="0" y="0"/>
                  </a:moveTo>
                  <a:lnTo>
                    <a:pt x="67923" y="0"/>
                  </a:lnTo>
                  <a:lnTo>
                    <a:pt x="67923" y="51585"/>
                  </a:lnTo>
                  <a:lnTo>
                    <a:pt x="0" y="51585"/>
                  </a:lnTo>
                  <a:close/>
                </a:path>
              </a:pathLst>
            </a:custGeom>
            <a:noFill/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2" name="Freeform 461">
              <a:extLst>
                <a:ext uri="{FF2B5EF4-FFF2-40B4-BE49-F238E27FC236}">
                  <a16:creationId xmlns:a16="http://schemas.microsoft.com/office/drawing/2014/main" id="{1D2E0753-EA85-0C4B-B79E-C0E131DC150B}"/>
                </a:ext>
              </a:extLst>
            </p:cNvPr>
            <p:cNvSpPr/>
            <p:nvPr/>
          </p:nvSpPr>
          <p:spPr>
            <a:xfrm>
              <a:off x="5102257" y="5255679"/>
              <a:ext cx="67922" cy="51585"/>
            </a:xfrm>
            <a:custGeom>
              <a:avLst/>
              <a:gdLst>
                <a:gd name="connsiteX0" fmla="*/ 0 w 67922"/>
                <a:gd name="connsiteY0" fmla="*/ 0 h 51585"/>
                <a:gd name="connsiteX1" fmla="*/ 67923 w 67922"/>
                <a:gd name="connsiteY1" fmla="*/ 0 h 51585"/>
                <a:gd name="connsiteX2" fmla="*/ 67923 w 67922"/>
                <a:gd name="connsiteY2" fmla="*/ 51585 h 51585"/>
                <a:gd name="connsiteX3" fmla="*/ 0 w 67922"/>
                <a:gd name="connsiteY3" fmla="*/ 51585 h 51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922" h="51585">
                  <a:moveTo>
                    <a:pt x="0" y="0"/>
                  </a:moveTo>
                  <a:lnTo>
                    <a:pt x="67923" y="0"/>
                  </a:lnTo>
                  <a:lnTo>
                    <a:pt x="67923" y="51585"/>
                  </a:lnTo>
                  <a:lnTo>
                    <a:pt x="0" y="51585"/>
                  </a:lnTo>
                  <a:close/>
                </a:path>
              </a:pathLst>
            </a:custGeom>
            <a:noFill/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3" name="Freeform 462">
              <a:extLst>
                <a:ext uri="{FF2B5EF4-FFF2-40B4-BE49-F238E27FC236}">
                  <a16:creationId xmlns:a16="http://schemas.microsoft.com/office/drawing/2014/main" id="{FCFE16A0-0041-2541-AB3C-346A31CC8623}"/>
                </a:ext>
              </a:extLst>
            </p:cNvPr>
            <p:cNvSpPr/>
            <p:nvPr/>
          </p:nvSpPr>
          <p:spPr>
            <a:xfrm>
              <a:off x="5200299" y="5419050"/>
              <a:ext cx="67922" cy="51585"/>
            </a:xfrm>
            <a:custGeom>
              <a:avLst/>
              <a:gdLst>
                <a:gd name="connsiteX0" fmla="*/ 0 w 67922"/>
                <a:gd name="connsiteY0" fmla="*/ 0 h 51585"/>
                <a:gd name="connsiteX1" fmla="*/ 67923 w 67922"/>
                <a:gd name="connsiteY1" fmla="*/ 0 h 51585"/>
                <a:gd name="connsiteX2" fmla="*/ 67923 w 67922"/>
                <a:gd name="connsiteY2" fmla="*/ 51585 h 51585"/>
                <a:gd name="connsiteX3" fmla="*/ 0 w 67922"/>
                <a:gd name="connsiteY3" fmla="*/ 51585 h 51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922" h="51585">
                  <a:moveTo>
                    <a:pt x="0" y="0"/>
                  </a:moveTo>
                  <a:lnTo>
                    <a:pt x="67923" y="0"/>
                  </a:lnTo>
                  <a:lnTo>
                    <a:pt x="67923" y="51585"/>
                  </a:lnTo>
                  <a:lnTo>
                    <a:pt x="0" y="51585"/>
                  </a:lnTo>
                  <a:close/>
                </a:path>
              </a:pathLst>
            </a:custGeom>
            <a:noFill/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4" name="Freeform 463">
              <a:extLst>
                <a:ext uri="{FF2B5EF4-FFF2-40B4-BE49-F238E27FC236}">
                  <a16:creationId xmlns:a16="http://schemas.microsoft.com/office/drawing/2014/main" id="{581498EA-157F-AB42-8A96-2045CBE75DAF}"/>
                </a:ext>
              </a:extLst>
            </p:cNvPr>
            <p:cNvSpPr/>
            <p:nvPr/>
          </p:nvSpPr>
          <p:spPr>
            <a:xfrm>
              <a:off x="4938682" y="5255679"/>
              <a:ext cx="133353" cy="296641"/>
            </a:xfrm>
            <a:custGeom>
              <a:avLst/>
              <a:gdLst>
                <a:gd name="connsiteX0" fmla="*/ 0 w 133353"/>
                <a:gd name="connsiteY0" fmla="*/ 296641 h 296641"/>
                <a:gd name="connsiteX1" fmla="*/ 133353 w 133353"/>
                <a:gd name="connsiteY1" fmla="*/ 296641 h 296641"/>
                <a:gd name="connsiteX2" fmla="*/ 133353 w 133353"/>
                <a:gd name="connsiteY2" fmla="*/ 0 h 296641"/>
                <a:gd name="connsiteX3" fmla="*/ 0 w 133353"/>
                <a:gd name="connsiteY3" fmla="*/ 0 h 296641"/>
                <a:gd name="connsiteX4" fmla="*/ 33961 w 133353"/>
                <a:gd name="connsiteY4" fmla="*/ 51585 h 296641"/>
                <a:gd name="connsiteX5" fmla="*/ 99392 w 133353"/>
                <a:gd name="connsiteY5" fmla="*/ 51585 h 296641"/>
                <a:gd name="connsiteX6" fmla="*/ 114451 w 133353"/>
                <a:gd name="connsiteY6" fmla="*/ 66635 h 296641"/>
                <a:gd name="connsiteX7" fmla="*/ 99392 w 133353"/>
                <a:gd name="connsiteY7" fmla="*/ 81685 h 296641"/>
                <a:gd name="connsiteX8" fmla="*/ 33961 w 133353"/>
                <a:gd name="connsiteY8" fmla="*/ 81685 h 296641"/>
                <a:gd name="connsiteX9" fmla="*/ 18902 w 133353"/>
                <a:gd name="connsiteY9" fmla="*/ 66635 h 296641"/>
                <a:gd name="connsiteX10" fmla="*/ 33961 w 133353"/>
                <a:gd name="connsiteY10" fmla="*/ 51585 h 296641"/>
                <a:gd name="connsiteX11" fmla="*/ 33961 w 133353"/>
                <a:gd name="connsiteY11" fmla="*/ 133271 h 296641"/>
                <a:gd name="connsiteX12" fmla="*/ 99392 w 133353"/>
                <a:gd name="connsiteY12" fmla="*/ 133271 h 296641"/>
                <a:gd name="connsiteX13" fmla="*/ 114451 w 133353"/>
                <a:gd name="connsiteY13" fmla="*/ 148320 h 296641"/>
                <a:gd name="connsiteX14" fmla="*/ 99392 w 133353"/>
                <a:gd name="connsiteY14" fmla="*/ 163371 h 296641"/>
                <a:gd name="connsiteX15" fmla="*/ 33961 w 133353"/>
                <a:gd name="connsiteY15" fmla="*/ 163371 h 296641"/>
                <a:gd name="connsiteX16" fmla="*/ 18902 w 133353"/>
                <a:gd name="connsiteY16" fmla="*/ 148320 h 296641"/>
                <a:gd name="connsiteX17" fmla="*/ 33961 w 133353"/>
                <a:gd name="connsiteY17" fmla="*/ 133271 h 296641"/>
                <a:gd name="connsiteX18" fmla="*/ 33961 w 133353"/>
                <a:gd name="connsiteY18" fmla="*/ 214956 h 296641"/>
                <a:gd name="connsiteX19" fmla="*/ 99392 w 133353"/>
                <a:gd name="connsiteY19" fmla="*/ 214956 h 296641"/>
                <a:gd name="connsiteX20" fmla="*/ 114451 w 133353"/>
                <a:gd name="connsiteY20" fmla="*/ 230006 h 296641"/>
                <a:gd name="connsiteX21" fmla="*/ 99392 w 133353"/>
                <a:gd name="connsiteY21" fmla="*/ 245056 h 296641"/>
                <a:gd name="connsiteX22" fmla="*/ 33961 w 133353"/>
                <a:gd name="connsiteY22" fmla="*/ 245056 h 296641"/>
                <a:gd name="connsiteX23" fmla="*/ 18902 w 133353"/>
                <a:gd name="connsiteY23" fmla="*/ 230006 h 296641"/>
                <a:gd name="connsiteX24" fmla="*/ 33961 w 133353"/>
                <a:gd name="connsiteY24" fmla="*/ 214956 h 296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33353" h="296641">
                  <a:moveTo>
                    <a:pt x="0" y="296641"/>
                  </a:moveTo>
                  <a:lnTo>
                    <a:pt x="133353" y="296641"/>
                  </a:lnTo>
                  <a:lnTo>
                    <a:pt x="133353" y="0"/>
                  </a:lnTo>
                  <a:lnTo>
                    <a:pt x="0" y="0"/>
                  </a:lnTo>
                  <a:close/>
                  <a:moveTo>
                    <a:pt x="33961" y="51585"/>
                  </a:moveTo>
                  <a:lnTo>
                    <a:pt x="99392" y="51585"/>
                  </a:lnTo>
                  <a:cubicBezTo>
                    <a:pt x="107711" y="51585"/>
                    <a:pt x="114451" y="58321"/>
                    <a:pt x="114451" y="66635"/>
                  </a:cubicBezTo>
                  <a:cubicBezTo>
                    <a:pt x="114451" y="74949"/>
                    <a:pt x="107711" y="81685"/>
                    <a:pt x="99392" y="81685"/>
                  </a:cubicBezTo>
                  <a:lnTo>
                    <a:pt x="33961" y="81685"/>
                  </a:lnTo>
                  <a:cubicBezTo>
                    <a:pt x="25642" y="81685"/>
                    <a:pt x="18902" y="74949"/>
                    <a:pt x="18902" y="66635"/>
                  </a:cubicBezTo>
                  <a:cubicBezTo>
                    <a:pt x="18902" y="58321"/>
                    <a:pt x="25642" y="51585"/>
                    <a:pt x="33961" y="51585"/>
                  </a:cubicBezTo>
                  <a:close/>
                  <a:moveTo>
                    <a:pt x="33961" y="133271"/>
                  </a:moveTo>
                  <a:lnTo>
                    <a:pt x="99392" y="133271"/>
                  </a:lnTo>
                  <a:cubicBezTo>
                    <a:pt x="107711" y="133271"/>
                    <a:pt x="114451" y="140007"/>
                    <a:pt x="114451" y="148320"/>
                  </a:cubicBezTo>
                  <a:cubicBezTo>
                    <a:pt x="114451" y="156634"/>
                    <a:pt x="107711" y="163371"/>
                    <a:pt x="99392" y="163371"/>
                  </a:cubicBezTo>
                  <a:lnTo>
                    <a:pt x="33961" y="163371"/>
                  </a:lnTo>
                  <a:cubicBezTo>
                    <a:pt x="25642" y="163371"/>
                    <a:pt x="18902" y="156634"/>
                    <a:pt x="18902" y="148320"/>
                  </a:cubicBezTo>
                  <a:cubicBezTo>
                    <a:pt x="18902" y="140007"/>
                    <a:pt x="25642" y="133271"/>
                    <a:pt x="33961" y="133271"/>
                  </a:cubicBezTo>
                  <a:close/>
                  <a:moveTo>
                    <a:pt x="33961" y="214956"/>
                  </a:moveTo>
                  <a:lnTo>
                    <a:pt x="99392" y="214956"/>
                  </a:lnTo>
                  <a:cubicBezTo>
                    <a:pt x="107711" y="214956"/>
                    <a:pt x="114451" y="221692"/>
                    <a:pt x="114451" y="230006"/>
                  </a:cubicBezTo>
                  <a:cubicBezTo>
                    <a:pt x="114451" y="238320"/>
                    <a:pt x="107711" y="245056"/>
                    <a:pt x="99392" y="245056"/>
                  </a:cubicBezTo>
                  <a:lnTo>
                    <a:pt x="33961" y="245056"/>
                  </a:lnTo>
                  <a:cubicBezTo>
                    <a:pt x="25642" y="245056"/>
                    <a:pt x="18902" y="238320"/>
                    <a:pt x="18902" y="230006"/>
                  </a:cubicBezTo>
                  <a:cubicBezTo>
                    <a:pt x="18902" y="221692"/>
                    <a:pt x="25642" y="214956"/>
                    <a:pt x="33961" y="214956"/>
                  </a:cubicBezTo>
                  <a:close/>
                </a:path>
              </a:pathLst>
            </a:custGeom>
            <a:noFill/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5" name="Freeform 464">
              <a:extLst>
                <a:ext uri="{FF2B5EF4-FFF2-40B4-BE49-F238E27FC236}">
                  <a16:creationId xmlns:a16="http://schemas.microsoft.com/office/drawing/2014/main" id="{B27861DD-16E3-3141-968C-017B747A3BB3}"/>
                </a:ext>
              </a:extLst>
            </p:cNvPr>
            <p:cNvSpPr/>
            <p:nvPr/>
          </p:nvSpPr>
          <p:spPr>
            <a:xfrm>
              <a:off x="5363875" y="5015502"/>
              <a:ext cx="46632" cy="46603"/>
            </a:xfrm>
            <a:custGeom>
              <a:avLst/>
              <a:gdLst>
                <a:gd name="connsiteX0" fmla="*/ 0 w 46632"/>
                <a:gd name="connsiteY0" fmla="*/ 0 h 46603"/>
                <a:gd name="connsiteX1" fmla="*/ 0 w 46632"/>
                <a:gd name="connsiteY1" fmla="*/ 46603 h 46603"/>
                <a:gd name="connsiteX2" fmla="*/ 46632 w 46632"/>
                <a:gd name="connsiteY2" fmla="*/ 46603 h 46603"/>
                <a:gd name="connsiteX3" fmla="*/ 0 w 46632"/>
                <a:gd name="connsiteY3" fmla="*/ 0 h 46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632" h="46603">
                  <a:moveTo>
                    <a:pt x="0" y="0"/>
                  </a:moveTo>
                  <a:lnTo>
                    <a:pt x="0" y="46603"/>
                  </a:lnTo>
                  <a:lnTo>
                    <a:pt x="46632" y="46603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6" name="Freeform 465">
              <a:extLst>
                <a:ext uri="{FF2B5EF4-FFF2-40B4-BE49-F238E27FC236}">
                  <a16:creationId xmlns:a16="http://schemas.microsoft.com/office/drawing/2014/main" id="{F3EC4C8D-1ADF-6641-A9AD-4336AE773102}"/>
                </a:ext>
              </a:extLst>
            </p:cNvPr>
            <p:cNvSpPr/>
            <p:nvPr/>
          </p:nvSpPr>
          <p:spPr>
            <a:xfrm>
              <a:off x="4873356" y="4994120"/>
              <a:ext cx="558649" cy="721570"/>
            </a:xfrm>
            <a:custGeom>
              <a:avLst/>
              <a:gdLst>
                <a:gd name="connsiteX0" fmla="*/ 475460 w 558649"/>
                <a:gd name="connsiteY0" fmla="*/ 98188 h 721570"/>
                <a:gd name="connsiteX1" fmla="*/ 460297 w 558649"/>
                <a:gd name="connsiteY1" fmla="*/ 83035 h 721570"/>
                <a:gd name="connsiteX2" fmla="*/ 460297 w 558649"/>
                <a:gd name="connsiteY2" fmla="*/ 0 h 721570"/>
                <a:gd name="connsiteX3" fmla="*/ 0 w 558649"/>
                <a:gd name="connsiteY3" fmla="*/ 0 h 721570"/>
                <a:gd name="connsiteX4" fmla="*/ 0 w 558649"/>
                <a:gd name="connsiteY4" fmla="*/ 721571 h 721570"/>
                <a:gd name="connsiteX5" fmla="*/ 424466 w 558649"/>
                <a:gd name="connsiteY5" fmla="*/ 721571 h 721570"/>
                <a:gd name="connsiteX6" fmla="*/ 414080 w 558649"/>
                <a:gd name="connsiteY6" fmla="*/ 717315 h 721570"/>
                <a:gd name="connsiteX7" fmla="*/ 242092 w 558649"/>
                <a:gd name="connsiteY7" fmla="*/ 588300 h 721570"/>
                <a:gd name="connsiteX8" fmla="*/ 50267 w 558649"/>
                <a:gd name="connsiteY8" fmla="*/ 588300 h 721570"/>
                <a:gd name="connsiteX9" fmla="*/ 35208 w 558649"/>
                <a:gd name="connsiteY9" fmla="*/ 573250 h 721570"/>
                <a:gd name="connsiteX10" fmla="*/ 35208 w 558649"/>
                <a:gd name="connsiteY10" fmla="*/ 148424 h 721570"/>
                <a:gd name="connsiteX11" fmla="*/ 50267 w 558649"/>
                <a:gd name="connsiteY11" fmla="*/ 133374 h 721570"/>
                <a:gd name="connsiteX12" fmla="*/ 508279 w 558649"/>
                <a:gd name="connsiteY12" fmla="*/ 133374 h 721570"/>
                <a:gd name="connsiteX13" fmla="*/ 523338 w 558649"/>
                <a:gd name="connsiteY13" fmla="*/ 148424 h 721570"/>
                <a:gd name="connsiteX14" fmla="*/ 523338 w 558649"/>
                <a:gd name="connsiteY14" fmla="*/ 573354 h 721570"/>
                <a:gd name="connsiteX15" fmla="*/ 508279 w 558649"/>
                <a:gd name="connsiteY15" fmla="*/ 588404 h 721570"/>
                <a:gd name="connsiteX16" fmla="*/ 458116 w 558649"/>
                <a:gd name="connsiteY16" fmla="*/ 588404 h 721570"/>
                <a:gd name="connsiteX17" fmla="*/ 468501 w 558649"/>
                <a:gd name="connsiteY17" fmla="*/ 592660 h 721570"/>
                <a:gd name="connsiteX18" fmla="*/ 558650 w 558649"/>
                <a:gd name="connsiteY18" fmla="*/ 640301 h 721570"/>
                <a:gd name="connsiteX19" fmla="*/ 558650 w 558649"/>
                <a:gd name="connsiteY19" fmla="*/ 98188 h 721570"/>
                <a:gd name="connsiteX20" fmla="*/ 195044 w 558649"/>
                <a:gd name="connsiteY20" fmla="*/ 643622 h 721570"/>
                <a:gd name="connsiteX21" fmla="*/ 260475 w 558649"/>
                <a:gd name="connsiteY21" fmla="*/ 643622 h 721570"/>
                <a:gd name="connsiteX22" fmla="*/ 275534 w 558649"/>
                <a:gd name="connsiteY22" fmla="*/ 658672 h 721570"/>
                <a:gd name="connsiteX23" fmla="*/ 260475 w 558649"/>
                <a:gd name="connsiteY23" fmla="*/ 673722 h 721570"/>
                <a:gd name="connsiteX24" fmla="*/ 195044 w 558649"/>
                <a:gd name="connsiteY24" fmla="*/ 673722 h 721570"/>
                <a:gd name="connsiteX25" fmla="*/ 179985 w 558649"/>
                <a:gd name="connsiteY25" fmla="*/ 658672 h 721570"/>
                <a:gd name="connsiteX26" fmla="*/ 195044 w 558649"/>
                <a:gd name="connsiteY26" fmla="*/ 643622 h 721570"/>
                <a:gd name="connsiteX27" fmla="*/ 229733 w 558649"/>
                <a:gd name="connsiteY27" fmla="*/ 98188 h 721570"/>
                <a:gd name="connsiteX28" fmla="*/ 33961 w 558649"/>
                <a:gd name="connsiteY28" fmla="*/ 98188 h 721570"/>
                <a:gd name="connsiteX29" fmla="*/ 20107 w 558649"/>
                <a:gd name="connsiteY29" fmla="*/ 81831 h 721570"/>
                <a:gd name="connsiteX30" fmla="*/ 33961 w 558649"/>
                <a:gd name="connsiteY30" fmla="*/ 67984 h 721570"/>
                <a:gd name="connsiteX31" fmla="*/ 230148 w 558649"/>
                <a:gd name="connsiteY31" fmla="*/ 67984 h 721570"/>
                <a:gd name="connsiteX32" fmla="*/ 244003 w 558649"/>
                <a:gd name="connsiteY32" fmla="*/ 84342 h 721570"/>
                <a:gd name="connsiteX33" fmla="*/ 230148 w 558649"/>
                <a:gd name="connsiteY33" fmla="*/ 98188 h 721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558649" h="721570">
                  <a:moveTo>
                    <a:pt x="475460" y="98188"/>
                  </a:moveTo>
                  <a:cubicBezTo>
                    <a:pt x="467089" y="98188"/>
                    <a:pt x="460297" y="91400"/>
                    <a:pt x="460297" y="83035"/>
                  </a:cubicBezTo>
                  <a:lnTo>
                    <a:pt x="460297" y="0"/>
                  </a:lnTo>
                  <a:lnTo>
                    <a:pt x="0" y="0"/>
                  </a:lnTo>
                  <a:lnTo>
                    <a:pt x="0" y="721571"/>
                  </a:lnTo>
                  <a:lnTo>
                    <a:pt x="424466" y="721571"/>
                  </a:lnTo>
                  <a:lnTo>
                    <a:pt x="414080" y="717315"/>
                  </a:lnTo>
                  <a:cubicBezTo>
                    <a:pt x="322374" y="677563"/>
                    <a:pt x="253724" y="624732"/>
                    <a:pt x="242092" y="588300"/>
                  </a:cubicBezTo>
                  <a:lnTo>
                    <a:pt x="50267" y="588300"/>
                  </a:lnTo>
                  <a:cubicBezTo>
                    <a:pt x="41948" y="588300"/>
                    <a:pt x="35208" y="581564"/>
                    <a:pt x="35208" y="573250"/>
                  </a:cubicBezTo>
                  <a:lnTo>
                    <a:pt x="35208" y="148424"/>
                  </a:lnTo>
                  <a:cubicBezTo>
                    <a:pt x="35208" y="140110"/>
                    <a:pt x="41948" y="133374"/>
                    <a:pt x="50267" y="133374"/>
                  </a:cubicBezTo>
                  <a:lnTo>
                    <a:pt x="508279" y="133374"/>
                  </a:lnTo>
                  <a:cubicBezTo>
                    <a:pt x="516598" y="133374"/>
                    <a:pt x="523338" y="140110"/>
                    <a:pt x="523338" y="148424"/>
                  </a:cubicBezTo>
                  <a:lnTo>
                    <a:pt x="523338" y="573354"/>
                  </a:lnTo>
                  <a:cubicBezTo>
                    <a:pt x="523338" y="581668"/>
                    <a:pt x="516598" y="588404"/>
                    <a:pt x="508279" y="588404"/>
                  </a:cubicBezTo>
                  <a:lnTo>
                    <a:pt x="458116" y="588404"/>
                  </a:lnTo>
                  <a:lnTo>
                    <a:pt x="468501" y="592660"/>
                  </a:lnTo>
                  <a:cubicBezTo>
                    <a:pt x="499773" y="606111"/>
                    <a:pt x="529923" y="622044"/>
                    <a:pt x="558650" y="640301"/>
                  </a:cubicBezTo>
                  <a:lnTo>
                    <a:pt x="558650" y="98188"/>
                  </a:lnTo>
                  <a:close/>
                  <a:moveTo>
                    <a:pt x="195044" y="643622"/>
                  </a:moveTo>
                  <a:lnTo>
                    <a:pt x="260475" y="643622"/>
                  </a:lnTo>
                  <a:cubicBezTo>
                    <a:pt x="268794" y="643622"/>
                    <a:pt x="275534" y="650358"/>
                    <a:pt x="275534" y="658672"/>
                  </a:cubicBezTo>
                  <a:cubicBezTo>
                    <a:pt x="275534" y="666986"/>
                    <a:pt x="268794" y="673722"/>
                    <a:pt x="260475" y="673722"/>
                  </a:cubicBezTo>
                  <a:lnTo>
                    <a:pt x="195044" y="673722"/>
                  </a:lnTo>
                  <a:cubicBezTo>
                    <a:pt x="186725" y="673722"/>
                    <a:pt x="179985" y="666986"/>
                    <a:pt x="179985" y="658672"/>
                  </a:cubicBezTo>
                  <a:cubicBezTo>
                    <a:pt x="179985" y="650358"/>
                    <a:pt x="186725" y="643622"/>
                    <a:pt x="195044" y="643622"/>
                  </a:cubicBezTo>
                  <a:close/>
                  <a:moveTo>
                    <a:pt x="229733" y="98188"/>
                  </a:moveTo>
                  <a:lnTo>
                    <a:pt x="33961" y="98188"/>
                  </a:lnTo>
                  <a:cubicBezTo>
                    <a:pt x="25611" y="97493"/>
                    <a:pt x="19411" y="90175"/>
                    <a:pt x="20107" y="81831"/>
                  </a:cubicBezTo>
                  <a:cubicBezTo>
                    <a:pt x="20720" y="74451"/>
                    <a:pt x="26577" y="68597"/>
                    <a:pt x="33961" y="67984"/>
                  </a:cubicBezTo>
                  <a:lnTo>
                    <a:pt x="230148" y="67984"/>
                  </a:lnTo>
                  <a:cubicBezTo>
                    <a:pt x="238498" y="68680"/>
                    <a:pt x="244699" y="75997"/>
                    <a:pt x="244003" y="84342"/>
                  </a:cubicBezTo>
                  <a:cubicBezTo>
                    <a:pt x="243390" y="91722"/>
                    <a:pt x="237533" y="97576"/>
                    <a:pt x="230148" y="98188"/>
                  </a:cubicBezTo>
                  <a:close/>
                </a:path>
              </a:pathLst>
            </a:custGeom>
            <a:noFill/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7" name="Freeform 466">
              <a:extLst>
                <a:ext uri="{FF2B5EF4-FFF2-40B4-BE49-F238E27FC236}">
                  <a16:creationId xmlns:a16="http://schemas.microsoft.com/office/drawing/2014/main" id="{FC37221F-5937-F341-ABF2-29E4443AA9A5}"/>
                </a:ext>
              </a:extLst>
            </p:cNvPr>
            <p:cNvSpPr/>
            <p:nvPr/>
          </p:nvSpPr>
          <p:spPr>
            <a:xfrm>
              <a:off x="4843133" y="4964772"/>
              <a:ext cx="618964" cy="781849"/>
            </a:xfrm>
            <a:custGeom>
              <a:avLst/>
              <a:gdLst>
                <a:gd name="connsiteX0" fmla="*/ 30222 w 618964"/>
                <a:gd name="connsiteY0" fmla="*/ 751022 h 781849"/>
                <a:gd name="connsiteX1" fmla="*/ 30222 w 618964"/>
                <a:gd name="connsiteY1" fmla="*/ 29970 h 781849"/>
                <a:gd name="connsiteX2" fmla="*/ 490519 w 618964"/>
                <a:gd name="connsiteY2" fmla="*/ 29970 h 781849"/>
                <a:gd name="connsiteX3" fmla="*/ 490519 w 618964"/>
                <a:gd name="connsiteY3" fmla="*/ 113005 h 781849"/>
                <a:gd name="connsiteX4" fmla="*/ 505682 w 618964"/>
                <a:gd name="connsiteY4" fmla="*/ 128159 h 781849"/>
                <a:gd name="connsiteX5" fmla="*/ 588768 w 618964"/>
                <a:gd name="connsiteY5" fmla="*/ 128159 h 781849"/>
                <a:gd name="connsiteX6" fmla="*/ 588768 w 618964"/>
                <a:gd name="connsiteY6" fmla="*/ 670271 h 781849"/>
                <a:gd name="connsiteX7" fmla="*/ 618887 w 618964"/>
                <a:gd name="connsiteY7" fmla="*/ 691549 h 781849"/>
                <a:gd name="connsiteX8" fmla="*/ 618887 w 618964"/>
                <a:gd name="connsiteY8" fmla="*/ 112382 h 781849"/>
                <a:gd name="connsiteX9" fmla="*/ 618887 w 618964"/>
                <a:gd name="connsiteY9" fmla="*/ 109476 h 781849"/>
                <a:gd name="connsiteX10" fmla="*/ 618887 w 618964"/>
                <a:gd name="connsiteY10" fmla="*/ 107400 h 781849"/>
                <a:gd name="connsiteX11" fmla="*/ 618887 w 618964"/>
                <a:gd name="connsiteY11" fmla="*/ 106674 h 781849"/>
                <a:gd name="connsiteX12" fmla="*/ 617745 w 618964"/>
                <a:gd name="connsiteY12" fmla="*/ 104598 h 781849"/>
                <a:gd name="connsiteX13" fmla="*/ 617745 w 618964"/>
                <a:gd name="connsiteY13" fmla="*/ 104079 h 781849"/>
                <a:gd name="connsiteX14" fmla="*/ 615875 w 618964"/>
                <a:gd name="connsiteY14" fmla="*/ 101796 h 781849"/>
                <a:gd name="connsiteX15" fmla="*/ 517730 w 618964"/>
                <a:gd name="connsiteY15" fmla="*/ 3711 h 781849"/>
                <a:gd name="connsiteX16" fmla="*/ 515445 w 618964"/>
                <a:gd name="connsiteY16" fmla="*/ 1843 h 781849"/>
                <a:gd name="connsiteX17" fmla="*/ 515445 w 618964"/>
                <a:gd name="connsiteY17" fmla="*/ 1843 h 781849"/>
                <a:gd name="connsiteX18" fmla="*/ 513264 w 618964"/>
                <a:gd name="connsiteY18" fmla="*/ 701 h 781849"/>
                <a:gd name="connsiteX19" fmla="*/ 512537 w 618964"/>
                <a:gd name="connsiteY19" fmla="*/ 701 h 781849"/>
                <a:gd name="connsiteX20" fmla="*/ 510460 w 618964"/>
                <a:gd name="connsiteY20" fmla="*/ 78 h 781849"/>
                <a:gd name="connsiteX21" fmla="*/ 507552 w 618964"/>
                <a:gd name="connsiteY21" fmla="*/ 78 h 781849"/>
                <a:gd name="connsiteX22" fmla="*/ 15163 w 618964"/>
                <a:gd name="connsiteY22" fmla="*/ 78 h 781849"/>
                <a:gd name="connsiteX23" fmla="*/ 0 w 618964"/>
                <a:gd name="connsiteY23" fmla="*/ 15024 h 781849"/>
                <a:gd name="connsiteX24" fmla="*/ 0 w 618964"/>
                <a:gd name="connsiteY24" fmla="*/ 15128 h 781849"/>
                <a:gd name="connsiteX25" fmla="*/ 0 w 618964"/>
                <a:gd name="connsiteY25" fmla="*/ 766799 h 781849"/>
                <a:gd name="connsiteX26" fmla="*/ 15059 w 618964"/>
                <a:gd name="connsiteY26" fmla="*/ 781849 h 781849"/>
                <a:gd name="connsiteX27" fmla="*/ 15163 w 618964"/>
                <a:gd name="connsiteY27" fmla="*/ 781849 h 781849"/>
                <a:gd name="connsiteX28" fmla="*/ 487611 w 618964"/>
                <a:gd name="connsiteY28" fmla="*/ 781849 h 781849"/>
                <a:gd name="connsiteX29" fmla="*/ 396216 w 618964"/>
                <a:gd name="connsiteY29" fmla="*/ 751749 h 781849"/>
                <a:gd name="connsiteX30" fmla="*/ 520741 w 618964"/>
                <a:gd name="connsiteY30" fmla="*/ 50729 h 781849"/>
                <a:gd name="connsiteX31" fmla="*/ 567374 w 618964"/>
                <a:gd name="connsiteY31" fmla="*/ 97332 h 781849"/>
                <a:gd name="connsiteX32" fmla="*/ 520741 w 618964"/>
                <a:gd name="connsiteY32" fmla="*/ 97332 h 781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618964" h="781849">
                  <a:moveTo>
                    <a:pt x="30222" y="751022"/>
                  </a:moveTo>
                  <a:lnTo>
                    <a:pt x="30222" y="29970"/>
                  </a:lnTo>
                  <a:lnTo>
                    <a:pt x="490519" y="29970"/>
                  </a:lnTo>
                  <a:lnTo>
                    <a:pt x="490519" y="113005"/>
                  </a:lnTo>
                  <a:cubicBezTo>
                    <a:pt x="490519" y="121371"/>
                    <a:pt x="497311" y="128159"/>
                    <a:pt x="505682" y="128159"/>
                  </a:cubicBezTo>
                  <a:lnTo>
                    <a:pt x="588768" y="128159"/>
                  </a:lnTo>
                  <a:lnTo>
                    <a:pt x="588768" y="670271"/>
                  </a:lnTo>
                  <a:cubicBezTo>
                    <a:pt x="599154" y="677329"/>
                    <a:pt x="609540" y="684491"/>
                    <a:pt x="618887" y="691549"/>
                  </a:cubicBezTo>
                  <a:lnTo>
                    <a:pt x="618887" y="112382"/>
                  </a:lnTo>
                  <a:cubicBezTo>
                    <a:pt x="618991" y="111417"/>
                    <a:pt x="618991" y="110441"/>
                    <a:pt x="618887" y="109476"/>
                  </a:cubicBezTo>
                  <a:cubicBezTo>
                    <a:pt x="618939" y="108781"/>
                    <a:pt x="618939" y="108096"/>
                    <a:pt x="618887" y="107400"/>
                  </a:cubicBezTo>
                  <a:lnTo>
                    <a:pt x="618887" y="106674"/>
                  </a:lnTo>
                  <a:cubicBezTo>
                    <a:pt x="618565" y="105947"/>
                    <a:pt x="618191" y="105252"/>
                    <a:pt x="617745" y="104598"/>
                  </a:cubicBezTo>
                  <a:cubicBezTo>
                    <a:pt x="617745" y="104598"/>
                    <a:pt x="617745" y="104598"/>
                    <a:pt x="617745" y="104079"/>
                  </a:cubicBezTo>
                  <a:cubicBezTo>
                    <a:pt x="617173" y="103280"/>
                    <a:pt x="616550" y="102512"/>
                    <a:pt x="615875" y="101796"/>
                  </a:cubicBezTo>
                  <a:lnTo>
                    <a:pt x="517730" y="3711"/>
                  </a:lnTo>
                  <a:cubicBezTo>
                    <a:pt x="517013" y="3036"/>
                    <a:pt x="516244" y="2413"/>
                    <a:pt x="515445" y="1843"/>
                  </a:cubicBezTo>
                  <a:lnTo>
                    <a:pt x="515445" y="1843"/>
                  </a:lnTo>
                  <a:cubicBezTo>
                    <a:pt x="514749" y="1396"/>
                    <a:pt x="514022" y="1022"/>
                    <a:pt x="513264" y="701"/>
                  </a:cubicBezTo>
                  <a:lnTo>
                    <a:pt x="512537" y="701"/>
                  </a:lnTo>
                  <a:cubicBezTo>
                    <a:pt x="511872" y="400"/>
                    <a:pt x="511176" y="192"/>
                    <a:pt x="510460" y="78"/>
                  </a:cubicBezTo>
                  <a:cubicBezTo>
                    <a:pt x="509494" y="-26"/>
                    <a:pt x="508518" y="-26"/>
                    <a:pt x="507552" y="78"/>
                  </a:cubicBezTo>
                  <a:lnTo>
                    <a:pt x="15163" y="78"/>
                  </a:lnTo>
                  <a:cubicBezTo>
                    <a:pt x="6844" y="16"/>
                    <a:pt x="62" y="6710"/>
                    <a:pt x="0" y="15024"/>
                  </a:cubicBezTo>
                  <a:cubicBezTo>
                    <a:pt x="0" y="15055"/>
                    <a:pt x="0" y="15097"/>
                    <a:pt x="0" y="15128"/>
                  </a:cubicBezTo>
                  <a:lnTo>
                    <a:pt x="0" y="766799"/>
                  </a:lnTo>
                  <a:cubicBezTo>
                    <a:pt x="0" y="775113"/>
                    <a:pt x="6740" y="781849"/>
                    <a:pt x="15059" y="781849"/>
                  </a:cubicBezTo>
                  <a:cubicBezTo>
                    <a:pt x="15090" y="781849"/>
                    <a:pt x="15132" y="781849"/>
                    <a:pt x="15163" y="781849"/>
                  </a:cubicBezTo>
                  <a:lnTo>
                    <a:pt x="487611" y="781849"/>
                  </a:lnTo>
                  <a:cubicBezTo>
                    <a:pt x="456391" y="774262"/>
                    <a:pt x="425836" y="764194"/>
                    <a:pt x="396216" y="751749"/>
                  </a:cubicBezTo>
                  <a:close/>
                  <a:moveTo>
                    <a:pt x="520741" y="50729"/>
                  </a:moveTo>
                  <a:lnTo>
                    <a:pt x="567374" y="97332"/>
                  </a:lnTo>
                  <a:lnTo>
                    <a:pt x="520741" y="97332"/>
                  </a:ln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8" name="Freeform 467">
              <a:extLst>
                <a:ext uri="{FF2B5EF4-FFF2-40B4-BE49-F238E27FC236}">
                  <a16:creationId xmlns:a16="http://schemas.microsoft.com/office/drawing/2014/main" id="{13579A48-B8CD-1C44-BCD7-A5C89A5E08C4}"/>
                </a:ext>
              </a:extLst>
            </p:cNvPr>
            <p:cNvSpPr/>
            <p:nvPr/>
          </p:nvSpPr>
          <p:spPr>
            <a:xfrm>
              <a:off x="4908563" y="5127495"/>
              <a:ext cx="488130" cy="455133"/>
            </a:xfrm>
            <a:custGeom>
              <a:avLst/>
              <a:gdLst>
                <a:gd name="connsiteX0" fmla="*/ 217270 w 488130"/>
                <a:gd name="connsiteY0" fmla="*/ 435309 h 455133"/>
                <a:gd name="connsiteX1" fmla="*/ 223190 w 488130"/>
                <a:gd name="connsiteY1" fmla="*/ 424930 h 455133"/>
                <a:gd name="connsiteX2" fmla="*/ 193694 w 488130"/>
                <a:gd name="connsiteY2" fmla="*/ 424930 h 455133"/>
                <a:gd name="connsiteX3" fmla="*/ 193694 w 488130"/>
                <a:gd name="connsiteY3" fmla="*/ 373033 h 455133"/>
                <a:gd name="connsiteX4" fmla="*/ 261617 w 488130"/>
                <a:gd name="connsiteY4" fmla="*/ 373033 h 455133"/>
                <a:gd name="connsiteX5" fmla="*/ 261617 w 488130"/>
                <a:gd name="connsiteY5" fmla="*/ 405728 h 455133"/>
                <a:gd name="connsiteX6" fmla="*/ 291736 w 488130"/>
                <a:gd name="connsiteY6" fmla="*/ 408011 h 455133"/>
                <a:gd name="connsiteX7" fmla="*/ 291736 w 488130"/>
                <a:gd name="connsiteY7" fmla="*/ 373033 h 455133"/>
                <a:gd name="connsiteX8" fmla="*/ 359762 w 488130"/>
                <a:gd name="connsiteY8" fmla="*/ 373033 h 455133"/>
                <a:gd name="connsiteX9" fmla="*/ 359762 w 488130"/>
                <a:gd name="connsiteY9" fmla="*/ 424930 h 455133"/>
                <a:gd name="connsiteX10" fmla="*/ 340964 w 488130"/>
                <a:gd name="connsiteY10" fmla="*/ 424930 h 455133"/>
                <a:gd name="connsiteX11" fmla="*/ 422804 w 488130"/>
                <a:gd name="connsiteY11" fmla="*/ 455134 h 455133"/>
                <a:gd name="connsiteX12" fmla="*/ 473071 w 488130"/>
                <a:gd name="connsiteY12" fmla="*/ 455134 h 455133"/>
                <a:gd name="connsiteX13" fmla="*/ 488130 w 488130"/>
                <a:gd name="connsiteY13" fmla="*/ 440083 h 455133"/>
                <a:gd name="connsiteX14" fmla="*/ 488130 w 488130"/>
                <a:gd name="connsiteY14" fmla="*/ 15050 h 455133"/>
                <a:gd name="connsiteX15" fmla="*/ 473071 w 488130"/>
                <a:gd name="connsiteY15" fmla="*/ 0 h 455133"/>
                <a:gd name="connsiteX16" fmla="*/ 15059 w 488130"/>
                <a:gd name="connsiteY16" fmla="*/ 0 h 455133"/>
                <a:gd name="connsiteX17" fmla="*/ 0 w 488130"/>
                <a:gd name="connsiteY17" fmla="*/ 15050 h 455133"/>
                <a:gd name="connsiteX18" fmla="*/ 0 w 488130"/>
                <a:gd name="connsiteY18" fmla="*/ 439980 h 455133"/>
                <a:gd name="connsiteX19" fmla="*/ 15059 w 488130"/>
                <a:gd name="connsiteY19" fmla="*/ 455030 h 455133"/>
                <a:gd name="connsiteX20" fmla="*/ 217478 w 488130"/>
                <a:gd name="connsiteY20" fmla="*/ 455030 h 455133"/>
                <a:gd name="connsiteX21" fmla="*/ 217270 w 488130"/>
                <a:gd name="connsiteY21" fmla="*/ 435309 h 455133"/>
                <a:gd name="connsiteX22" fmla="*/ 261617 w 488130"/>
                <a:gd name="connsiteY22" fmla="*/ 343141 h 455133"/>
                <a:gd name="connsiteX23" fmla="*/ 193694 w 488130"/>
                <a:gd name="connsiteY23" fmla="*/ 343141 h 455133"/>
                <a:gd name="connsiteX24" fmla="*/ 193694 w 488130"/>
                <a:gd name="connsiteY24" fmla="*/ 291244 h 455133"/>
                <a:gd name="connsiteX25" fmla="*/ 261617 w 488130"/>
                <a:gd name="connsiteY25" fmla="*/ 291244 h 455133"/>
                <a:gd name="connsiteX26" fmla="*/ 261617 w 488130"/>
                <a:gd name="connsiteY26" fmla="*/ 261455 h 455133"/>
                <a:gd name="connsiteX27" fmla="*/ 193694 w 488130"/>
                <a:gd name="connsiteY27" fmla="*/ 261455 h 455133"/>
                <a:gd name="connsiteX28" fmla="*/ 193694 w 488130"/>
                <a:gd name="connsiteY28" fmla="*/ 209559 h 455133"/>
                <a:gd name="connsiteX29" fmla="*/ 261617 w 488130"/>
                <a:gd name="connsiteY29" fmla="*/ 209559 h 455133"/>
                <a:gd name="connsiteX30" fmla="*/ 261617 w 488130"/>
                <a:gd name="connsiteY30" fmla="*/ 179770 h 455133"/>
                <a:gd name="connsiteX31" fmla="*/ 193694 w 488130"/>
                <a:gd name="connsiteY31" fmla="*/ 179770 h 455133"/>
                <a:gd name="connsiteX32" fmla="*/ 193694 w 488130"/>
                <a:gd name="connsiteY32" fmla="*/ 127873 h 455133"/>
                <a:gd name="connsiteX33" fmla="*/ 261617 w 488130"/>
                <a:gd name="connsiteY33" fmla="*/ 127873 h 455133"/>
                <a:gd name="connsiteX34" fmla="*/ 359762 w 488130"/>
                <a:gd name="connsiteY34" fmla="*/ 343141 h 455133"/>
                <a:gd name="connsiteX35" fmla="*/ 291736 w 488130"/>
                <a:gd name="connsiteY35" fmla="*/ 343141 h 455133"/>
                <a:gd name="connsiteX36" fmla="*/ 291736 w 488130"/>
                <a:gd name="connsiteY36" fmla="*/ 291244 h 455133"/>
                <a:gd name="connsiteX37" fmla="*/ 359762 w 488130"/>
                <a:gd name="connsiteY37" fmla="*/ 291244 h 455133"/>
                <a:gd name="connsiteX38" fmla="*/ 359762 w 488130"/>
                <a:gd name="connsiteY38" fmla="*/ 261455 h 455133"/>
                <a:gd name="connsiteX39" fmla="*/ 291736 w 488130"/>
                <a:gd name="connsiteY39" fmla="*/ 261455 h 455133"/>
                <a:gd name="connsiteX40" fmla="*/ 291736 w 488130"/>
                <a:gd name="connsiteY40" fmla="*/ 209559 h 455133"/>
                <a:gd name="connsiteX41" fmla="*/ 359762 w 488130"/>
                <a:gd name="connsiteY41" fmla="*/ 209559 h 455133"/>
                <a:gd name="connsiteX42" fmla="*/ 359762 w 488130"/>
                <a:gd name="connsiteY42" fmla="*/ 179770 h 455133"/>
                <a:gd name="connsiteX43" fmla="*/ 291736 w 488130"/>
                <a:gd name="connsiteY43" fmla="*/ 179770 h 455133"/>
                <a:gd name="connsiteX44" fmla="*/ 291736 w 488130"/>
                <a:gd name="connsiteY44" fmla="*/ 127873 h 455133"/>
                <a:gd name="connsiteX45" fmla="*/ 359762 w 488130"/>
                <a:gd name="connsiteY45" fmla="*/ 127873 h 455133"/>
                <a:gd name="connsiteX46" fmla="*/ 457804 w 488130"/>
                <a:gd name="connsiteY46" fmla="*/ 424826 h 455133"/>
                <a:gd name="connsiteX47" fmla="*/ 389985 w 488130"/>
                <a:gd name="connsiteY47" fmla="*/ 424826 h 455133"/>
                <a:gd name="connsiteX48" fmla="*/ 389985 w 488130"/>
                <a:gd name="connsiteY48" fmla="*/ 372929 h 455133"/>
                <a:gd name="connsiteX49" fmla="*/ 457908 w 488130"/>
                <a:gd name="connsiteY49" fmla="*/ 372929 h 455133"/>
                <a:gd name="connsiteX50" fmla="*/ 457804 w 488130"/>
                <a:gd name="connsiteY50" fmla="*/ 343141 h 455133"/>
                <a:gd name="connsiteX51" fmla="*/ 389985 w 488130"/>
                <a:gd name="connsiteY51" fmla="*/ 343141 h 455133"/>
                <a:gd name="connsiteX52" fmla="*/ 389985 w 488130"/>
                <a:gd name="connsiteY52" fmla="*/ 291244 h 455133"/>
                <a:gd name="connsiteX53" fmla="*/ 457908 w 488130"/>
                <a:gd name="connsiteY53" fmla="*/ 291244 h 455133"/>
                <a:gd name="connsiteX54" fmla="*/ 457804 w 488130"/>
                <a:gd name="connsiteY54" fmla="*/ 261455 h 455133"/>
                <a:gd name="connsiteX55" fmla="*/ 389985 w 488130"/>
                <a:gd name="connsiteY55" fmla="*/ 261455 h 455133"/>
                <a:gd name="connsiteX56" fmla="*/ 389985 w 488130"/>
                <a:gd name="connsiteY56" fmla="*/ 209559 h 455133"/>
                <a:gd name="connsiteX57" fmla="*/ 457908 w 488130"/>
                <a:gd name="connsiteY57" fmla="*/ 209559 h 455133"/>
                <a:gd name="connsiteX58" fmla="*/ 457804 w 488130"/>
                <a:gd name="connsiteY58" fmla="*/ 179770 h 455133"/>
                <a:gd name="connsiteX59" fmla="*/ 389985 w 488130"/>
                <a:gd name="connsiteY59" fmla="*/ 179770 h 455133"/>
                <a:gd name="connsiteX60" fmla="*/ 389985 w 488130"/>
                <a:gd name="connsiteY60" fmla="*/ 127873 h 455133"/>
                <a:gd name="connsiteX61" fmla="*/ 457908 w 488130"/>
                <a:gd name="connsiteY61" fmla="*/ 127873 h 455133"/>
                <a:gd name="connsiteX62" fmla="*/ 30119 w 488130"/>
                <a:gd name="connsiteY62" fmla="*/ 30100 h 455133"/>
                <a:gd name="connsiteX63" fmla="*/ 457804 w 488130"/>
                <a:gd name="connsiteY63" fmla="*/ 30100 h 455133"/>
                <a:gd name="connsiteX64" fmla="*/ 457804 w 488130"/>
                <a:gd name="connsiteY64" fmla="*/ 98084 h 455133"/>
                <a:gd name="connsiteX65" fmla="*/ 30119 w 488130"/>
                <a:gd name="connsiteY65" fmla="*/ 98084 h 455133"/>
                <a:gd name="connsiteX66" fmla="*/ 163472 w 488130"/>
                <a:gd name="connsiteY66" fmla="*/ 424514 h 455133"/>
                <a:gd name="connsiteX67" fmla="*/ 30119 w 488130"/>
                <a:gd name="connsiteY67" fmla="*/ 424514 h 455133"/>
                <a:gd name="connsiteX68" fmla="*/ 30119 w 488130"/>
                <a:gd name="connsiteY68" fmla="*/ 128185 h 455133"/>
                <a:gd name="connsiteX69" fmla="*/ 163472 w 488130"/>
                <a:gd name="connsiteY69" fmla="*/ 128185 h 455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488130" h="455133">
                  <a:moveTo>
                    <a:pt x="217270" y="435309"/>
                  </a:moveTo>
                  <a:cubicBezTo>
                    <a:pt x="219139" y="431157"/>
                    <a:pt x="218932" y="427732"/>
                    <a:pt x="223190" y="424930"/>
                  </a:cubicBezTo>
                  <a:lnTo>
                    <a:pt x="193694" y="424930"/>
                  </a:lnTo>
                  <a:lnTo>
                    <a:pt x="193694" y="373033"/>
                  </a:lnTo>
                  <a:lnTo>
                    <a:pt x="261617" y="373033"/>
                  </a:lnTo>
                  <a:lnTo>
                    <a:pt x="261617" y="405728"/>
                  </a:lnTo>
                  <a:cubicBezTo>
                    <a:pt x="271691" y="405873"/>
                    <a:pt x="281755" y="406641"/>
                    <a:pt x="291736" y="408011"/>
                  </a:cubicBezTo>
                  <a:lnTo>
                    <a:pt x="291736" y="373033"/>
                  </a:lnTo>
                  <a:lnTo>
                    <a:pt x="359762" y="373033"/>
                  </a:lnTo>
                  <a:lnTo>
                    <a:pt x="359762" y="424930"/>
                  </a:lnTo>
                  <a:lnTo>
                    <a:pt x="340964" y="424930"/>
                  </a:lnTo>
                  <a:cubicBezTo>
                    <a:pt x="369037" y="432693"/>
                    <a:pt x="396414" y="442792"/>
                    <a:pt x="422804" y="455134"/>
                  </a:cubicBezTo>
                  <a:lnTo>
                    <a:pt x="473071" y="455134"/>
                  </a:lnTo>
                  <a:cubicBezTo>
                    <a:pt x="481390" y="455134"/>
                    <a:pt x="488130" y="448397"/>
                    <a:pt x="488130" y="440083"/>
                  </a:cubicBezTo>
                  <a:lnTo>
                    <a:pt x="488130" y="15050"/>
                  </a:lnTo>
                  <a:cubicBezTo>
                    <a:pt x="488130" y="6736"/>
                    <a:pt x="481390" y="0"/>
                    <a:pt x="473071" y="0"/>
                  </a:cubicBezTo>
                  <a:lnTo>
                    <a:pt x="15059" y="0"/>
                  </a:lnTo>
                  <a:cubicBezTo>
                    <a:pt x="6740" y="0"/>
                    <a:pt x="0" y="6736"/>
                    <a:pt x="0" y="15050"/>
                  </a:cubicBezTo>
                  <a:lnTo>
                    <a:pt x="0" y="439980"/>
                  </a:lnTo>
                  <a:cubicBezTo>
                    <a:pt x="0" y="448293"/>
                    <a:pt x="6740" y="455030"/>
                    <a:pt x="15059" y="455030"/>
                  </a:cubicBezTo>
                  <a:lnTo>
                    <a:pt x="217478" y="455030"/>
                  </a:lnTo>
                  <a:cubicBezTo>
                    <a:pt x="215016" y="448698"/>
                    <a:pt x="214944" y="441692"/>
                    <a:pt x="217270" y="435309"/>
                  </a:cubicBezTo>
                  <a:close/>
                  <a:moveTo>
                    <a:pt x="261617" y="343141"/>
                  </a:moveTo>
                  <a:lnTo>
                    <a:pt x="193694" y="343141"/>
                  </a:lnTo>
                  <a:lnTo>
                    <a:pt x="193694" y="291244"/>
                  </a:lnTo>
                  <a:lnTo>
                    <a:pt x="261617" y="291244"/>
                  </a:lnTo>
                  <a:close/>
                  <a:moveTo>
                    <a:pt x="261617" y="261455"/>
                  </a:moveTo>
                  <a:lnTo>
                    <a:pt x="193694" y="261455"/>
                  </a:lnTo>
                  <a:lnTo>
                    <a:pt x="193694" y="209559"/>
                  </a:lnTo>
                  <a:lnTo>
                    <a:pt x="261617" y="209559"/>
                  </a:lnTo>
                  <a:close/>
                  <a:moveTo>
                    <a:pt x="261617" y="179770"/>
                  </a:moveTo>
                  <a:lnTo>
                    <a:pt x="193694" y="179770"/>
                  </a:lnTo>
                  <a:lnTo>
                    <a:pt x="193694" y="127873"/>
                  </a:lnTo>
                  <a:lnTo>
                    <a:pt x="261617" y="127873"/>
                  </a:lnTo>
                  <a:close/>
                  <a:moveTo>
                    <a:pt x="359762" y="343141"/>
                  </a:moveTo>
                  <a:lnTo>
                    <a:pt x="291736" y="343141"/>
                  </a:lnTo>
                  <a:lnTo>
                    <a:pt x="291736" y="291244"/>
                  </a:lnTo>
                  <a:lnTo>
                    <a:pt x="359762" y="291244"/>
                  </a:lnTo>
                  <a:close/>
                  <a:moveTo>
                    <a:pt x="359762" y="261455"/>
                  </a:moveTo>
                  <a:lnTo>
                    <a:pt x="291736" y="261455"/>
                  </a:lnTo>
                  <a:lnTo>
                    <a:pt x="291736" y="209559"/>
                  </a:lnTo>
                  <a:lnTo>
                    <a:pt x="359762" y="209559"/>
                  </a:lnTo>
                  <a:close/>
                  <a:moveTo>
                    <a:pt x="359762" y="179770"/>
                  </a:moveTo>
                  <a:lnTo>
                    <a:pt x="291736" y="179770"/>
                  </a:lnTo>
                  <a:lnTo>
                    <a:pt x="291736" y="127873"/>
                  </a:lnTo>
                  <a:lnTo>
                    <a:pt x="359762" y="127873"/>
                  </a:lnTo>
                  <a:close/>
                  <a:moveTo>
                    <a:pt x="457804" y="424826"/>
                  </a:moveTo>
                  <a:lnTo>
                    <a:pt x="389985" y="424826"/>
                  </a:lnTo>
                  <a:lnTo>
                    <a:pt x="389985" y="372929"/>
                  </a:lnTo>
                  <a:lnTo>
                    <a:pt x="457908" y="372929"/>
                  </a:lnTo>
                  <a:close/>
                  <a:moveTo>
                    <a:pt x="457804" y="343141"/>
                  </a:moveTo>
                  <a:lnTo>
                    <a:pt x="389985" y="343141"/>
                  </a:lnTo>
                  <a:lnTo>
                    <a:pt x="389985" y="291244"/>
                  </a:lnTo>
                  <a:lnTo>
                    <a:pt x="457908" y="291244"/>
                  </a:lnTo>
                  <a:close/>
                  <a:moveTo>
                    <a:pt x="457804" y="261455"/>
                  </a:moveTo>
                  <a:lnTo>
                    <a:pt x="389985" y="261455"/>
                  </a:lnTo>
                  <a:lnTo>
                    <a:pt x="389985" y="209559"/>
                  </a:lnTo>
                  <a:lnTo>
                    <a:pt x="457908" y="209559"/>
                  </a:lnTo>
                  <a:close/>
                  <a:moveTo>
                    <a:pt x="457804" y="179770"/>
                  </a:moveTo>
                  <a:lnTo>
                    <a:pt x="389985" y="179770"/>
                  </a:lnTo>
                  <a:lnTo>
                    <a:pt x="389985" y="127873"/>
                  </a:lnTo>
                  <a:lnTo>
                    <a:pt x="457908" y="127873"/>
                  </a:lnTo>
                  <a:close/>
                  <a:moveTo>
                    <a:pt x="30119" y="30100"/>
                  </a:moveTo>
                  <a:lnTo>
                    <a:pt x="457804" y="30100"/>
                  </a:lnTo>
                  <a:lnTo>
                    <a:pt x="457804" y="98084"/>
                  </a:lnTo>
                  <a:lnTo>
                    <a:pt x="30119" y="98084"/>
                  </a:lnTo>
                  <a:close/>
                  <a:moveTo>
                    <a:pt x="163472" y="424514"/>
                  </a:moveTo>
                  <a:lnTo>
                    <a:pt x="30119" y="424514"/>
                  </a:lnTo>
                  <a:lnTo>
                    <a:pt x="30119" y="128185"/>
                  </a:lnTo>
                  <a:lnTo>
                    <a:pt x="163472" y="128185"/>
                  </a:ln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9" name="Freeform 468">
              <a:extLst>
                <a:ext uri="{FF2B5EF4-FFF2-40B4-BE49-F238E27FC236}">
                  <a16:creationId xmlns:a16="http://schemas.microsoft.com/office/drawing/2014/main" id="{0D02359D-C1DA-8746-AB12-DCE39375B3AF}"/>
                </a:ext>
              </a:extLst>
            </p:cNvPr>
            <p:cNvSpPr/>
            <p:nvPr/>
          </p:nvSpPr>
          <p:spPr>
            <a:xfrm>
              <a:off x="5053756" y="5637742"/>
              <a:ext cx="95549" cy="30099"/>
            </a:xfrm>
            <a:custGeom>
              <a:avLst/>
              <a:gdLst>
                <a:gd name="connsiteX0" fmla="*/ 15059 w 95549"/>
                <a:gd name="connsiteY0" fmla="*/ 30100 h 30099"/>
                <a:gd name="connsiteX1" fmla="*/ 80490 w 95549"/>
                <a:gd name="connsiteY1" fmla="*/ 30100 h 30099"/>
                <a:gd name="connsiteX2" fmla="*/ 95549 w 95549"/>
                <a:gd name="connsiteY2" fmla="*/ 15050 h 30099"/>
                <a:gd name="connsiteX3" fmla="*/ 80490 w 95549"/>
                <a:gd name="connsiteY3" fmla="*/ 0 h 30099"/>
                <a:gd name="connsiteX4" fmla="*/ 15059 w 95549"/>
                <a:gd name="connsiteY4" fmla="*/ 0 h 30099"/>
                <a:gd name="connsiteX5" fmla="*/ 0 w 95549"/>
                <a:gd name="connsiteY5" fmla="*/ 15050 h 30099"/>
                <a:gd name="connsiteX6" fmla="*/ 15059 w 95549"/>
                <a:gd name="connsiteY6" fmla="*/ 30100 h 30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549" h="30099">
                  <a:moveTo>
                    <a:pt x="15059" y="30100"/>
                  </a:moveTo>
                  <a:lnTo>
                    <a:pt x="80490" y="30100"/>
                  </a:lnTo>
                  <a:cubicBezTo>
                    <a:pt x="88809" y="30100"/>
                    <a:pt x="95549" y="23364"/>
                    <a:pt x="95549" y="15050"/>
                  </a:cubicBezTo>
                  <a:cubicBezTo>
                    <a:pt x="95549" y="6736"/>
                    <a:pt x="88809" y="0"/>
                    <a:pt x="80490" y="0"/>
                  </a:cubicBezTo>
                  <a:lnTo>
                    <a:pt x="15059" y="0"/>
                  </a:lnTo>
                  <a:cubicBezTo>
                    <a:pt x="6740" y="0"/>
                    <a:pt x="0" y="6736"/>
                    <a:pt x="0" y="15050"/>
                  </a:cubicBezTo>
                  <a:cubicBezTo>
                    <a:pt x="0" y="23364"/>
                    <a:pt x="6740" y="30100"/>
                    <a:pt x="15059" y="30100"/>
                  </a:cubicBez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0" name="Freeform 469">
              <a:extLst>
                <a:ext uri="{FF2B5EF4-FFF2-40B4-BE49-F238E27FC236}">
                  <a16:creationId xmlns:a16="http://schemas.microsoft.com/office/drawing/2014/main" id="{D944ECCE-D0DC-2C44-9C5F-51500C81BA2B}"/>
                </a:ext>
              </a:extLst>
            </p:cNvPr>
            <p:cNvSpPr/>
            <p:nvPr/>
          </p:nvSpPr>
          <p:spPr>
            <a:xfrm>
              <a:off x="4957584" y="5307161"/>
              <a:ext cx="95548" cy="30099"/>
            </a:xfrm>
            <a:custGeom>
              <a:avLst/>
              <a:gdLst>
                <a:gd name="connsiteX0" fmla="*/ 15059 w 95548"/>
                <a:gd name="connsiteY0" fmla="*/ 30100 h 30099"/>
                <a:gd name="connsiteX1" fmla="*/ 80490 w 95548"/>
                <a:gd name="connsiteY1" fmla="*/ 30100 h 30099"/>
                <a:gd name="connsiteX2" fmla="*/ 95549 w 95548"/>
                <a:gd name="connsiteY2" fmla="*/ 15050 h 30099"/>
                <a:gd name="connsiteX3" fmla="*/ 80490 w 95548"/>
                <a:gd name="connsiteY3" fmla="*/ 0 h 30099"/>
                <a:gd name="connsiteX4" fmla="*/ 15059 w 95548"/>
                <a:gd name="connsiteY4" fmla="*/ 0 h 30099"/>
                <a:gd name="connsiteX5" fmla="*/ 0 w 95548"/>
                <a:gd name="connsiteY5" fmla="*/ 15050 h 30099"/>
                <a:gd name="connsiteX6" fmla="*/ 15059 w 95548"/>
                <a:gd name="connsiteY6" fmla="*/ 30100 h 30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548" h="30099">
                  <a:moveTo>
                    <a:pt x="15059" y="30100"/>
                  </a:moveTo>
                  <a:lnTo>
                    <a:pt x="80490" y="30100"/>
                  </a:lnTo>
                  <a:cubicBezTo>
                    <a:pt x="88809" y="30100"/>
                    <a:pt x="95549" y="23364"/>
                    <a:pt x="95549" y="15050"/>
                  </a:cubicBezTo>
                  <a:cubicBezTo>
                    <a:pt x="95549" y="6736"/>
                    <a:pt x="88809" y="0"/>
                    <a:pt x="80490" y="0"/>
                  </a:cubicBezTo>
                  <a:lnTo>
                    <a:pt x="15059" y="0"/>
                  </a:lnTo>
                  <a:cubicBezTo>
                    <a:pt x="6740" y="0"/>
                    <a:pt x="0" y="6736"/>
                    <a:pt x="0" y="15050"/>
                  </a:cubicBezTo>
                  <a:cubicBezTo>
                    <a:pt x="0" y="23364"/>
                    <a:pt x="6740" y="30100"/>
                    <a:pt x="15059" y="30100"/>
                  </a:cubicBez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1" name="Freeform 470">
              <a:extLst>
                <a:ext uri="{FF2B5EF4-FFF2-40B4-BE49-F238E27FC236}">
                  <a16:creationId xmlns:a16="http://schemas.microsoft.com/office/drawing/2014/main" id="{C4A87476-6B16-464A-B346-6041B850A611}"/>
                </a:ext>
              </a:extLst>
            </p:cNvPr>
            <p:cNvSpPr/>
            <p:nvPr/>
          </p:nvSpPr>
          <p:spPr>
            <a:xfrm>
              <a:off x="4957584" y="5388950"/>
              <a:ext cx="95548" cy="30099"/>
            </a:xfrm>
            <a:custGeom>
              <a:avLst/>
              <a:gdLst>
                <a:gd name="connsiteX0" fmla="*/ 15059 w 95548"/>
                <a:gd name="connsiteY0" fmla="*/ 30100 h 30099"/>
                <a:gd name="connsiteX1" fmla="*/ 80490 w 95548"/>
                <a:gd name="connsiteY1" fmla="*/ 30100 h 30099"/>
                <a:gd name="connsiteX2" fmla="*/ 95549 w 95548"/>
                <a:gd name="connsiteY2" fmla="*/ 15050 h 30099"/>
                <a:gd name="connsiteX3" fmla="*/ 80490 w 95548"/>
                <a:gd name="connsiteY3" fmla="*/ 0 h 30099"/>
                <a:gd name="connsiteX4" fmla="*/ 15059 w 95548"/>
                <a:gd name="connsiteY4" fmla="*/ 0 h 30099"/>
                <a:gd name="connsiteX5" fmla="*/ 0 w 95548"/>
                <a:gd name="connsiteY5" fmla="*/ 15050 h 30099"/>
                <a:gd name="connsiteX6" fmla="*/ 15059 w 95548"/>
                <a:gd name="connsiteY6" fmla="*/ 30100 h 30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548" h="30099">
                  <a:moveTo>
                    <a:pt x="15059" y="30100"/>
                  </a:moveTo>
                  <a:lnTo>
                    <a:pt x="80490" y="30100"/>
                  </a:lnTo>
                  <a:cubicBezTo>
                    <a:pt x="88809" y="30100"/>
                    <a:pt x="95549" y="23364"/>
                    <a:pt x="95549" y="15050"/>
                  </a:cubicBezTo>
                  <a:cubicBezTo>
                    <a:pt x="95549" y="6736"/>
                    <a:pt x="88809" y="0"/>
                    <a:pt x="80490" y="0"/>
                  </a:cubicBezTo>
                  <a:lnTo>
                    <a:pt x="15059" y="0"/>
                  </a:lnTo>
                  <a:cubicBezTo>
                    <a:pt x="6740" y="0"/>
                    <a:pt x="0" y="6736"/>
                    <a:pt x="0" y="15050"/>
                  </a:cubicBezTo>
                  <a:cubicBezTo>
                    <a:pt x="0" y="23364"/>
                    <a:pt x="6740" y="30100"/>
                    <a:pt x="15059" y="30100"/>
                  </a:cubicBez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2" name="Freeform 471">
              <a:extLst>
                <a:ext uri="{FF2B5EF4-FFF2-40B4-BE49-F238E27FC236}">
                  <a16:creationId xmlns:a16="http://schemas.microsoft.com/office/drawing/2014/main" id="{0A6DECC4-801F-0B40-A2B6-4874DC174332}"/>
                </a:ext>
              </a:extLst>
            </p:cNvPr>
            <p:cNvSpPr/>
            <p:nvPr/>
          </p:nvSpPr>
          <p:spPr>
            <a:xfrm>
              <a:off x="4957584" y="5470635"/>
              <a:ext cx="95548" cy="30099"/>
            </a:xfrm>
            <a:custGeom>
              <a:avLst/>
              <a:gdLst>
                <a:gd name="connsiteX0" fmla="*/ 15059 w 95548"/>
                <a:gd name="connsiteY0" fmla="*/ 30100 h 30099"/>
                <a:gd name="connsiteX1" fmla="*/ 80490 w 95548"/>
                <a:gd name="connsiteY1" fmla="*/ 30100 h 30099"/>
                <a:gd name="connsiteX2" fmla="*/ 95549 w 95548"/>
                <a:gd name="connsiteY2" fmla="*/ 15050 h 30099"/>
                <a:gd name="connsiteX3" fmla="*/ 80490 w 95548"/>
                <a:gd name="connsiteY3" fmla="*/ 0 h 30099"/>
                <a:gd name="connsiteX4" fmla="*/ 15059 w 95548"/>
                <a:gd name="connsiteY4" fmla="*/ 0 h 30099"/>
                <a:gd name="connsiteX5" fmla="*/ 0 w 95548"/>
                <a:gd name="connsiteY5" fmla="*/ 15050 h 30099"/>
                <a:gd name="connsiteX6" fmla="*/ 15059 w 95548"/>
                <a:gd name="connsiteY6" fmla="*/ 30100 h 30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548" h="30099">
                  <a:moveTo>
                    <a:pt x="15059" y="30100"/>
                  </a:moveTo>
                  <a:lnTo>
                    <a:pt x="80490" y="30100"/>
                  </a:lnTo>
                  <a:cubicBezTo>
                    <a:pt x="88809" y="30100"/>
                    <a:pt x="95549" y="23364"/>
                    <a:pt x="95549" y="15050"/>
                  </a:cubicBezTo>
                  <a:cubicBezTo>
                    <a:pt x="95549" y="6736"/>
                    <a:pt x="88809" y="0"/>
                    <a:pt x="80490" y="0"/>
                  </a:cubicBezTo>
                  <a:lnTo>
                    <a:pt x="15059" y="0"/>
                  </a:lnTo>
                  <a:cubicBezTo>
                    <a:pt x="6740" y="0"/>
                    <a:pt x="0" y="6736"/>
                    <a:pt x="0" y="15050"/>
                  </a:cubicBezTo>
                  <a:cubicBezTo>
                    <a:pt x="0" y="23364"/>
                    <a:pt x="6740" y="30100"/>
                    <a:pt x="15059" y="30100"/>
                  </a:cubicBez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3" name="Freeform 472">
              <a:extLst>
                <a:ext uri="{FF2B5EF4-FFF2-40B4-BE49-F238E27FC236}">
                  <a16:creationId xmlns:a16="http://schemas.microsoft.com/office/drawing/2014/main" id="{6D7D0F09-F12E-854F-B410-6221DE354FFC}"/>
                </a:ext>
              </a:extLst>
            </p:cNvPr>
            <p:cNvSpPr/>
            <p:nvPr/>
          </p:nvSpPr>
          <p:spPr>
            <a:xfrm>
              <a:off x="4893409" y="5062105"/>
              <a:ext cx="224002" cy="30203"/>
            </a:xfrm>
            <a:custGeom>
              <a:avLst/>
              <a:gdLst>
                <a:gd name="connsiteX0" fmla="*/ 210095 w 224002"/>
                <a:gd name="connsiteY0" fmla="*/ 0 h 30203"/>
                <a:gd name="connsiteX1" fmla="*/ 13908 w 224002"/>
                <a:gd name="connsiteY1" fmla="*/ 0 h 30203"/>
                <a:gd name="connsiteX2" fmla="*/ 53 w 224002"/>
                <a:gd name="connsiteY2" fmla="*/ 16358 h 30203"/>
                <a:gd name="connsiteX3" fmla="*/ 13908 w 224002"/>
                <a:gd name="connsiteY3" fmla="*/ 30204 h 30203"/>
                <a:gd name="connsiteX4" fmla="*/ 210095 w 224002"/>
                <a:gd name="connsiteY4" fmla="*/ 30204 h 30203"/>
                <a:gd name="connsiteX5" fmla="*/ 223949 w 224002"/>
                <a:gd name="connsiteY5" fmla="*/ 13846 h 30203"/>
                <a:gd name="connsiteX6" fmla="*/ 210095 w 224002"/>
                <a:gd name="connsiteY6" fmla="*/ 0 h 30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4002" h="30203">
                  <a:moveTo>
                    <a:pt x="210095" y="0"/>
                  </a:moveTo>
                  <a:lnTo>
                    <a:pt x="13908" y="0"/>
                  </a:lnTo>
                  <a:cubicBezTo>
                    <a:pt x="5558" y="696"/>
                    <a:pt x="-643" y="8013"/>
                    <a:pt x="53" y="16358"/>
                  </a:cubicBezTo>
                  <a:cubicBezTo>
                    <a:pt x="666" y="23738"/>
                    <a:pt x="6524" y="29592"/>
                    <a:pt x="13908" y="30204"/>
                  </a:cubicBezTo>
                  <a:lnTo>
                    <a:pt x="210095" y="30204"/>
                  </a:lnTo>
                  <a:cubicBezTo>
                    <a:pt x="218445" y="29509"/>
                    <a:pt x="224645" y="22191"/>
                    <a:pt x="223949" y="13846"/>
                  </a:cubicBezTo>
                  <a:cubicBezTo>
                    <a:pt x="223336" y="6466"/>
                    <a:pt x="217479" y="613"/>
                    <a:pt x="210095" y="0"/>
                  </a:cubicBez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4" name="Freeform 473">
              <a:extLst>
                <a:ext uri="{FF2B5EF4-FFF2-40B4-BE49-F238E27FC236}">
                  <a16:creationId xmlns:a16="http://schemas.microsoft.com/office/drawing/2014/main" id="{DF1DEFFF-74C5-BD44-BDE0-29B0BD91B985}"/>
                </a:ext>
              </a:extLst>
            </p:cNvPr>
            <p:cNvSpPr/>
            <p:nvPr/>
          </p:nvSpPr>
          <p:spPr>
            <a:xfrm>
              <a:off x="5200299" y="5545055"/>
              <a:ext cx="39569" cy="7265"/>
            </a:xfrm>
            <a:custGeom>
              <a:avLst/>
              <a:gdLst>
                <a:gd name="connsiteX0" fmla="*/ 0 w 39569"/>
                <a:gd name="connsiteY0" fmla="*/ 7266 h 7265"/>
                <a:gd name="connsiteX1" fmla="*/ 39570 w 39569"/>
                <a:gd name="connsiteY1" fmla="*/ 7266 h 7265"/>
                <a:gd name="connsiteX2" fmla="*/ 0 w 39569"/>
                <a:gd name="connsiteY2" fmla="*/ 0 h 7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569" h="7265">
                  <a:moveTo>
                    <a:pt x="0" y="7266"/>
                  </a:moveTo>
                  <a:lnTo>
                    <a:pt x="39570" y="7266"/>
                  </a:lnTo>
                  <a:cubicBezTo>
                    <a:pt x="26515" y="4142"/>
                    <a:pt x="13315" y="1713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5" name="Freeform 474">
              <a:extLst>
                <a:ext uri="{FF2B5EF4-FFF2-40B4-BE49-F238E27FC236}">
                  <a16:creationId xmlns:a16="http://schemas.microsoft.com/office/drawing/2014/main" id="{45C5746F-284A-1940-82CB-1D5F7DEE93E3}"/>
                </a:ext>
              </a:extLst>
            </p:cNvPr>
            <p:cNvSpPr/>
            <p:nvPr/>
          </p:nvSpPr>
          <p:spPr>
            <a:xfrm>
              <a:off x="4980433" y="5743404"/>
              <a:ext cx="186726" cy="78042"/>
            </a:xfrm>
            <a:custGeom>
              <a:avLst/>
              <a:gdLst>
                <a:gd name="connsiteX0" fmla="*/ 166172 w 186726"/>
                <a:gd name="connsiteY0" fmla="*/ 76703 h 78042"/>
                <a:gd name="connsiteX1" fmla="*/ 185386 w 186726"/>
                <a:gd name="connsiteY1" fmla="*/ 69645 h 78042"/>
                <a:gd name="connsiteX2" fmla="*/ 178323 w 186726"/>
                <a:gd name="connsiteY2" fmla="*/ 50443 h 78042"/>
                <a:gd name="connsiteX3" fmla="*/ 68961 w 186726"/>
                <a:gd name="connsiteY3" fmla="*/ 0 h 78042"/>
                <a:gd name="connsiteX4" fmla="*/ 0 w 186726"/>
                <a:gd name="connsiteY4" fmla="*/ 0 h 78042"/>
                <a:gd name="connsiteX5" fmla="*/ 166172 w 186726"/>
                <a:gd name="connsiteY5" fmla="*/ 76703 h 78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6726" h="78042">
                  <a:moveTo>
                    <a:pt x="166172" y="76703"/>
                  </a:moveTo>
                  <a:cubicBezTo>
                    <a:pt x="173432" y="80056"/>
                    <a:pt x="182031" y="76900"/>
                    <a:pt x="185386" y="69645"/>
                  </a:cubicBezTo>
                  <a:cubicBezTo>
                    <a:pt x="188740" y="62390"/>
                    <a:pt x="185583" y="53796"/>
                    <a:pt x="178323" y="50443"/>
                  </a:cubicBezTo>
                  <a:cubicBezTo>
                    <a:pt x="177285" y="49925"/>
                    <a:pt x="128991" y="27817"/>
                    <a:pt x="68961" y="0"/>
                  </a:cubicBezTo>
                  <a:lnTo>
                    <a:pt x="0" y="0"/>
                  </a:lnTo>
                  <a:cubicBezTo>
                    <a:pt x="83397" y="38715"/>
                    <a:pt x="164822" y="76080"/>
                    <a:pt x="166172" y="76703"/>
                  </a:cubicBez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6" name="Freeform 475">
              <a:extLst>
                <a:ext uri="{FF2B5EF4-FFF2-40B4-BE49-F238E27FC236}">
                  <a16:creationId xmlns:a16="http://schemas.microsoft.com/office/drawing/2014/main" id="{45B554AF-4FF8-4E4C-AFE2-3331488892C8}"/>
                </a:ext>
              </a:extLst>
            </p:cNvPr>
            <p:cNvSpPr/>
            <p:nvPr/>
          </p:nvSpPr>
          <p:spPr>
            <a:xfrm>
              <a:off x="4756889" y="5639265"/>
              <a:ext cx="709457" cy="328452"/>
            </a:xfrm>
            <a:custGeom>
              <a:avLst/>
              <a:gdLst>
                <a:gd name="connsiteX0" fmla="*/ 695888 w 709457"/>
                <a:gd name="connsiteY0" fmla="*/ 299167 h 328452"/>
                <a:gd name="connsiteX1" fmla="*/ 408514 w 709457"/>
                <a:gd name="connsiteY1" fmla="*/ 272284 h 328452"/>
                <a:gd name="connsiteX2" fmla="*/ 29642 w 709457"/>
                <a:gd name="connsiteY2" fmla="*/ 82031 h 328452"/>
                <a:gd name="connsiteX3" fmla="*/ 40028 w 709457"/>
                <a:gd name="connsiteY3" fmla="*/ 31795 h 328452"/>
                <a:gd name="connsiteX4" fmla="*/ 78144 w 709457"/>
                <a:gd name="connsiteY4" fmla="*/ 36570 h 328452"/>
                <a:gd name="connsiteX5" fmla="*/ 78144 w 709457"/>
                <a:gd name="connsiteY5" fmla="*/ 5432 h 328452"/>
                <a:gd name="connsiteX6" fmla="*/ 22580 w 709457"/>
                <a:gd name="connsiteY6" fmla="*/ 8857 h 328452"/>
                <a:gd name="connsiteX7" fmla="*/ 1808 w 709457"/>
                <a:gd name="connsiteY7" fmla="*/ 94071 h 328452"/>
                <a:gd name="connsiteX8" fmla="*/ 9494 w 709457"/>
                <a:gd name="connsiteY8" fmla="*/ 104451 h 328452"/>
                <a:gd name="connsiteX9" fmla="*/ 397713 w 709457"/>
                <a:gd name="connsiteY9" fmla="*/ 299790 h 328452"/>
                <a:gd name="connsiteX10" fmla="*/ 402906 w 709457"/>
                <a:gd name="connsiteY10" fmla="*/ 301243 h 328452"/>
                <a:gd name="connsiteX11" fmla="*/ 692980 w 709457"/>
                <a:gd name="connsiteY11" fmla="*/ 328437 h 328452"/>
                <a:gd name="connsiteX12" fmla="*/ 694330 w 709457"/>
                <a:gd name="connsiteY12" fmla="*/ 328437 h 328452"/>
                <a:gd name="connsiteX13" fmla="*/ 709441 w 709457"/>
                <a:gd name="connsiteY13" fmla="*/ 314684 h 328452"/>
                <a:gd name="connsiteX14" fmla="*/ 695680 w 709457"/>
                <a:gd name="connsiteY14" fmla="*/ 299582 h 328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09457" h="328452">
                  <a:moveTo>
                    <a:pt x="695888" y="299167"/>
                  </a:moveTo>
                  <a:lnTo>
                    <a:pt x="408514" y="272284"/>
                  </a:lnTo>
                  <a:lnTo>
                    <a:pt x="29642" y="82031"/>
                  </a:lnTo>
                  <a:cubicBezTo>
                    <a:pt x="28084" y="65840"/>
                    <a:pt x="29019" y="40514"/>
                    <a:pt x="40028" y="31795"/>
                  </a:cubicBezTo>
                  <a:cubicBezTo>
                    <a:pt x="49375" y="24738"/>
                    <a:pt x="67550" y="31795"/>
                    <a:pt x="78144" y="36570"/>
                  </a:cubicBezTo>
                  <a:lnTo>
                    <a:pt x="78144" y="5432"/>
                  </a:lnTo>
                  <a:cubicBezTo>
                    <a:pt x="55295" y="-2768"/>
                    <a:pt x="36601" y="-1730"/>
                    <a:pt x="22580" y="8857"/>
                  </a:cubicBezTo>
                  <a:cubicBezTo>
                    <a:pt x="-7643" y="31692"/>
                    <a:pt x="874" y="87740"/>
                    <a:pt x="1808" y="94071"/>
                  </a:cubicBezTo>
                  <a:cubicBezTo>
                    <a:pt x="2577" y="98555"/>
                    <a:pt x="5433" y="102406"/>
                    <a:pt x="9494" y="104451"/>
                  </a:cubicBezTo>
                  <a:lnTo>
                    <a:pt x="397713" y="299790"/>
                  </a:lnTo>
                  <a:cubicBezTo>
                    <a:pt x="399364" y="300527"/>
                    <a:pt x="401109" y="301014"/>
                    <a:pt x="402906" y="301243"/>
                  </a:cubicBezTo>
                  <a:lnTo>
                    <a:pt x="692980" y="328437"/>
                  </a:lnTo>
                  <a:lnTo>
                    <a:pt x="694330" y="328437"/>
                  </a:lnTo>
                  <a:cubicBezTo>
                    <a:pt x="702306" y="328810"/>
                    <a:pt x="709068" y="322656"/>
                    <a:pt x="709441" y="314684"/>
                  </a:cubicBezTo>
                  <a:cubicBezTo>
                    <a:pt x="709815" y="306713"/>
                    <a:pt x="703657" y="299956"/>
                    <a:pt x="695680" y="299582"/>
                  </a:cubicBez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7" name="Freeform 476">
              <a:extLst>
                <a:ext uri="{FF2B5EF4-FFF2-40B4-BE49-F238E27FC236}">
                  <a16:creationId xmlns:a16="http://schemas.microsoft.com/office/drawing/2014/main" id="{E8B6B8FF-7161-ED42-B01B-85099864730B}"/>
                </a:ext>
              </a:extLst>
            </p:cNvPr>
            <p:cNvSpPr/>
            <p:nvPr/>
          </p:nvSpPr>
          <p:spPr>
            <a:xfrm>
              <a:off x="6672271" y="2438937"/>
              <a:ext cx="579836" cy="547094"/>
            </a:xfrm>
            <a:custGeom>
              <a:avLst/>
              <a:gdLst>
                <a:gd name="connsiteX0" fmla="*/ 524377 w 579836"/>
                <a:gd name="connsiteY0" fmla="*/ 170636 h 547094"/>
                <a:gd name="connsiteX1" fmla="*/ 423012 w 579836"/>
                <a:gd name="connsiteY1" fmla="*/ 170636 h 547094"/>
                <a:gd name="connsiteX2" fmla="*/ 423012 w 579836"/>
                <a:gd name="connsiteY2" fmla="*/ 55737 h 547094"/>
                <a:gd name="connsiteX3" fmla="*/ 367344 w 579836"/>
                <a:gd name="connsiteY3" fmla="*/ 0 h 547094"/>
                <a:gd name="connsiteX4" fmla="*/ 55772 w 579836"/>
                <a:gd name="connsiteY4" fmla="*/ 0 h 547094"/>
                <a:gd name="connsiteX5" fmla="*/ 0 w 579836"/>
                <a:gd name="connsiteY5" fmla="*/ 55737 h 547094"/>
                <a:gd name="connsiteX6" fmla="*/ 0 w 579836"/>
                <a:gd name="connsiteY6" fmla="*/ 320825 h 547094"/>
                <a:gd name="connsiteX7" fmla="*/ 55772 w 579836"/>
                <a:gd name="connsiteY7" fmla="*/ 376458 h 547094"/>
                <a:gd name="connsiteX8" fmla="*/ 156825 w 579836"/>
                <a:gd name="connsiteY8" fmla="*/ 376458 h 547094"/>
                <a:gd name="connsiteX9" fmla="*/ 156825 w 579836"/>
                <a:gd name="connsiteY9" fmla="*/ 491358 h 547094"/>
                <a:gd name="connsiteX10" fmla="*/ 212596 w 579836"/>
                <a:gd name="connsiteY10" fmla="*/ 547095 h 547094"/>
                <a:gd name="connsiteX11" fmla="*/ 524169 w 579836"/>
                <a:gd name="connsiteY11" fmla="*/ 547095 h 547094"/>
                <a:gd name="connsiteX12" fmla="*/ 579837 w 579836"/>
                <a:gd name="connsiteY12" fmla="*/ 491358 h 547094"/>
                <a:gd name="connsiteX13" fmla="*/ 579837 w 579836"/>
                <a:gd name="connsiteY13" fmla="*/ 226269 h 547094"/>
                <a:gd name="connsiteX14" fmla="*/ 524377 w 579836"/>
                <a:gd name="connsiteY14" fmla="*/ 170636 h 547094"/>
                <a:gd name="connsiteX15" fmla="*/ 562492 w 579836"/>
                <a:gd name="connsiteY15" fmla="*/ 491358 h 547094"/>
                <a:gd name="connsiteX16" fmla="*/ 524377 w 579836"/>
                <a:gd name="connsiteY16" fmla="*/ 529450 h 547094"/>
                <a:gd name="connsiteX17" fmla="*/ 212804 w 579836"/>
                <a:gd name="connsiteY17" fmla="*/ 529450 h 547094"/>
                <a:gd name="connsiteX18" fmla="*/ 174688 w 579836"/>
                <a:gd name="connsiteY18" fmla="*/ 491358 h 547094"/>
                <a:gd name="connsiteX19" fmla="*/ 174688 w 579836"/>
                <a:gd name="connsiteY19" fmla="*/ 270174 h 547094"/>
                <a:gd name="connsiteX20" fmla="*/ 157033 w 579836"/>
                <a:gd name="connsiteY20" fmla="*/ 270174 h 547094"/>
                <a:gd name="connsiteX21" fmla="*/ 157033 w 579836"/>
                <a:gd name="connsiteY21" fmla="*/ 358917 h 547094"/>
                <a:gd name="connsiteX22" fmla="*/ 55979 w 579836"/>
                <a:gd name="connsiteY22" fmla="*/ 358917 h 547094"/>
                <a:gd name="connsiteX23" fmla="*/ 17760 w 579836"/>
                <a:gd name="connsiteY23" fmla="*/ 320825 h 547094"/>
                <a:gd name="connsiteX24" fmla="*/ 17760 w 579836"/>
                <a:gd name="connsiteY24" fmla="*/ 55737 h 547094"/>
                <a:gd name="connsiteX25" fmla="*/ 55979 w 579836"/>
                <a:gd name="connsiteY25" fmla="*/ 17645 h 547094"/>
                <a:gd name="connsiteX26" fmla="*/ 367552 w 579836"/>
                <a:gd name="connsiteY26" fmla="*/ 17645 h 547094"/>
                <a:gd name="connsiteX27" fmla="*/ 405667 w 579836"/>
                <a:gd name="connsiteY27" fmla="*/ 55737 h 547094"/>
                <a:gd name="connsiteX28" fmla="*/ 405667 w 579836"/>
                <a:gd name="connsiteY28" fmla="*/ 170636 h 547094"/>
                <a:gd name="connsiteX29" fmla="*/ 267745 w 579836"/>
                <a:gd name="connsiteY29" fmla="*/ 170636 h 547094"/>
                <a:gd name="connsiteX30" fmla="*/ 267745 w 579836"/>
                <a:gd name="connsiteY30" fmla="*/ 188177 h 547094"/>
                <a:gd name="connsiteX31" fmla="*/ 524377 w 579836"/>
                <a:gd name="connsiteY31" fmla="*/ 188177 h 547094"/>
                <a:gd name="connsiteX32" fmla="*/ 562492 w 579836"/>
                <a:gd name="connsiteY32" fmla="*/ 226269 h 547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579836" h="547094">
                  <a:moveTo>
                    <a:pt x="524377" y="170636"/>
                  </a:moveTo>
                  <a:lnTo>
                    <a:pt x="423012" y="170636"/>
                  </a:lnTo>
                  <a:lnTo>
                    <a:pt x="423012" y="55737"/>
                  </a:lnTo>
                  <a:cubicBezTo>
                    <a:pt x="423012" y="24993"/>
                    <a:pt x="398107" y="62"/>
                    <a:pt x="367344" y="0"/>
                  </a:cubicBezTo>
                  <a:lnTo>
                    <a:pt x="55772" y="0"/>
                  </a:lnTo>
                  <a:cubicBezTo>
                    <a:pt x="24999" y="62"/>
                    <a:pt x="62" y="24983"/>
                    <a:pt x="0" y="55737"/>
                  </a:cubicBezTo>
                  <a:lnTo>
                    <a:pt x="0" y="320825"/>
                  </a:lnTo>
                  <a:cubicBezTo>
                    <a:pt x="62" y="351569"/>
                    <a:pt x="25009" y="376458"/>
                    <a:pt x="55772" y="376458"/>
                  </a:cubicBezTo>
                  <a:lnTo>
                    <a:pt x="156825" y="376458"/>
                  </a:lnTo>
                  <a:lnTo>
                    <a:pt x="156825" y="491358"/>
                  </a:lnTo>
                  <a:cubicBezTo>
                    <a:pt x="156877" y="522111"/>
                    <a:pt x="181824" y="547043"/>
                    <a:pt x="212596" y="547095"/>
                  </a:cubicBezTo>
                  <a:lnTo>
                    <a:pt x="524169" y="547095"/>
                  </a:lnTo>
                  <a:cubicBezTo>
                    <a:pt x="554932" y="547032"/>
                    <a:pt x="579837" y="522101"/>
                    <a:pt x="579837" y="491358"/>
                  </a:cubicBezTo>
                  <a:lnTo>
                    <a:pt x="579837" y="226269"/>
                  </a:lnTo>
                  <a:cubicBezTo>
                    <a:pt x="579785" y="195650"/>
                    <a:pt x="555015" y="170802"/>
                    <a:pt x="524377" y="170636"/>
                  </a:cubicBezTo>
                  <a:close/>
                  <a:moveTo>
                    <a:pt x="562492" y="491358"/>
                  </a:moveTo>
                  <a:cubicBezTo>
                    <a:pt x="562492" y="512396"/>
                    <a:pt x="545429" y="529450"/>
                    <a:pt x="524377" y="529450"/>
                  </a:cubicBezTo>
                  <a:lnTo>
                    <a:pt x="212804" y="529450"/>
                  </a:lnTo>
                  <a:cubicBezTo>
                    <a:pt x="191752" y="529450"/>
                    <a:pt x="174688" y="512396"/>
                    <a:pt x="174688" y="491358"/>
                  </a:cubicBezTo>
                  <a:lnTo>
                    <a:pt x="174688" y="270174"/>
                  </a:lnTo>
                  <a:lnTo>
                    <a:pt x="157033" y="270174"/>
                  </a:lnTo>
                  <a:lnTo>
                    <a:pt x="157033" y="358917"/>
                  </a:lnTo>
                  <a:lnTo>
                    <a:pt x="55979" y="358917"/>
                  </a:lnTo>
                  <a:cubicBezTo>
                    <a:pt x="34917" y="358917"/>
                    <a:pt x="17822" y="341885"/>
                    <a:pt x="17760" y="320825"/>
                  </a:cubicBezTo>
                  <a:lnTo>
                    <a:pt x="17760" y="55737"/>
                  </a:lnTo>
                  <a:cubicBezTo>
                    <a:pt x="17822" y="34688"/>
                    <a:pt x="34917" y="17645"/>
                    <a:pt x="55979" y="17645"/>
                  </a:cubicBezTo>
                  <a:lnTo>
                    <a:pt x="367552" y="17645"/>
                  </a:lnTo>
                  <a:cubicBezTo>
                    <a:pt x="388583" y="17697"/>
                    <a:pt x="405616" y="34719"/>
                    <a:pt x="405667" y="55737"/>
                  </a:cubicBezTo>
                  <a:lnTo>
                    <a:pt x="405667" y="170636"/>
                  </a:lnTo>
                  <a:lnTo>
                    <a:pt x="267745" y="170636"/>
                  </a:lnTo>
                  <a:lnTo>
                    <a:pt x="267745" y="188177"/>
                  </a:lnTo>
                  <a:lnTo>
                    <a:pt x="524377" y="188177"/>
                  </a:lnTo>
                  <a:cubicBezTo>
                    <a:pt x="545408" y="188229"/>
                    <a:pt x="562440" y="205251"/>
                    <a:pt x="562492" y="226269"/>
                  </a:cubicBez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8" name="Freeform 477">
              <a:extLst>
                <a:ext uri="{FF2B5EF4-FFF2-40B4-BE49-F238E27FC236}">
                  <a16:creationId xmlns:a16="http://schemas.microsoft.com/office/drawing/2014/main" id="{BD046845-FA5B-834D-B37C-01E8B7AB6B39}"/>
                </a:ext>
              </a:extLst>
            </p:cNvPr>
            <p:cNvSpPr/>
            <p:nvPr/>
          </p:nvSpPr>
          <p:spPr>
            <a:xfrm>
              <a:off x="6873227" y="2650926"/>
              <a:ext cx="167325" cy="170386"/>
            </a:xfrm>
            <a:custGeom>
              <a:avLst/>
              <a:gdLst>
                <a:gd name="connsiteX0" fmla="*/ 80706 w 167325"/>
                <a:gd name="connsiteY0" fmla="*/ 157100 h 170386"/>
                <a:gd name="connsiteX1" fmla="*/ 80717 w 167325"/>
                <a:gd name="connsiteY1" fmla="*/ 168113 h 170386"/>
                <a:gd name="connsiteX2" fmla="*/ 86315 w 167325"/>
                <a:gd name="connsiteY2" fmla="*/ 170386 h 170386"/>
                <a:gd name="connsiteX3" fmla="*/ 159015 w 167325"/>
                <a:gd name="connsiteY3" fmla="*/ 169659 h 170386"/>
                <a:gd name="connsiteX4" fmla="*/ 164416 w 167325"/>
                <a:gd name="connsiteY4" fmla="*/ 167376 h 170386"/>
                <a:gd name="connsiteX5" fmla="*/ 166700 w 167325"/>
                <a:gd name="connsiteY5" fmla="*/ 161978 h 170386"/>
                <a:gd name="connsiteX6" fmla="*/ 167324 w 167325"/>
                <a:gd name="connsiteY6" fmla="*/ 89323 h 170386"/>
                <a:gd name="connsiteX7" fmla="*/ 159783 w 167325"/>
                <a:gd name="connsiteY7" fmla="*/ 81497 h 170386"/>
                <a:gd name="connsiteX8" fmla="*/ 154134 w 167325"/>
                <a:gd name="connsiteY8" fmla="*/ 83822 h 170386"/>
                <a:gd name="connsiteX9" fmla="*/ 132323 w 167325"/>
                <a:gd name="connsiteY9" fmla="*/ 105619 h 170386"/>
                <a:gd name="connsiteX10" fmla="*/ 127546 w 167325"/>
                <a:gd name="connsiteY10" fmla="*/ 105619 h 170386"/>
                <a:gd name="connsiteX11" fmla="*/ 29297 w 167325"/>
                <a:gd name="connsiteY11" fmla="*/ 5043 h 170386"/>
                <a:gd name="connsiteX12" fmla="*/ 5046 w 167325"/>
                <a:gd name="connsiteY12" fmla="*/ 4991 h 170386"/>
                <a:gd name="connsiteX13" fmla="*/ 4994 w 167325"/>
                <a:gd name="connsiteY13" fmla="*/ 29227 h 170386"/>
                <a:gd name="connsiteX14" fmla="*/ 103139 w 167325"/>
                <a:gd name="connsiteY14" fmla="*/ 129803 h 170386"/>
                <a:gd name="connsiteX15" fmla="*/ 103212 w 167325"/>
                <a:gd name="connsiteY15" fmla="*/ 134494 h 170386"/>
                <a:gd name="connsiteX16" fmla="*/ 103139 w 167325"/>
                <a:gd name="connsiteY16" fmla="*/ 134577 h 17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67325" h="170386">
                  <a:moveTo>
                    <a:pt x="80706" y="157100"/>
                  </a:moveTo>
                  <a:cubicBezTo>
                    <a:pt x="77663" y="160141"/>
                    <a:pt x="77674" y="165072"/>
                    <a:pt x="80717" y="168113"/>
                  </a:cubicBezTo>
                  <a:cubicBezTo>
                    <a:pt x="82202" y="169587"/>
                    <a:pt x="84217" y="170417"/>
                    <a:pt x="86315" y="170386"/>
                  </a:cubicBezTo>
                  <a:lnTo>
                    <a:pt x="159015" y="169659"/>
                  </a:lnTo>
                  <a:cubicBezTo>
                    <a:pt x="161051" y="169638"/>
                    <a:pt x="162993" y="168819"/>
                    <a:pt x="164416" y="167376"/>
                  </a:cubicBezTo>
                  <a:cubicBezTo>
                    <a:pt x="165869" y="165954"/>
                    <a:pt x="166690" y="164013"/>
                    <a:pt x="166700" y="161978"/>
                  </a:cubicBezTo>
                  <a:lnTo>
                    <a:pt x="167324" y="89323"/>
                  </a:lnTo>
                  <a:cubicBezTo>
                    <a:pt x="167407" y="85078"/>
                    <a:pt x="164021" y="81580"/>
                    <a:pt x="159783" y="81497"/>
                  </a:cubicBezTo>
                  <a:cubicBezTo>
                    <a:pt x="157654" y="81466"/>
                    <a:pt x="155619" y="82307"/>
                    <a:pt x="154134" y="83822"/>
                  </a:cubicBezTo>
                  <a:lnTo>
                    <a:pt x="132323" y="105619"/>
                  </a:lnTo>
                  <a:cubicBezTo>
                    <a:pt x="130973" y="106854"/>
                    <a:pt x="128896" y="106854"/>
                    <a:pt x="127546" y="105619"/>
                  </a:cubicBezTo>
                  <a:lnTo>
                    <a:pt x="29297" y="5043"/>
                  </a:lnTo>
                  <a:cubicBezTo>
                    <a:pt x="22619" y="-1662"/>
                    <a:pt x="11755" y="-1683"/>
                    <a:pt x="5046" y="4991"/>
                  </a:cubicBezTo>
                  <a:cubicBezTo>
                    <a:pt x="-1663" y="11665"/>
                    <a:pt x="-1684" y="22522"/>
                    <a:pt x="4994" y="29227"/>
                  </a:cubicBezTo>
                  <a:lnTo>
                    <a:pt x="103139" y="129803"/>
                  </a:lnTo>
                  <a:cubicBezTo>
                    <a:pt x="104459" y="131079"/>
                    <a:pt x="104490" y="133176"/>
                    <a:pt x="103212" y="134494"/>
                  </a:cubicBezTo>
                  <a:cubicBezTo>
                    <a:pt x="103191" y="134525"/>
                    <a:pt x="103171" y="134556"/>
                    <a:pt x="103139" y="134577"/>
                  </a:cubicBez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9" name="Freeform 478">
              <a:extLst>
                <a:ext uri="{FF2B5EF4-FFF2-40B4-BE49-F238E27FC236}">
                  <a16:creationId xmlns:a16="http://schemas.microsoft.com/office/drawing/2014/main" id="{30A9AFD5-B7C8-7D43-9129-C7B79C19F6DA}"/>
                </a:ext>
              </a:extLst>
            </p:cNvPr>
            <p:cNvSpPr/>
            <p:nvPr/>
          </p:nvSpPr>
          <p:spPr>
            <a:xfrm>
              <a:off x="6767820" y="2547401"/>
              <a:ext cx="94718" cy="94659"/>
            </a:xfrm>
            <a:custGeom>
              <a:avLst/>
              <a:gdLst>
                <a:gd name="connsiteX0" fmla="*/ 94718 w 94718"/>
                <a:gd name="connsiteY0" fmla="*/ 47330 h 94659"/>
                <a:gd name="connsiteX1" fmla="*/ 47359 w 94718"/>
                <a:gd name="connsiteY1" fmla="*/ 94659 h 94659"/>
                <a:gd name="connsiteX2" fmla="*/ 0 w 94718"/>
                <a:gd name="connsiteY2" fmla="*/ 47330 h 94659"/>
                <a:gd name="connsiteX3" fmla="*/ 47359 w 94718"/>
                <a:gd name="connsiteY3" fmla="*/ 0 h 94659"/>
                <a:gd name="connsiteX4" fmla="*/ 94718 w 94718"/>
                <a:gd name="connsiteY4" fmla="*/ 47330 h 94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4718" h="94659">
                  <a:moveTo>
                    <a:pt x="94718" y="47330"/>
                  </a:moveTo>
                  <a:cubicBezTo>
                    <a:pt x="94718" y="73469"/>
                    <a:pt x="73515" y="94659"/>
                    <a:pt x="47359" y="94659"/>
                  </a:cubicBezTo>
                  <a:cubicBezTo>
                    <a:pt x="21203" y="94659"/>
                    <a:pt x="0" y="73469"/>
                    <a:pt x="0" y="47330"/>
                  </a:cubicBezTo>
                  <a:cubicBezTo>
                    <a:pt x="0" y="21190"/>
                    <a:pt x="21204" y="0"/>
                    <a:pt x="47359" y="0"/>
                  </a:cubicBezTo>
                  <a:cubicBezTo>
                    <a:pt x="73515" y="0"/>
                    <a:pt x="94718" y="21190"/>
                    <a:pt x="94718" y="47330"/>
                  </a:cubicBez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0" name="Freeform 479">
              <a:extLst>
                <a:ext uri="{FF2B5EF4-FFF2-40B4-BE49-F238E27FC236}">
                  <a16:creationId xmlns:a16="http://schemas.microsoft.com/office/drawing/2014/main" id="{A560112C-E9BC-0140-81A0-3130CAF4C5D2}"/>
                </a:ext>
              </a:extLst>
            </p:cNvPr>
            <p:cNvSpPr/>
            <p:nvPr/>
          </p:nvSpPr>
          <p:spPr>
            <a:xfrm>
              <a:off x="9864952" y="3576093"/>
              <a:ext cx="55256" cy="55213"/>
            </a:xfrm>
            <a:custGeom>
              <a:avLst/>
              <a:gdLst>
                <a:gd name="connsiteX0" fmla="*/ 28045 w 55256"/>
                <a:gd name="connsiteY0" fmla="*/ 3 h 55213"/>
                <a:gd name="connsiteX1" fmla="*/ 3 w 55256"/>
                <a:gd name="connsiteY1" fmla="*/ 27197 h 55213"/>
                <a:gd name="connsiteX2" fmla="*/ 27214 w 55256"/>
                <a:gd name="connsiteY2" fmla="*/ 55211 h 55213"/>
                <a:gd name="connsiteX3" fmla="*/ 55255 w 55256"/>
                <a:gd name="connsiteY3" fmla="*/ 28027 h 55213"/>
                <a:gd name="connsiteX4" fmla="*/ 55255 w 55256"/>
                <a:gd name="connsiteY4" fmla="*/ 27820 h 55213"/>
                <a:gd name="connsiteX5" fmla="*/ 28045 w 55256"/>
                <a:gd name="connsiteY5" fmla="*/ 3 h 55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5256" h="55213">
                  <a:moveTo>
                    <a:pt x="28045" y="3"/>
                  </a:moveTo>
                  <a:cubicBezTo>
                    <a:pt x="12788" y="-225"/>
                    <a:pt x="232" y="11950"/>
                    <a:pt x="3" y="27197"/>
                  </a:cubicBezTo>
                  <a:cubicBezTo>
                    <a:pt x="-225" y="42444"/>
                    <a:pt x="11957" y="54982"/>
                    <a:pt x="27214" y="55211"/>
                  </a:cubicBezTo>
                  <a:cubicBezTo>
                    <a:pt x="42470" y="55439"/>
                    <a:pt x="55027" y="43274"/>
                    <a:pt x="55255" y="28027"/>
                  </a:cubicBezTo>
                  <a:cubicBezTo>
                    <a:pt x="55255" y="27955"/>
                    <a:pt x="55255" y="27892"/>
                    <a:pt x="55255" y="27820"/>
                  </a:cubicBezTo>
                  <a:cubicBezTo>
                    <a:pt x="55370" y="12656"/>
                    <a:pt x="43218" y="231"/>
                    <a:pt x="28045" y="3"/>
                  </a:cubicBezTo>
                  <a:close/>
                </a:path>
              </a:pathLst>
            </a:custGeom>
            <a:noFill/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1" name="Freeform 480">
              <a:extLst>
                <a:ext uri="{FF2B5EF4-FFF2-40B4-BE49-F238E27FC236}">
                  <a16:creationId xmlns:a16="http://schemas.microsoft.com/office/drawing/2014/main" id="{FB4D8D69-874B-5643-BA10-112CA58F65FE}"/>
                </a:ext>
              </a:extLst>
            </p:cNvPr>
            <p:cNvSpPr/>
            <p:nvPr/>
          </p:nvSpPr>
          <p:spPr>
            <a:xfrm>
              <a:off x="9689540" y="3323671"/>
              <a:ext cx="833041" cy="50858"/>
            </a:xfrm>
            <a:custGeom>
              <a:avLst/>
              <a:gdLst>
                <a:gd name="connsiteX0" fmla="*/ 833041 w 833041"/>
                <a:gd name="connsiteY0" fmla="*/ 0 h 50858"/>
                <a:gd name="connsiteX1" fmla="*/ 935 w 833041"/>
                <a:gd name="connsiteY1" fmla="*/ 0 h 50858"/>
                <a:gd name="connsiteX2" fmla="*/ 935 w 833041"/>
                <a:gd name="connsiteY2" fmla="*/ 17645 h 50858"/>
                <a:gd name="connsiteX3" fmla="*/ 15475 w 833041"/>
                <a:gd name="connsiteY3" fmla="*/ 8407 h 50858"/>
                <a:gd name="connsiteX4" fmla="*/ 42582 w 833041"/>
                <a:gd name="connsiteY4" fmla="*/ 8407 h 50858"/>
                <a:gd name="connsiteX5" fmla="*/ 52968 w 833041"/>
                <a:gd name="connsiteY5" fmla="*/ 11832 h 50858"/>
                <a:gd name="connsiteX6" fmla="*/ 63353 w 833041"/>
                <a:gd name="connsiteY6" fmla="*/ 8407 h 50858"/>
                <a:gd name="connsiteX7" fmla="*/ 90460 w 833041"/>
                <a:gd name="connsiteY7" fmla="*/ 8407 h 50858"/>
                <a:gd name="connsiteX8" fmla="*/ 110297 w 833041"/>
                <a:gd name="connsiteY8" fmla="*/ 8407 h 50858"/>
                <a:gd name="connsiteX9" fmla="*/ 137508 w 833041"/>
                <a:gd name="connsiteY9" fmla="*/ 8407 h 50858"/>
                <a:gd name="connsiteX10" fmla="*/ 152463 w 833041"/>
                <a:gd name="connsiteY10" fmla="*/ 25948 h 50858"/>
                <a:gd name="connsiteX11" fmla="*/ 137508 w 833041"/>
                <a:gd name="connsiteY11" fmla="*/ 40895 h 50858"/>
                <a:gd name="connsiteX12" fmla="*/ 110297 w 833041"/>
                <a:gd name="connsiteY12" fmla="*/ 40895 h 50858"/>
                <a:gd name="connsiteX13" fmla="*/ 90460 w 833041"/>
                <a:gd name="connsiteY13" fmla="*/ 40895 h 50858"/>
                <a:gd name="connsiteX14" fmla="*/ 62418 w 833041"/>
                <a:gd name="connsiteY14" fmla="*/ 40895 h 50858"/>
                <a:gd name="connsiteX15" fmla="*/ 52033 w 833041"/>
                <a:gd name="connsiteY15" fmla="*/ 37469 h 50858"/>
                <a:gd name="connsiteX16" fmla="*/ 41647 w 833041"/>
                <a:gd name="connsiteY16" fmla="*/ 40895 h 50858"/>
                <a:gd name="connsiteX17" fmla="*/ 14540 w 833041"/>
                <a:gd name="connsiteY17" fmla="*/ 40895 h 50858"/>
                <a:gd name="connsiteX18" fmla="*/ 0 w 833041"/>
                <a:gd name="connsiteY18" fmla="*/ 31761 h 50858"/>
                <a:gd name="connsiteX19" fmla="*/ 0 w 833041"/>
                <a:gd name="connsiteY19" fmla="*/ 50859 h 50858"/>
                <a:gd name="connsiteX20" fmla="*/ 833041 w 833041"/>
                <a:gd name="connsiteY20" fmla="*/ 50859 h 50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833041" h="50858">
                  <a:moveTo>
                    <a:pt x="833041" y="0"/>
                  </a:moveTo>
                  <a:lnTo>
                    <a:pt x="935" y="0"/>
                  </a:lnTo>
                  <a:lnTo>
                    <a:pt x="935" y="17645"/>
                  </a:lnTo>
                  <a:cubicBezTo>
                    <a:pt x="3625" y="12050"/>
                    <a:pt x="9264" y="8469"/>
                    <a:pt x="15475" y="8407"/>
                  </a:cubicBezTo>
                  <a:lnTo>
                    <a:pt x="42582" y="8407"/>
                  </a:lnTo>
                  <a:cubicBezTo>
                    <a:pt x="46342" y="8293"/>
                    <a:pt x="50018" y="9507"/>
                    <a:pt x="52968" y="11832"/>
                  </a:cubicBezTo>
                  <a:cubicBezTo>
                    <a:pt x="55938" y="9549"/>
                    <a:pt x="59604" y="8335"/>
                    <a:pt x="63353" y="8407"/>
                  </a:cubicBezTo>
                  <a:lnTo>
                    <a:pt x="90460" y="8407"/>
                  </a:lnTo>
                  <a:cubicBezTo>
                    <a:pt x="96286" y="12964"/>
                    <a:pt x="104470" y="12964"/>
                    <a:pt x="110297" y="8407"/>
                  </a:cubicBezTo>
                  <a:lnTo>
                    <a:pt x="137508" y="8407"/>
                  </a:lnTo>
                  <a:cubicBezTo>
                    <a:pt x="146481" y="9123"/>
                    <a:pt x="153180" y="16981"/>
                    <a:pt x="152463" y="25948"/>
                  </a:cubicBezTo>
                  <a:cubicBezTo>
                    <a:pt x="151819" y="33920"/>
                    <a:pt x="145484" y="40261"/>
                    <a:pt x="137508" y="40895"/>
                  </a:cubicBezTo>
                  <a:lnTo>
                    <a:pt x="110297" y="40895"/>
                  </a:lnTo>
                  <a:cubicBezTo>
                    <a:pt x="104470" y="36338"/>
                    <a:pt x="96286" y="36338"/>
                    <a:pt x="90460" y="40895"/>
                  </a:cubicBezTo>
                  <a:lnTo>
                    <a:pt x="62418" y="40895"/>
                  </a:lnTo>
                  <a:cubicBezTo>
                    <a:pt x="58670" y="40967"/>
                    <a:pt x="55003" y="39753"/>
                    <a:pt x="52033" y="37469"/>
                  </a:cubicBezTo>
                  <a:cubicBezTo>
                    <a:pt x="49083" y="39794"/>
                    <a:pt x="45407" y="41009"/>
                    <a:pt x="41647" y="40895"/>
                  </a:cubicBezTo>
                  <a:lnTo>
                    <a:pt x="14540" y="40895"/>
                  </a:lnTo>
                  <a:cubicBezTo>
                    <a:pt x="8360" y="40832"/>
                    <a:pt x="2742" y="37303"/>
                    <a:pt x="0" y="31761"/>
                  </a:cubicBezTo>
                  <a:lnTo>
                    <a:pt x="0" y="50859"/>
                  </a:lnTo>
                  <a:lnTo>
                    <a:pt x="833041" y="50859"/>
                  </a:lnTo>
                  <a:close/>
                </a:path>
              </a:pathLst>
            </a:custGeom>
            <a:noFill/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2" name="Freeform 481">
              <a:extLst>
                <a:ext uri="{FF2B5EF4-FFF2-40B4-BE49-F238E27FC236}">
                  <a16:creationId xmlns:a16="http://schemas.microsoft.com/office/drawing/2014/main" id="{E84DBCF2-3CC6-DC4C-A431-506B995A6FA0}"/>
                </a:ext>
              </a:extLst>
            </p:cNvPr>
            <p:cNvSpPr/>
            <p:nvPr/>
          </p:nvSpPr>
          <p:spPr>
            <a:xfrm>
              <a:off x="9904317" y="3641486"/>
              <a:ext cx="253412" cy="312625"/>
            </a:xfrm>
            <a:custGeom>
              <a:avLst/>
              <a:gdLst>
                <a:gd name="connsiteX0" fmla="*/ 102300 w 253412"/>
                <a:gd name="connsiteY0" fmla="*/ 128496 h 312625"/>
                <a:gd name="connsiteX1" fmla="*/ 100846 w 253412"/>
                <a:gd name="connsiteY1" fmla="*/ 312625 h 312625"/>
                <a:gd name="connsiteX2" fmla="*/ 253413 w 253412"/>
                <a:gd name="connsiteY2" fmla="*/ 312625 h 312625"/>
                <a:gd name="connsiteX3" fmla="*/ 253413 w 253412"/>
                <a:gd name="connsiteY3" fmla="*/ 141574 h 312625"/>
                <a:gd name="connsiteX4" fmla="*/ 213947 w 253412"/>
                <a:gd name="connsiteY4" fmla="*/ 85111 h 312625"/>
                <a:gd name="connsiteX5" fmla="*/ 213947 w 253412"/>
                <a:gd name="connsiteY5" fmla="*/ 77118 h 312625"/>
                <a:gd name="connsiteX6" fmla="*/ 34897 w 253412"/>
                <a:gd name="connsiteY6" fmla="*/ 0 h 312625"/>
                <a:gd name="connsiteX7" fmla="*/ 0 w 253412"/>
                <a:gd name="connsiteY7" fmla="*/ 20759 h 312625"/>
                <a:gd name="connsiteX8" fmla="*/ 0 w 253412"/>
                <a:gd name="connsiteY8" fmla="*/ 192640 h 312625"/>
                <a:gd name="connsiteX9" fmla="*/ 102300 w 253412"/>
                <a:gd name="connsiteY9" fmla="*/ 128496 h 312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3412" h="312625">
                  <a:moveTo>
                    <a:pt x="102300" y="128496"/>
                  </a:moveTo>
                  <a:cubicBezTo>
                    <a:pt x="139065" y="144895"/>
                    <a:pt x="138235" y="226996"/>
                    <a:pt x="100846" y="312625"/>
                  </a:cubicBezTo>
                  <a:lnTo>
                    <a:pt x="253413" y="312625"/>
                  </a:lnTo>
                  <a:lnTo>
                    <a:pt x="253413" y="141574"/>
                  </a:lnTo>
                  <a:cubicBezTo>
                    <a:pt x="229702" y="132897"/>
                    <a:pt x="213936" y="110343"/>
                    <a:pt x="213947" y="85111"/>
                  </a:cubicBezTo>
                  <a:cubicBezTo>
                    <a:pt x="213802" y="82453"/>
                    <a:pt x="213802" y="79776"/>
                    <a:pt x="213947" y="77118"/>
                  </a:cubicBezTo>
                  <a:lnTo>
                    <a:pt x="34897" y="0"/>
                  </a:lnTo>
                  <a:cubicBezTo>
                    <a:pt x="26068" y="10805"/>
                    <a:pt x="13709" y="18164"/>
                    <a:pt x="0" y="20759"/>
                  </a:cubicBezTo>
                  <a:lnTo>
                    <a:pt x="0" y="192640"/>
                  </a:lnTo>
                  <a:cubicBezTo>
                    <a:pt x="35104" y="143650"/>
                    <a:pt x="75193" y="116352"/>
                    <a:pt x="102300" y="128496"/>
                  </a:cubicBezTo>
                  <a:close/>
                </a:path>
              </a:pathLst>
            </a:custGeom>
            <a:noFill/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3" name="Freeform 482">
              <a:extLst>
                <a:ext uri="{FF2B5EF4-FFF2-40B4-BE49-F238E27FC236}">
                  <a16:creationId xmlns:a16="http://schemas.microsoft.com/office/drawing/2014/main" id="{79D9510C-E76C-3A49-A159-B30C677140B3}"/>
                </a:ext>
              </a:extLst>
            </p:cNvPr>
            <p:cNvSpPr/>
            <p:nvPr/>
          </p:nvSpPr>
          <p:spPr>
            <a:xfrm>
              <a:off x="9690475" y="3655291"/>
              <a:ext cx="181854" cy="298301"/>
            </a:xfrm>
            <a:custGeom>
              <a:avLst/>
              <a:gdLst>
                <a:gd name="connsiteX0" fmla="*/ 181855 w 181854"/>
                <a:gd name="connsiteY0" fmla="*/ 236130 h 298301"/>
                <a:gd name="connsiteX1" fmla="*/ 181855 w 181854"/>
                <a:gd name="connsiteY1" fmla="*/ 4878 h 298301"/>
                <a:gd name="connsiteX2" fmla="*/ 171469 w 181854"/>
                <a:gd name="connsiteY2" fmla="*/ 0 h 298301"/>
                <a:gd name="connsiteX3" fmla="*/ 39881 w 181854"/>
                <a:gd name="connsiteY3" fmla="*/ 125071 h 298301"/>
                <a:gd name="connsiteX4" fmla="*/ 47567 w 181854"/>
                <a:gd name="connsiteY4" fmla="*/ 154237 h 298301"/>
                <a:gd name="connsiteX5" fmla="*/ 0 w 181854"/>
                <a:gd name="connsiteY5" fmla="*/ 212984 h 298301"/>
                <a:gd name="connsiteX6" fmla="*/ 0 w 181854"/>
                <a:gd name="connsiteY6" fmla="*/ 298302 h 298301"/>
                <a:gd name="connsiteX7" fmla="*/ 159214 w 181854"/>
                <a:gd name="connsiteY7" fmla="*/ 298302 h 298301"/>
                <a:gd name="connsiteX8" fmla="*/ 179465 w 181854"/>
                <a:gd name="connsiteY8" fmla="*/ 240904 h 298301"/>
                <a:gd name="connsiteX9" fmla="*/ 181855 w 181854"/>
                <a:gd name="connsiteY9" fmla="*/ 236130 h 298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1854" h="298301">
                  <a:moveTo>
                    <a:pt x="181855" y="236130"/>
                  </a:moveTo>
                  <a:lnTo>
                    <a:pt x="181855" y="4878"/>
                  </a:lnTo>
                  <a:cubicBezTo>
                    <a:pt x="178240" y="3612"/>
                    <a:pt x="174751" y="1972"/>
                    <a:pt x="171469" y="0"/>
                  </a:cubicBezTo>
                  <a:lnTo>
                    <a:pt x="39881" y="125071"/>
                  </a:lnTo>
                  <a:cubicBezTo>
                    <a:pt x="44939" y="133956"/>
                    <a:pt x="47587" y="144013"/>
                    <a:pt x="47567" y="154237"/>
                  </a:cubicBezTo>
                  <a:cubicBezTo>
                    <a:pt x="47639" y="182604"/>
                    <a:pt x="27782" y="207130"/>
                    <a:pt x="0" y="212984"/>
                  </a:cubicBezTo>
                  <a:lnTo>
                    <a:pt x="0" y="298302"/>
                  </a:lnTo>
                  <a:lnTo>
                    <a:pt x="159214" y="298302"/>
                  </a:lnTo>
                  <a:cubicBezTo>
                    <a:pt x="164427" y="278664"/>
                    <a:pt x="171199" y="259462"/>
                    <a:pt x="179465" y="240904"/>
                  </a:cubicBezTo>
                  <a:cubicBezTo>
                    <a:pt x="180193" y="239244"/>
                    <a:pt x="181128" y="237894"/>
                    <a:pt x="181855" y="236130"/>
                  </a:cubicBezTo>
                  <a:close/>
                </a:path>
              </a:pathLst>
            </a:custGeom>
            <a:noFill/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4" name="Freeform 483">
              <a:extLst>
                <a:ext uri="{FF2B5EF4-FFF2-40B4-BE49-F238E27FC236}">
                  <a16:creationId xmlns:a16="http://schemas.microsoft.com/office/drawing/2014/main" id="{D0543B99-0F1F-3541-A74B-0E8A790A375D}"/>
                </a:ext>
              </a:extLst>
            </p:cNvPr>
            <p:cNvSpPr/>
            <p:nvPr/>
          </p:nvSpPr>
          <p:spPr>
            <a:xfrm>
              <a:off x="9690475" y="3407328"/>
              <a:ext cx="832418" cy="350302"/>
            </a:xfrm>
            <a:custGeom>
              <a:avLst/>
              <a:gdLst>
                <a:gd name="connsiteX0" fmla="*/ 537047 w 832418"/>
                <a:gd name="connsiteY0" fmla="*/ 284601 h 350302"/>
                <a:gd name="connsiteX1" fmla="*/ 785059 w 832418"/>
                <a:gd name="connsiteY1" fmla="*/ 148840 h 350302"/>
                <a:gd name="connsiteX2" fmla="*/ 783397 w 832418"/>
                <a:gd name="connsiteY2" fmla="*/ 134931 h 350302"/>
                <a:gd name="connsiteX3" fmla="*/ 832418 w 832418"/>
                <a:gd name="connsiteY3" fmla="*/ 75977 h 350302"/>
                <a:gd name="connsiteX4" fmla="*/ 832418 w 832418"/>
                <a:gd name="connsiteY4" fmla="*/ 0 h 350302"/>
                <a:gd name="connsiteX5" fmla="*/ 0 w 832418"/>
                <a:gd name="connsiteY5" fmla="*/ 0 h 350302"/>
                <a:gd name="connsiteX6" fmla="*/ 0 w 832418"/>
                <a:gd name="connsiteY6" fmla="*/ 343867 h 350302"/>
                <a:gd name="connsiteX7" fmla="*/ 17033 w 832418"/>
                <a:gd name="connsiteY7" fmla="*/ 350302 h 350302"/>
                <a:gd name="connsiteX8" fmla="*/ 149451 w 832418"/>
                <a:gd name="connsiteY8" fmla="*/ 224505 h 350302"/>
                <a:gd name="connsiteX9" fmla="*/ 142389 w 832418"/>
                <a:gd name="connsiteY9" fmla="*/ 196377 h 350302"/>
                <a:gd name="connsiteX10" fmla="*/ 205077 w 832418"/>
                <a:gd name="connsiteY10" fmla="*/ 138730 h 350302"/>
                <a:gd name="connsiteX11" fmla="*/ 262759 w 832418"/>
                <a:gd name="connsiteY11" fmla="*/ 196377 h 350302"/>
                <a:gd name="connsiteX12" fmla="*/ 262136 w 832418"/>
                <a:gd name="connsiteY12" fmla="*/ 204369 h 350302"/>
                <a:gd name="connsiteX13" fmla="*/ 441290 w 832418"/>
                <a:gd name="connsiteY13" fmla="*/ 281487 h 350302"/>
                <a:gd name="connsiteX14" fmla="*/ 487922 w 832418"/>
                <a:gd name="connsiteY14" fmla="*/ 259068 h 350302"/>
                <a:gd name="connsiteX15" fmla="*/ 537047 w 832418"/>
                <a:gd name="connsiteY15" fmla="*/ 284601 h 350302"/>
                <a:gd name="connsiteX16" fmla="*/ 114762 w 832418"/>
                <a:gd name="connsiteY16" fmla="*/ 138045 h 350302"/>
                <a:gd name="connsiteX17" fmla="*/ 40089 w 832418"/>
                <a:gd name="connsiteY17" fmla="*/ 138045 h 350302"/>
                <a:gd name="connsiteX18" fmla="*/ 25133 w 832418"/>
                <a:gd name="connsiteY18" fmla="*/ 120504 h 350302"/>
                <a:gd name="connsiteX19" fmla="*/ 40089 w 832418"/>
                <a:gd name="connsiteY19" fmla="*/ 105558 h 350302"/>
                <a:gd name="connsiteX20" fmla="*/ 114762 w 832418"/>
                <a:gd name="connsiteY20" fmla="*/ 105558 h 350302"/>
                <a:gd name="connsiteX21" fmla="*/ 129718 w 832418"/>
                <a:gd name="connsiteY21" fmla="*/ 123099 h 350302"/>
                <a:gd name="connsiteX22" fmla="*/ 114762 w 832418"/>
                <a:gd name="connsiteY22" fmla="*/ 138045 h 350302"/>
                <a:gd name="connsiteX23" fmla="*/ 215712 w 832418"/>
                <a:gd name="connsiteY23" fmla="*/ 80959 h 350302"/>
                <a:gd name="connsiteX24" fmla="*/ 40089 w 832418"/>
                <a:gd name="connsiteY24" fmla="*/ 80959 h 350302"/>
                <a:gd name="connsiteX25" fmla="*/ 25133 w 832418"/>
                <a:gd name="connsiteY25" fmla="*/ 63418 h 350302"/>
                <a:gd name="connsiteX26" fmla="*/ 40089 w 832418"/>
                <a:gd name="connsiteY26" fmla="*/ 48471 h 350302"/>
                <a:gd name="connsiteX27" fmla="*/ 215712 w 832418"/>
                <a:gd name="connsiteY27" fmla="*/ 48471 h 350302"/>
                <a:gd name="connsiteX28" fmla="*/ 233264 w 832418"/>
                <a:gd name="connsiteY28" fmla="*/ 63418 h 350302"/>
                <a:gd name="connsiteX29" fmla="*/ 218309 w 832418"/>
                <a:gd name="connsiteY29" fmla="*/ 80959 h 350302"/>
                <a:gd name="connsiteX30" fmla="*/ 215712 w 832418"/>
                <a:gd name="connsiteY30" fmla="*/ 80959 h 350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832418" h="350302">
                  <a:moveTo>
                    <a:pt x="537047" y="284601"/>
                  </a:moveTo>
                  <a:lnTo>
                    <a:pt x="785059" y="148840"/>
                  </a:lnTo>
                  <a:cubicBezTo>
                    <a:pt x="783989" y="144283"/>
                    <a:pt x="783428" y="139612"/>
                    <a:pt x="783397" y="134931"/>
                  </a:cubicBezTo>
                  <a:cubicBezTo>
                    <a:pt x="783532" y="106097"/>
                    <a:pt x="804075" y="81384"/>
                    <a:pt x="832418" y="75977"/>
                  </a:cubicBezTo>
                  <a:lnTo>
                    <a:pt x="832418" y="0"/>
                  </a:lnTo>
                  <a:lnTo>
                    <a:pt x="0" y="0"/>
                  </a:lnTo>
                  <a:lnTo>
                    <a:pt x="0" y="343867"/>
                  </a:lnTo>
                  <a:cubicBezTo>
                    <a:pt x="5982" y="345102"/>
                    <a:pt x="11725" y="347282"/>
                    <a:pt x="17033" y="350302"/>
                  </a:cubicBezTo>
                  <a:lnTo>
                    <a:pt x="149451" y="224505"/>
                  </a:lnTo>
                  <a:cubicBezTo>
                    <a:pt x="144808" y="215859"/>
                    <a:pt x="142389" y="206196"/>
                    <a:pt x="142389" y="196377"/>
                  </a:cubicBezTo>
                  <a:cubicBezTo>
                    <a:pt x="143770" y="163163"/>
                    <a:pt x="171832" y="137350"/>
                    <a:pt x="205077" y="138730"/>
                  </a:cubicBezTo>
                  <a:cubicBezTo>
                    <a:pt x="236380" y="140027"/>
                    <a:pt x="261461" y="165094"/>
                    <a:pt x="262759" y="196377"/>
                  </a:cubicBezTo>
                  <a:cubicBezTo>
                    <a:pt x="262749" y="199055"/>
                    <a:pt x="262541" y="201722"/>
                    <a:pt x="262136" y="204369"/>
                  </a:cubicBezTo>
                  <a:lnTo>
                    <a:pt x="441290" y="281487"/>
                  </a:lnTo>
                  <a:cubicBezTo>
                    <a:pt x="452600" y="267299"/>
                    <a:pt x="469768" y="259047"/>
                    <a:pt x="487922" y="259068"/>
                  </a:cubicBezTo>
                  <a:cubicBezTo>
                    <a:pt x="507479" y="259089"/>
                    <a:pt x="525800" y="268617"/>
                    <a:pt x="537047" y="284601"/>
                  </a:cubicBezTo>
                  <a:close/>
                  <a:moveTo>
                    <a:pt x="114762" y="138045"/>
                  </a:moveTo>
                  <a:lnTo>
                    <a:pt x="40089" y="138045"/>
                  </a:lnTo>
                  <a:cubicBezTo>
                    <a:pt x="31115" y="137329"/>
                    <a:pt x="24417" y="129472"/>
                    <a:pt x="25133" y="120504"/>
                  </a:cubicBezTo>
                  <a:cubicBezTo>
                    <a:pt x="25777" y="112533"/>
                    <a:pt x="32113" y="106191"/>
                    <a:pt x="40089" y="105558"/>
                  </a:cubicBezTo>
                  <a:lnTo>
                    <a:pt x="114762" y="105558"/>
                  </a:lnTo>
                  <a:cubicBezTo>
                    <a:pt x="123736" y="106274"/>
                    <a:pt x="130435" y="114131"/>
                    <a:pt x="129718" y="123099"/>
                  </a:cubicBezTo>
                  <a:cubicBezTo>
                    <a:pt x="129074" y="131070"/>
                    <a:pt x="122739" y="137412"/>
                    <a:pt x="114762" y="138045"/>
                  </a:cubicBezTo>
                  <a:close/>
                  <a:moveTo>
                    <a:pt x="215712" y="80959"/>
                  </a:moveTo>
                  <a:lnTo>
                    <a:pt x="40089" y="80959"/>
                  </a:lnTo>
                  <a:cubicBezTo>
                    <a:pt x="31115" y="80243"/>
                    <a:pt x="24417" y="72385"/>
                    <a:pt x="25133" y="63418"/>
                  </a:cubicBezTo>
                  <a:cubicBezTo>
                    <a:pt x="25777" y="55446"/>
                    <a:pt x="32113" y="49105"/>
                    <a:pt x="40089" y="48471"/>
                  </a:cubicBezTo>
                  <a:lnTo>
                    <a:pt x="215712" y="48471"/>
                  </a:lnTo>
                  <a:cubicBezTo>
                    <a:pt x="224685" y="47755"/>
                    <a:pt x="232547" y="54440"/>
                    <a:pt x="233264" y="63418"/>
                  </a:cubicBezTo>
                  <a:cubicBezTo>
                    <a:pt x="233981" y="72385"/>
                    <a:pt x="227292" y="80243"/>
                    <a:pt x="218309" y="80959"/>
                  </a:cubicBezTo>
                  <a:cubicBezTo>
                    <a:pt x="217447" y="81031"/>
                    <a:pt x="216574" y="81031"/>
                    <a:pt x="215712" y="80959"/>
                  </a:cubicBezTo>
                  <a:close/>
                </a:path>
              </a:pathLst>
            </a:custGeom>
            <a:noFill/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5" name="Freeform 484">
              <a:extLst>
                <a:ext uri="{FF2B5EF4-FFF2-40B4-BE49-F238E27FC236}">
                  <a16:creationId xmlns:a16="http://schemas.microsoft.com/office/drawing/2014/main" id="{DDE87FF0-725D-5649-8E75-78342667877D}"/>
                </a:ext>
              </a:extLst>
            </p:cNvPr>
            <p:cNvSpPr/>
            <p:nvPr/>
          </p:nvSpPr>
          <p:spPr>
            <a:xfrm>
              <a:off x="9649914" y="3782330"/>
              <a:ext cx="55931" cy="55222"/>
            </a:xfrm>
            <a:custGeom>
              <a:avLst/>
              <a:gdLst>
                <a:gd name="connsiteX0" fmla="*/ 27994 w 55931"/>
                <a:gd name="connsiteY0" fmla="*/ 4 h 55222"/>
                <a:gd name="connsiteX1" fmla="*/ 4 w 55931"/>
                <a:gd name="connsiteY1" fmla="*/ 27042 h 55222"/>
                <a:gd name="connsiteX2" fmla="*/ 23424 w 55931"/>
                <a:gd name="connsiteY2" fmla="*/ 54703 h 55222"/>
                <a:gd name="connsiteX3" fmla="*/ 24359 w 55931"/>
                <a:gd name="connsiteY3" fmla="*/ 54703 h 55222"/>
                <a:gd name="connsiteX4" fmla="*/ 28305 w 55931"/>
                <a:gd name="connsiteY4" fmla="*/ 55222 h 55222"/>
                <a:gd name="connsiteX5" fmla="*/ 55931 w 55931"/>
                <a:gd name="connsiteY5" fmla="*/ 27613 h 55222"/>
                <a:gd name="connsiteX6" fmla="*/ 28305 w 55931"/>
                <a:gd name="connsiteY6" fmla="*/ 4 h 55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931" h="55222">
                  <a:moveTo>
                    <a:pt x="27994" y="4"/>
                  </a:moveTo>
                  <a:cubicBezTo>
                    <a:pt x="12799" y="-255"/>
                    <a:pt x="264" y="11847"/>
                    <a:pt x="4" y="27042"/>
                  </a:cubicBezTo>
                  <a:cubicBezTo>
                    <a:pt x="-224" y="40826"/>
                    <a:pt x="9787" y="52648"/>
                    <a:pt x="23424" y="54703"/>
                  </a:cubicBezTo>
                  <a:lnTo>
                    <a:pt x="24359" y="54703"/>
                  </a:lnTo>
                  <a:cubicBezTo>
                    <a:pt x="25688" y="54734"/>
                    <a:pt x="27007" y="54911"/>
                    <a:pt x="28305" y="55222"/>
                  </a:cubicBezTo>
                  <a:cubicBezTo>
                    <a:pt x="43562" y="55222"/>
                    <a:pt x="55931" y="42860"/>
                    <a:pt x="55931" y="27613"/>
                  </a:cubicBezTo>
                  <a:cubicBezTo>
                    <a:pt x="55931" y="12366"/>
                    <a:pt x="43562" y="4"/>
                    <a:pt x="28305" y="4"/>
                  </a:cubicBezTo>
                  <a:close/>
                </a:path>
              </a:pathLst>
            </a:custGeom>
            <a:noFill/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6" name="Freeform 485">
              <a:extLst>
                <a:ext uri="{FF2B5EF4-FFF2-40B4-BE49-F238E27FC236}">
                  <a16:creationId xmlns:a16="http://schemas.microsoft.com/office/drawing/2014/main" id="{4AE81395-BD96-844F-A030-30EBB79C4F7F}"/>
                </a:ext>
              </a:extLst>
            </p:cNvPr>
            <p:cNvSpPr/>
            <p:nvPr/>
          </p:nvSpPr>
          <p:spPr>
            <a:xfrm>
              <a:off x="10506483" y="3514651"/>
              <a:ext cx="55252" cy="55218"/>
            </a:xfrm>
            <a:custGeom>
              <a:avLst/>
              <a:gdLst>
                <a:gd name="connsiteX0" fmla="*/ 27522 w 55252"/>
                <a:gd name="connsiteY0" fmla="*/ 0 h 55218"/>
                <a:gd name="connsiteX1" fmla="*/ 0 w 55252"/>
                <a:gd name="connsiteY1" fmla="*/ 27713 h 55218"/>
                <a:gd name="connsiteX2" fmla="*/ 27730 w 55252"/>
                <a:gd name="connsiteY2" fmla="*/ 55218 h 55218"/>
                <a:gd name="connsiteX3" fmla="*/ 55253 w 55252"/>
                <a:gd name="connsiteY3" fmla="*/ 27609 h 55218"/>
                <a:gd name="connsiteX4" fmla="*/ 27522 w 55252"/>
                <a:gd name="connsiteY4" fmla="*/ 0 h 55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252" h="55218">
                  <a:moveTo>
                    <a:pt x="27522" y="0"/>
                  </a:moveTo>
                  <a:cubicBezTo>
                    <a:pt x="12265" y="62"/>
                    <a:pt x="-63" y="12466"/>
                    <a:pt x="0" y="27713"/>
                  </a:cubicBezTo>
                  <a:cubicBezTo>
                    <a:pt x="62" y="42960"/>
                    <a:pt x="12473" y="55270"/>
                    <a:pt x="27730" y="55218"/>
                  </a:cubicBezTo>
                  <a:cubicBezTo>
                    <a:pt x="42945" y="55156"/>
                    <a:pt x="55253" y="42815"/>
                    <a:pt x="55253" y="27609"/>
                  </a:cubicBezTo>
                  <a:cubicBezTo>
                    <a:pt x="55201" y="12341"/>
                    <a:pt x="42800" y="0"/>
                    <a:pt x="27522" y="0"/>
                  </a:cubicBezTo>
                  <a:close/>
                </a:path>
              </a:pathLst>
            </a:custGeom>
            <a:noFill/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7" name="Freeform 486">
              <a:extLst>
                <a:ext uri="{FF2B5EF4-FFF2-40B4-BE49-F238E27FC236}">
                  <a16:creationId xmlns:a16="http://schemas.microsoft.com/office/drawing/2014/main" id="{F0F814AD-CA8A-1E47-A48E-4A909DDF0526}"/>
                </a:ext>
              </a:extLst>
            </p:cNvPr>
            <p:cNvSpPr/>
            <p:nvPr/>
          </p:nvSpPr>
          <p:spPr>
            <a:xfrm>
              <a:off x="10190133" y="3584296"/>
              <a:ext cx="332344" cy="369711"/>
            </a:xfrm>
            <a:custGeom>
              <a:avLst/>
              <a:gdLst>
                <a:gd name="connsiteX0" fmla="*/ 48294 w 332344"/>
                <a:gd name="connsiteY0" fmla="*/ 138564 h 369711"/>
                <a:gd name="connsiteX1" fmla="*/ 48294 w 332344"/>
                <a:gd name="connsiteY1" fmla="*/ 142301 h 369711"/>
                <a:gd name="connsiteX2" fmla="*/ 0 w 332344"/>
                <a:gd name="connsiteY2" fmla="*/ 201151 h 369711"/>
                <a:gd name="connsiteX3" fmla="*/ 0 w 332344"/>
                <a:gd name="connsiteY3" fmla="*/ 369712 h 369711"/>
                <a:gd name="connsiteX4" fmla="*/ 332344 w 332344"/>
                <a:gd name="connsiteY4" fmla="*/ 369712 h 369711"/>
                <a:gd name="connsiteX5" fmla="*/ 332344 w 332344"/>
                <a:gd name="connsiteY5" fmla="*/ 16814 h 369711"/>
                <a:gd name="connsiteX6" fmla="*/ 301187 w 332344"/>
                <a:gd name="connsiteY6" fmla="*/ 0 h 369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344" h="369711">
                  <a:moveTo>
                    <a:pt x="48294" y="138564"/>
                  </a:moveTo>
                  <a:cubicBezTo>
                    <a:pt x="48294" y="139809"/>
                    <a:pt x="48294" y="141055"/>
                    <a:pt x="48294" y="142301"/>
                  </a:cubicBezTo>
                  <a:cubicBezTo>
                    <a:pt x="48096" y="170844"/>
                    <a:pt x="27969" y="195370"/>
                    <a:pt x="0" y="201151"/>
                  </a:cubicBezTo>
                  <a:lnTo>
                    <a:pt x="0" y="369712"/>
                  </a:lnTo>
                  <a:lnTo>
                    <a:pt x="332344" y="369712"/>
                  </a:lnTo>
                  <a:lnTo>
                    <a:pt x="332344" y="16814"/>
                  </a:lnTo>
                  <a:cubicBezTo>
                    <a:pt x="320525" y="14417"/>
                    <a:pt x="309682" y="8563"/>
                    <a:pt x="301187" y="0"/>
                  </a:cubicBezTo>
                  <a:close/>
                </a:path>
              </a:pathLst>
            </a:custGeom>
            <a:noFill/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8" name="Freeform 487">
              <a:extLst>
                <a:ext uri="{FF2B5EF4-FFF2-40B4-BE49-F238E27FC236}">
                  <a16:creationId xmlns:a16="http://schemas.microsoft.com/office/drawing/2014/main" id="{0EA93221-FCCC-D645-86B2-0CAE3777F65B}"/>
                </a:ext>
              </a:extLst>
            </p:cNvPr>
            <p:cNvSpPr/>
            <p:nvPr/>
          </p:nvSpPr>
          <p:spPr>
            <a:xfrm>
              <a:off x="10150771" y="3698988"/>
              <a:ext cx="55252" cy="55218"/>
            </a:xfrm>
            <a:custGeom>
              <a:avLst/>
              <a:gdLst>
                <a:gd name="connsiteX0" fmla="*/ 55252 w 55252"/>
                <a:gd name="connsiteY0" fmla="*/ 27609 h 55218"/>
                <a:gd name="connsiteX1" fmla="*/ 27626 w 55252"/>
                <a:gd name="connsiteY1" fmla="*/ 0 h 55218"/>
                <a:gd name="connsiteX2" fmla="*/ 0 w 55252"/>
                <a:gd name="connsiteY2" fmla="*/ 27609 h 55218"/>
                <a:gd name="connsiteX3" fmla="*/ 27626 w 55252"/>
                <a:gd name="connsiteY3" fmla="*/ 55218 h 55218"/>
                <a:gd name="connsiteX4" fmla="*/ 55252 w 55252"/>
                <a:gd name="connsiteY4" fmla="*/ 27609 h 55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252" h="55218">
                  <a:moveTo>
                    <a:pt x="55252" y="27609"/>
                  </a:moveTo>
                  <a:cubicBezTo>
                    <a:pt x="55252" y="12362"/>
                    <a:pt x="42882" y="0"/>
                    <a:pt x="27626" y="0"/>
                  </a:cubicBezTo>
                  <a:cubicBezTo>
                    <a:pt x="12369" y="0"/>
                    <a:pt x="0" y="12362"/>
                    <a:pt x="0" y="27609"/>
                  </a:cubicBezTo>
                  <a:cubicBezTo>
                    <a:pt x="0" y="42856"/>
                    <a:pt x="12369" y="55218"/>
                    <a:pt x="27626" y="55218"/>
                  </a:cubicBezTo>
                  <a:cubicBezTo>
                    <a:pt x="42882" y="55218"/>
                    <a:pt x="55252" y="42856"/>
                    <a:pt x="55252" y="27609"/>
                  </a:cubicBezTo>
                  <a:close/>
                </a:path>
              </a:pathLst>
            </a:custGeom>
            <a:noFill/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9" name="Freeform 488">
              <a:extLst>
                <a:ext uri="{FF2B5EF4-FFF2-40B4-BE49-F238E27FC236}">
                  <a16:creationId xmlns:a16="http://schemas.microsoft.com/office/drawing/2014/main" id="{A72AF035-7C34-AC43-BA09-793696D372F5}"/>
                </a:ext>
              </a:extLst>
            </p:cNvPr>
            <p:cNvSpPr/>
            <p:nvPr/>
          </p:nvSpPr>
          <p:spPr>
            <a:xfrm>
              <a:off x="9617738" y="3291495"/>
              <a:ext cx="976574" cy="695207"/>
            </a:xfrm>
            <a:custGeom>
              <a:avLst/>
              <a:gdLst>
                <a:gd name="connsiteX0" fmla="*/ 937662 w 976574"/>
                <a:gd name="connsiteY0" fmla="*/ 194613 h 695207"/>
                <a:gd name="connsiteX1" fmla="*/ 937662 w 976574"/>
                <a:gd name="connsiteY1" fmla="*/ 16192 h 695207"/>
                <a:gd name="connsiteX2" fmla="*/ 921460 w 976574"/>
                <a:gd name="connsiteY2" fmla="*/ 0 h 695207"/>
                <a:gd name="connsiteX3" fmla="*/ 56535 w 976574"/>
                <a:gd name="connsiteY3" fmla="*/ 0 h 695207"/>
                <a:gd name="connsiteX4" fmla="*/ 40229 w 976574"/>
                <a:gd name="connsiteY4" fmla="*/ 16088 h 695207"/>
                <a:gd name="connsiteX5" fmla="*/ 40229 w 976574"/>
                <a:gd name="connsiteY5" fmla="*/ 16192 h 695207"/>
                <a:gd name="connsiteX6" fmla="*/ 40229 w 976574"/>
                <a:gd name="connsiteY6" fmla="*/ 461673 h 695207"/>
                <a:gd name="connsiteX7" fmla="*/ 3443 w 976574"/>
                <a:gd name="connsiteY7" fmla="*/ 538470 h 695207"/>
                <a:gd name="connsiteX8" fmla="*/ 40229 w 976574"/>
                <a:gd name="connsiteY8" fmla="*/ 575223 h 695207"/>
                <a:gd name="connsiteX9" fmla="*/ 40229 w 976574"/>
                <a:gd name="connsiteY9" fmla="*/ 679016 h 695207"/>
                <a:gd name="connsiteX10" fmla="*/ 56431 w 976574"/>
                <a:gd name="connsiteY10" fmla="*/ 695208 h 695207"/>
                <a:gd name="connsiteX11" fmla="*/ 56535 w 976574"/>
                <a:gd name="connsiteY11" fmla="*/ 695208 h 695207"/>
                <a:gd name="connsiteX12" fmla="*/ 225199 w 976574"/>
                <a:gd name="connsiteY12" fmla="*/ 695208 h 695207"/>
                <a:gd name="connsiteX13" fmla="*/ 231950 w 976574"/>
                <a:gd name="connsiteY13" fmla="*/ 662721 h 695207"/>
                <a:gd name="connsiteX14" fmla="*/ 72737 w 976574"/>
                <a:gd name="connsiteY14" fmla="*/ 662721 h 695207"/>
                <a:gd name="connsiteX15" fmla="*/ 72737 w 976574"/>
                <a:gd name="connsiteY15" fmla="*/ 577403 h 695207"/>
                <a:gd name="connsiteX16" fmla="*/ 120303 w 976574"/>
                <a:gd name="connsiteY16" fmla="*/ 518655 h 695207"/>
                <a:gd name="connsiteX17" fmla="*/ 112617 w 976574"/>
                <a:gd name="connsiteY17" fmla="*/ 489490 h 695207"/>
                <a:gd name="connsiteX18" fmla="*/ 244517 w 976574"/>
                <a:gd name="connsiteY18" fmla="*/ 364315 h 695207"/>
                <a:gd name="connsiteX19" fmla="*/ 254902 w 976574"/>
                <a:gd name="connsiteY19" fmla="*/ 369193 h 695207"/>
                <a:gd name="connsiteX20" fmla="*/ 254902 w 976574"/>
                <a:gd name="connsiteY20" fmla="*/ 599926 h 695207"/>
                <a:gd name="connsiteX21" fmla="*/ 287410 w 976574"/>
                <a:gd name="connsiteY21" fmla="*/ 536612 h 695207"/>
                <a:gd name="connsiteX22" fmla="*/ 287410 w 976574"/>
                <a:gd name="connsiteY22" fmla="*/ 370543 h 695207"/>
                <a:gd name="connsiteX23" fmla="*/ 322306 w 976574"/>
                <a:gd name="connsiteY23" fmla="*/ 349784 h 695207"/>
                <a:gd name="connsiteX24" fmla="*/ 501357 w 976574"/>
                <a:gd name="connsiteY24" fmla="*/ 426902 h 695207"/>
                <a:gd name="connsiteX25" fmla="*/ 501357 w 976574"/>
                <a:gd name="connsiteY25" fmla="*/ 434894 h 695207"/>
                <a:gd name="connsiteX26" fmla="*/ 540822 w 976574"/>
                <a:gd name="connsiteY26" fmla="*/ 491358 h 695207"/>
                <a:gd name="connsiteX27" fmla="*/ 540822 w 976574"/>
                <a:gd name="connsiteY27" fmla="*/ 662305 h 695207"/>
                <a:gd name="connsiteX28" fmla="*/ 394383 w 976574"/>
                <a:gd name="connsiteY28" fmla="*/ 662305 h 695207"/>
                <a:gd name="connsiteX29" fmla="*/ 393449 w 976574"/>
                <a:gd name="connsiteY29" fmla="*/ 664589 h 695207"/>
                <a:gd name="connsiteX30" fmla="*/ 383790 w 976574"/>
                <a:gd name="connsiteY30" fmla="*/ 694793 h 695207"/>
                <a:gd name="connsiteX31" fmla="*/ 921460 w 976574"/>
                <a:gd name="connsiteY31" fmla="*/ 694793 h 695207"/>
                <a:gd name="connsiteX32" fmla="*/ 937662 w 976574"/>
                <a:gd name="connsiteY32" fmla="*/ 678601 h 695207"/>
                <a:gd name="connsiteX33" fmla="*/ 937662 w 976574"/>
                <a:gd name="connsiteY33" fmla="*/ 306917 h 695207"/>
                <a:gd name="connsiteX34" fmla="*/ 972713 w 976574"/>
                <a:gd name="connsiteY34" fmla="*/ 229643 h 695207"/>
                <a:gd name="connsiteX35" fmla="*/ 937662 w 976574"/>
                <a:gd name="connsiteY35" fmla="*/ 194613 h 695207"/>
                <a:gd name="connsiteX36" fmla="*/ 72737 w 976574"/>
                <a:gd name="connsiteY36" fmla="*/ 64248 h 695207"/>
                <a:gd name="connsiteX37" fmla="*/ 87277 w 976574"/>
                <a:gd name="connsiteY37" fmla="*/ 73382 h 695207"/>
                <a:gd name="connsiteX38" fmla="*/ 114383 w 976574"/>
                <a:gd name="connsiteY38" fmla="*/ 73382 h 695207"/>
                <a:gd name="connsiteX39" fmla="*/ 124769 w 976574"/>
                <a:gd name="connsiteY39" fmla="*/ 69957 h 695207"/>
                <a:gd name="connsiteX40" fmla="*/ 135155 w 976574"/>
                <a:gd name="connsiteY40" fmla="*/ 73382 h 695207"/>
                <a:gd name="connsiteX41" fmla="*/ 162262 w 976574"/>
                <a:gd name="connsiteY41" fmla="*/ 73382 h 695207"/>
                <a:gd name="connsiteX42" fmla="*/ 182098 w 976574"/>
                <a:gd name="connsiteY42" fmla="*/ 73382 h 695207"/>
                <a:gd name="connsiteX43" fmla="*/ 209309 w 976574"/>
                <a:gd name="connsiteY43" fmla="*/ 73382 h 695207"/>
                <a:gd name="connsiteX44" fmla="*/ 224264 w 976574"/>
                <a:gd name="connsiteY44" fmla="*/ 55841 h 695207"/>
                <a:gd name="connsiteX45" fmla="*/ 209309 w 976574"/>
                <a:gd name="connsiteY45" fmla="*/ 40895 h 695207"/>
                <a:gd name="connsiteX46" fmla="*/ 182098 w 976574"/>
                <a:gd name="connsiteY46" fmla="*/ 40895 h 695207"/>
                <a:gd name="connsiteX47" fmla="*/ 162262 w 976574"/>
                <a:gd name="connsiteY47" fmla="*/ 40895 h 695207"/>
                <a:gd name="connsiteX48" fmla="*/ 134220 w 976574"/>
                <a:gd name="connsiteY48" fmla="*/ 40895 h 695207"/>
                <a:gd name="connsiteX49" fmla="*/ 123834 w 976574"/>
                <a:gd name="connsiteY49" fmla="*/ 44320 h 695207"/>
                <a:gd name="connsiteX50" fmla="*/ 113448 w 976574"/>
                <a:gd name="connsiteY50" fmla="*/ 40895 h 695207"/>
                <a:gd name="connsiteX51" fmla="*/ 86342 w 976574"/>
                <a:gd name="connsiteY51" fmla="*/ 40895 h 695207"/>
                <a:gd name="connsiteX52" fmla="*/ 71802 w 976574"/>
                <a:gd name="connsiteY52" fmla="*/ 50133 h 695207"/>
                <a:gd name="connsiteX53" fmla="*/ 71802 w 976574"/>
                <a:gd name="connsiteY53" fmla="*/ 32176 h 695207"/>
                <a:gd name="connsiteX54" fmla="*/ 904843 w 976574"/>
                <a:gd name="connsiteY54" fmla="*/ 32176 h 695207"/>
                <a:gd name="connsiteX55" fmla="*/ 904843 w 976574"/>
                <a:gd name="connsiteY55" fmla="*/ 83035 h 695207"/>
                <a:gd name="connsiteX56" fmla="*/ 72737 w 976574"/>
                <a:gd name="connsiteY56" fmla="*/ 83035 h 695207"/>
                <a:gd name="connsiteX57" fmla="*/ 60481 w 976574"/>
                <a:gd name="connsiteY57" fmla="*/ 546057 h 695207"/>
                <a:gd name="connsiteX58" fmla="*/ 56535 w 976574"/>
                <a:gd name="connsiteY58" fmla="*/ 545538 h 695207"/>
                <a:gd name="connsiteX59" fmla="*/ 55600 w 976574"/>
                <a:gd name="connsiteY59" fmla="*/ 545538 h 695207"/>
                <a:gd name="connsiteX60" fmla="*/ 34496 w 976574"/>
                <a:gd name="connsiteY60" fmla="*/ 513902 h 695207"/>
                <a:gd name="connsiteX61" fmla="*/ 66152 w 976574"/>
                <a:gd name="connsiteY61" fmla="*/ 492821 h 695207"/>
                <a:gd name="connsiteX62" fmla="*/ 87256 w 976574"/>
                <a:gd name="connsiteY62" fmla="*/ 524447 h 695207"/>
                <a:gd name="connsiteX63" fmla="*/ 60481 w 976574"/>
                <a:gd name="connsiteY63" fmla="*/ 546057 h 695207"/>
                <a:gd name="connsiteX64" fmla="*/ 275259 w 976574"/>
                <a:gd name="connsiteY64" fmla="*/ 339820 h 695207"/>
                <a:gd name="connsiteX65" fmla="*/ 247217 w 976574"/>
                <a:gd name="connsiteY65" fmla="*/ 312626 h 695207"/>
                <a:gd name="connsiteX66" fmla="*/ 274428 w 976574"/>
                <a:gd name="connsiteY66" fmla="*/ 284612 h 695207"/>
                <a:gd name="connsiteX67" fmla="*/ 302469 w 976574"/>
                <a:gd name="connsiteY67" fmla="*/ 311796 h 695207"/>
                <a:gd name="connsiteX68" fmla="*/ 302469 w 976574"/>
                <a:gd name="connsiteY68" fmla="*/ 312418 h 695207"/>
                <a:gd name="connsiteX69" fmla="*/ 275259 w 976574"/>
                <a:gd name="connsiteY69" fmla="*/ 339820 h 695207"/>
                <a:gd name="connsiteX70" fmla="*/ 514131 w 976574"/>
                <a:gd name="connsiteY70" fmla="*/ 397321 h 695207"/>
                <a:gd name="connsiteX71" fmla="*/ 334977 w 976574"/>
                <a:gd name="connsiteY71" fmla="*/ 320203 h 695207"/>
                <a:gd name="connsiteX72" fmla="*/ 335600 w 976574"/>
                <a:gd name="connsiteY72" fmla="*/ 312211 h 695207"/>
                <a:gd name="connsiteX73" fmla="*/ 272911 w 976574"/>
                <a:gd name="connsiteY73" fmla="*/ 254564 h 695207"/>
                <a:gd name="connsiteX74" fmla="*/ 215229 w 976574"/>
                <a:gd name="connsiteY74" fmla="*/ 312211 h 695207"/>
                <a:gd name="connsiteX75" fmla="*/ 222292 w 976574"/>
                <a:gd name="connsiteY75" fmla="*/ 340339 h 695207"/>
                <a:gd name="connsiteX76" fmla="*/ 89873 w 976574"/>
                <a:gd name="connsiteY76" fmla="*/ 466136 h 695207"/>
                <a:gd name="connsiteX77" fmla="*/ 72840 w 976574"/>
                <a:gd name="connsiteY77" fmla="*/ 459701 h 695207"/>
                <a:gd name="connsiteX78" fmla="*/ 72840 w 976574"/>
                <a:gd name="connsiteY78" fmla="*/ 115834 h 695207"/>
                <a:gd name="connsiteX79" fmla="*/ 904843 w 976574"/>
                <a:gd name="connsiteY79" fmla="*/ 115834 h 695207"/>
                <a:gd name="connsiteX80" fmla="*/ 904843 w 976574"/>
                <a:gd name="connsiteY80" fmla="*/ 191811 h 695207"/>
                <a:gd name="connsiteX81" fmla="*/ 855822 w 976574"/>
                <a:gd name="connsiteY81" fmla="*/ 250765 h 695207"/>
                <a:gd name="connsiteX82" fmla="*/ 857484 w 976574"/>
                <a:gd name="connsiteY82" fmla="*/ 264673 h 695207"/>
                <a:gd name="connsiteX83" fmla="*/ 609472 w 976574"/>
                <a:gd name="connsiteY83" fmla="*/ 400435 h 695207"/>
                <a:gd name="connsiteX84" fmla="*/ 560348 w 976574"/>
                <a:gd name="connsiteY84" fmla="*/ 374902 h 695207"/>
                <a:gd name="connsiteX85" fmla="*/ 514027 w 976574"/>
                <a:gd name="connsiteY85" fmla="*/ 397321 h 695207"/>
                <a:gd name="connsiteX86" fmla="*/ 533137 w 976574"/>
                <a:gd name="connsiteY86" fmla="*/ 435102 h 695207"/>
                <a:gd name="connsiteX87" fmla="*/ 560763 w 976574"/>
                <a:gd name="connsiteY87" fmla="*/ 407493 h 695207"/>
                <a:gd name="connsiteX88" fmla="*/ 588389 w 976574"/>
                <a:gd name="connsiteY88" fmla="*/ 435102 h 695207"/>
                <a:gd name="connsiteX89" fmla="*/ 560763 w 976574"/>
                <a:gd name="connsiteY89" fmla="*/ 462711 h 695207"/>
                <a:gd name="connsiteX90" fmla="*/ 533033 w 976574"/>
                <a:gd name="connsiteY90" fmla="*/ 435206 h 695207"/>
                <a:gd name="connsiteX91" fmla="*/ 533033 w 976574"/>
                <a:gd name="connsiteY91" fmla="*/ 435102 h 695207"/>
                <a:gd name="connsiteX92" fmla="*/ 904843 w 976574"/>
                <a:gd name="connsiteY92" fmla="*/ 662513 h 695207"/>
                <a:gd name="connsiteX93" fmla="*/ 572499 w 976574"/>
                <a:gd name="connsiteY93" fmla="*/ 662513 h 695207"/>
                <a:gd name="connsiteX94" fmla="*/ 572499 w 976574"/>
                <a:gd name="connsiteY94" fmla="*/ 493953 h 695207"/>
                <a:gd name="connsiteX95" fmla="*/ 620793 w 976574"/>
                <a:gd name="connsiteY95" fmla="*/ 435102 h 695207"/>
                <a:gd name="connsiteX96" fmla="*/ 620793 w 976574"/>
                <a:gd name="connsiteY96" fmla="*/ 431365 h 695207"/>
                <a:gd name="connsiteX97" fmla="*/ 873686 w 976574"/>
                <a:gd name="connsiteY97" fmla="*/ 293009 h 695207"/>
                <a:gd name="connsiteX98" fmla="*/ 904843 w 976574"/>
                <a:gd name="connsiteY98" fmla="*/ 309823 h 695207"/>
                <a:gd name="connsiteX99" fmla="*/ 915956 w 976574"/>
                <a:gd name="connsiteY99" fmla="*/ 278478 h 695207"/>
                <a:gd name="connsiteX100" fmla="*/ 888433 w 976574"/>
                <a:gd name="connsiteY100" fmla="*/ 250765 h 695207"/>
                <a:gd name="connsiteX101" fmla="*/ 916164 w 976574"/>
                <a:gd name="connsiteY101" fmla="*/ 223260 h 695207"/>
                <a:gd name="connsiteX102" fmla="*/ 943685 w 976574"/>
                <a:gd name="connsiteY102" fmla="*/ 250869 h 695207"/>
                <a:gd name="connsiteX103" fmla="*/ 916267 w 976574"/>
                <a:gd name="connsiteY103" fmla="*/ 278374 h 695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</a:cxnLst>
              <a:rect l="l" t="t" r="r" b="b"/>
              <a:pathLst>
                <a:path w="976574" h="695207">
                  <a:moveTo>
                    <a:pt x="937662" y="194613"/>
                  </a:moveTo>
                  <a:lnTo>
                    <a:pt x="937662" y="16192"/>
                  </a:lnTo>
                  <a:cubicBezTo>
                    <a:pt x="937662" y="7245"/>
                    <a:pt x="930412" y="0"/>
                    <a:pt x="921460" y="0"/>
                  </a:cubicBezTo>
                  <a:lnTo>
                    <a:pt x="56535" y="0"/>
                  </a:lnTo>
                  <a:cubicBezTo>
                    <a:pt x="47582" y="-62"/>
                    <a:pt x="40291" y="7141"/>
                    <a:pt x="40229" y="16088"/>
                  </a:cubicBezTo>
                  <a:cubicBezTo>
                    <a:pt x="40229" y="16120"/>
                    <a:pt x="40229" y="16161"/>
                    <a:pt x="40229" y="16192"/>
                  </a:cubicBezTo>
                  <a:lnTo>
                    <a:pt x="40229" y="461673"/>
                  </a:lnTo>
                  <a:cubicBezTo>
                    <a:pt x="8854" y="472727"/>
                    <a:pt x="-7618" y="507114"/>
                    <a:pt x="3443" y="538470"/>
                  </a:cubicBezTo>
                  <a:cubicBezTo>
                    <a:pt x="9508" y="555647"/>
                    <a:pt x="23030" y="569161"/>
                    <a:pt x="40229" y="575223"/>
                  </a:cubicBezTo>
                  <a:lnTo>
                    <a:pt x="40229" y="679016"/>
                  </a:lnTo>
                  <a:cubicBezTo>
                    <a:pt x="40229" y="687963"/>
                    <a:pt x="47478" y="695208"/>
                    <a:pt x="56431" y="695208"/>
                  </a:cubicBezTo>
                  <a:cubicBezTo>
                    <a:pt x="56462" y="695208"/>
                    <a:pt x="56504" y="695208"/>
                    <a:pt x="56535" y="695208"/>
                  </a:cubicBezTo>
                  <a:lnTo>
                    <a:pt x="225199" y="695208"/>
                  </a:lnTo>
                  <a:cubicBezTo>
                    <a:pt x="226882" y="684268"/>
                    <a:pt x="229136" y="673422"/>
                    <a:pt x="231950" y="662721"/>
                  </a:cubicBezTo>
                  <a:lnTo>
                    <a:pt x="72737" y="662721"/>
                  </a:lnTo>
                  <a:lnTo>
                    <a:pt x="72737" y="577403"/>
                  </a:lnTo>
                  <a:cubicBezTo>
                    <a:pt x="100518" y="571549"/>
                    <a:pt x="120376" y="547022"/>
                    <a:pt x="120303" y="518655"/>
                  </a:cubicBezTo>
                  <a:cubicBezTo>
                    <a:pt x="120324" y="508432"/>
                    <a:pt x="117675" y="498374"/>
                    <a:pt x="112617" y="489490"/>
                  </a:cubicBezTo>
                  <a:lnTo>
                    <a:pt x="244517" y="364315"/>
                  </a:lnTo>
                  <a:cubicBezTo>
                    <a:pt x="247799" y="366287"/>
                    <a:pt x="251278" y="367927"/>
                    <a:pt x="254902" y="369193"/>
                  </a:cubicBezTo>
                  <a:lnTo>
                    <a:pt x="254902" y="599926"/>
                  </a:lnTo>
                  <a:cubicBezTo>
                    <a:pt x="264053" y="577994"/>
                    <a:pt x="274916" y="556831"/>
                    <a:pt x="287410" y="536612"/>
                  </a:cubicBezTo>
                  <a:lnTo>
                    <a:pt x="287410" y="370543"/>
                  </a:lnTo>
                  <a:cubicBezTo>
                    <a:pt x="301119" y="367948"/>
                    <a:pt x="313478" y="360589"/>
                    <a:pt x="322306" y="349784"/>
                  </a:cubicBezTo>
                  <a:lnTo>
                    <a:pt x="501357" y="426902"/>
                  </a:lnTo>
                  <a:cubicBezTo>
                    <a:pt x="501211" y="429559"/>
                    <a:pt x="501211" y="432237"/>
                    <a:pt x="501357" y="434894"/>
                  </a:cubicBezTo>
                  <a:cubicBezTo>
                    <a:pt x="501346" y="460126"/>
                    <a:pt x="517112" y="482681"/>
                    <a:pt x="540822" y="491358"/>
                  </a:cubicBezTo>
                  <a:lnTo>
                    <a:pt x="540822" y="662305"/>
                  </a:lnTo>
                  <a:lnTo>
                    <a:pt x="394383" y="662305"/>
                  </a:lnTo>
                  <a:cubicBezTo>
                    <a:pt x="394010" y="663042"/>
                    <a:pt x="393698" y="663800"/>
                    <a:pt x="393449" y="664589"/>
                  </a:cubicBezTo>
                  <a:cubicBezTo>
                    <a:pt x="389398" y="675799"/>
                    <a:pt x="387840" y="684206"/>
                    <a:pt x="383790" y="694793"/>
                  </a:cubicBezTo>
                  <a:lnTo>
                    <a:pt x="921460" y="694793"/>
                  </a:lnTo>
                  <a:cubicBezTo>
                    <a:pt x="930412" y="694793"/>
                    <a:pt x="937662" y="687548"/>
                    <a:pt x="937662" y="678601"/>
                  </a:cubicBezTo>
                  <a:lnTo>
                    <a:pt x="937662" y="306917"/>
                  </a:lnTo>
                  <a:cubicBezTo>
                    <a:pt x="968695" y="295251"/>
                    <a:pt x="984387" y="260657"/>
                    <a:pt x="972713" y="229643"/>
                  </a:cubicBezTo>
                  <a:cubicBezTo>
                    <a:pt x="966627" y="213462"/>
                    <a:pt x="953853" y="200695"/>
                    <a:pt x="937662" y="194613"/>
                  </a:cubicBezTo>
                  <a:close/>
                  <a:moveTo>
                    <a:pt x="72737" y="64248"/>
                  </a:moveTo>
                  <a:cubicBezTo>
                    <a:pt x="75478" y="69791"/>
                    <a:pt x="81097" y="73320"/>
                    <a:pt x="87277" y="73382"/>
                  </a:cubicBezTo>
                  <a:lnTo>
                    <a:pt x="114383" y="73382"/>
                  </a:lnTo>
                  <a:cubicBezTo>
                    <a:pt x="118143" y="73497"/>
                    <a:pt x="121820" y="72282"/>
                    <a:pt x="124769" y="69957"/>
                  </a:cubicBezTo>
                  <a:cubicBezTo>
                    <a:pt x="127740" y="72241"/>
                    <a:pt x="131405" y="73455"/>
                    <a:pt x="135155" y="73382"/>
                  </a:cubicBezTo>
                  <a:lnTo>
                    <a:pt x="162262" y="73382"/>
                  </a:lnTo>
                  <a:cubicBezTo>
                    <a:pt x="168088" y="68826"/>
                    <a:pt x="176272" y="68826"/>
                    <a:pt x="182098" y="73382"/>
                  </a:cubicBezTo>
                  <a:lnTo>
                    <a:pt x="209309" y="73382"/>
                  </a:lnTo>
                  <a:cubicBezTo>
                    <a:pt x="218282" y="72666"/>
                    <a:pt x="224981" y="64809"/>
                    <a:pt x="224264" y="55841"/>
                  </a:cubicBezTo>
                  <a:cubicBezTo>
                    <a:pt x="223621" y="47870"/>
                    <a:pt x="217285" y="41528"/>
                    <a:pt x="209309" y="40895"/>
                  </a:cubicBezTo>
                  <a:lnTo>
                    <a:pt x="182098" y="40895"/>
                  </a:lnTo>
                  <a:cubicBezTo>
                    <a:pt x="176272" y="45452"/>
                    <a:pt x="168088" y="45452"/>
                    <a:pt x="162262" y="40895"/>
                  </a:cubicBezTo>
                  <a:lnTo>
                    <a:pt x="134220" y="40895"/>
                  </a:lnTo>
                  <a:cubicBezTo>
                    <a:pt x="130471" y="40822"/>
                    <a:pt x="126805" y="42037"/>
                    <a:pt x="123834" y="44320"/>
                  </a:cubicBezTo>
                  <a:cubicBezTo>
                    <a:pt x="120885" y="41995"/>
                    <a:pt x="117208" y="40781"/>
                    <a:pt x="113448" y="40895"/>
                  </a:cubicBezTo>
                  <a:lnTo>
                    <a:pt x="86342" y="40895"/>
                  </a:lnTo>
                  <a:cubicBezTo>
                    <a:pt x="80131" y="40957"/>
                    <a:pt x="74492" y="44538"/>
                    <a:pt x="71802" y="50133"/>
                  </a:cubicBezTo>
                  <a:lnTo>
                    <a:pt x="71802" y="32176"/>
                  </a:lnTo>
                  <a:lnTo>
                    <a:pt x="904843" y="32176"/>
                  </a:lnTo>
                  <a:lnTo>
                    <a:pt x="904843" y="83035"/>
                  </a:lnTo>
                  <a:lnTo>
                    <a:pt x="72737" y="83035"/>
                  </a:lnTo>
                  <a:close/>
                  <a:moveTo>
                    <a:pt x="60481" y="546057"/>
                  </a:moveTo>
                  <a:cubicBezTo>
                    <a:pt x="59193" y="545746"/>
                    <a:pt x="57864" y="545569"/>
                    <a:pt x="56535" y="545538"/>
                  </a:cubicBezTo>
                  <a:lnTo>
                    <a:pt x="55600" y="545538"/>
                  </a:lnTo>
                  <a:cubicBezTo>
                    <a:pt x="41029" y="542632"/>
                    <a:pt x="31588" y="528464"/>
                    <a:pt x="34496" y="513902"/>
                  </a:cubicBezTo>
                  <a:cubicBezTo>
                    <a:pt x="37415" y="499350"/>
                    <a:pt x="51581" y="489905"/>
                    <a:pt x="66152" y="492821"/>
                  </a:cubicBezTo>
                  <a:cubicBezTo>
                    <a:pt x="80713" y="495728"/>
                    <a:pt x="90164" y="509885"/>
                    <a:pt x="87256" y="524447"/>
                  </a:cubicBezTo>
                  <a:cubicBezTo>
                    <a:pt x="84711" y="537162"/>
                    <a:pt x="73453" y="546244"/>
                    <a:pt x="60481" y="546057"/>
                  </a:cubicBezTo>
                  <a:close/>
                  <a:moveTo>
                    <a:pt x="275259" y="339820"/>
                  </a:moveTo>
                  <a:cubicBezTo>
                    <a:pt x="260002" y="340048"/>
                    <a:pt x="247446" y="327873"/>
                    <a:pt x="247217" y="312626"/>
                  </a:cubicBezTo>
                  <a:cubicBezTo>
                    <a:pt x="246989" y="297379"/>
                    <a:pt x="259171" y="284840"/>
                    <a:pt x="274428" y="284612"/>
                  </a:cubicBezTo>
                  <a:cubicBezTo>
                    <a:pt x="289684" y="284384"/>
                    <a:pt x="302241" y="296548"/>
                    <a:pt x="302469" y="311796"/>
                  </a:cubicBezTo>
                  <a:cubicBezTo>
                    <a:pt x="302469" y="312003"/>
                    <a:pt x="302469" y="312211"/>
                    <a:pt x="302469" y="312418"/>
                  </a:cubicBezTo>
                  <a:cubicBezTo>
                    <a:pt x="302355" y="327427"/>
                    <a:pt x="290276" y="339591"/>
                    <a:pt x="275259" y="339820"/>
                  </a:cubicBezTo>
                  <a:close/>
                  <a:moveTo>
                    <a:pt x="514131" y="397321"/>
                  </a:moveTo>
                  <a:lnTo>
                    <a:pt x="334977" y="320203"/>
                  </a:lnTo>
                  <a:cubicBezTo>
                    <a:pt x="335382" y="317556"/>
                    <a:pt x="335590" y="314889"/>
                    <a:pt x="335600" y="312211"/>
                  </a:cubicBezTo>
                  <a:cubicBezTo>
                    <a:pt x="334219" y="278997"/>
                    <a:pt x="306156" y="253183"/>
                    <a:pt x="272911" y="254564"/>
                  </a:cubicBezTo>
                  <a:cubicBezTo>
                    <a:pt x="241609" y="255861"/>
                    <a:pt x="216527" y="280927"/>
                    <a:pt x="215229" y="312211"/>
                  </a:cubicBezTo>
                  <a:cubicBezTo>
                    <a:pt x="215229" y="322029"/>
                    <a:pt x="217649" y="331693"/>
                    <a:pt x="222292" y="340339"/>
                  </a:cubicBezTo>
                  <a:lnTo>
                    <a:pt x="89873" y="466136"/>
                  </a:lnTo>
                  <a:cubicBezTo>
                    <a:pt x="84566" y="463116"/>
                    <a:pt x="78823" y="460936"/>
                    <a:pt x="72840" y="459701"/>
                  </a:cubicBezTo>
                  <a:lnTo>
                    <a:pt x="72840" y="115834"/>
                  </a:lnTo>
                  <a:lnTo>
                    <a:pt x="904843" y="115834"/>
                  </a:lnTo>
                  <a:lnTo>
                    <a:pt x="904843" y="191811"/>
                  </a:lnTo>
                  <a:cubicBezTo>
                    <a:pt x="876500" y="197218"/>
                    <a:pt x="855957" y="221931"/>
                    <a:pt x="855822" y="250765"/>
                  </a:cubicBezTo>
                  <a:cubicBezTo>
                    <a:pt x="855854" y="255446"/>
                    <a:pt x="856414" y="260117"/>
                    <a:pt x="857484" y="264673"/>
                  </a:cubicBezTo>
                  <a:lnTo>
                    <a:pt x="609472" y="400435"/>
                  </a:lnTo>
                  <a:cubicBezTo>
                    <a:pt x="598224" y="384451"/>
                    <a:pt x="579904" y="374923"/>
                    <a:pt x="560348" y="374902"/>
                  </a:cubicBezTo>
                  <a:cubicBezTo>
                    <a:pt x="542308" y="374975"/>
                    <a:pt x="525265" y="383216"/>
                    <a:pt x="514027" y="397321"/>
                  </a:cubicBezTo>
                  <a:close/>
                  <a:moveTo>
                    <a:pt x="533137" y="435102"/>
                  </a:moveTo>
                  <a:cubicBezTo>
                    <a:pt x="533137" y="419855"/>
                    <a:pt x="545506" y="407493"/>
                    <a:pt x="560763" y="407493"/>
                  </a:cubicBezTo>
                  <a:cubicBezTo>
                    <a:pt x="576020" y="407493"/>
                    <a:pt x="588389" y="419855"/>
                    <a:pt x="588389" y="435102"/>
                  </a:cubicBezTo>
                  <a:cubicBezTo>
                    <a:pt x="588389" y="450349"/>
                    <a:pt x="576020" y="462711"/>
                    <a:pt x="560763" y="462711"/>
                  </a:cubicBezTo>
                  <a:cubicBezTo>
                    <a:pt x="545506" y="462773"/>
                    <a:pt x="533095" y="450453"/>
                    <a:pt x="533033" y="435206"/>
                  </a:cubicBezTo>
                  <a:cubicBezTo>
                    <a:pt x="533033" y="435175"/>
                    <a:pt x="533033" y="435133"/>
                    <a:pt x="533033" y="435102"/>
                  </a:cubicBezTo>
                  <a:close/>
                  <a:moveTo>
                    <a:pt x="904843" y="662513"/>
                  </a:moveTo>
                  <a:lnTo>
                    <a:pt x="572499" y="662513"/>
                  </a:lnTo>
                  <a:lnTo>
                    <a:pt x="572499" y="493953"/>
                  </a:lnTo>
                  <a:cubicBezTo>
                    <a:pt x="600468" y="488172"/>
                    <a:pt x="620595" y="463645"/>
                    <a:pt x="620793" y="435102"/>
                  </a:cubicBezTo>
                  <a:cubicBezTo>
                    <a:pt x="620793" y="433857"/>
                    <a:pt x="620793" y="432611"/>
                    <a:pt x="620793" y="431365"/>
                  </a:cubicBezTo>
                  <a:lnTo>
                    <a:pt x="873686" y="293009"/>
                  </a:lnTo>
                  <a:cubicBezTo>
                    <a:pt x="882181" y="301572"/>
                    <a:pt x="893024" y="307426"/>
                    <a:pt x="904843" y="309823"/>
                  </a:cubicBezTo>
                  <a:close/>
                  <a:moveTo>
                    <a:pt x="915956" y="278478"/>
                  </a:moveTo>
                  <a:cubicBezTo>
                    <a:pt x="900699" y="278416"/>
                    <a:pt x="888371" y="266012"/>
                    <a:pt x="888433" y="250765"/>
                  </a:cubicBezTo>
                  <a:cubicBezTo>
                    <a:pt x="888496" y="235518"/>
                    <a:pt x="900906" y="223208"/>
                    <a:pt x="916164" y="223260"/>
                  </a:cubicBezTo>
                  <a:cubicBezTo>
                    <a:pt x="931378" y="223322"/>
                    <a:pt x="943685" y="235663"/>
                    <a:pt x="943685" y="250869"/>
                  </a:cubicBezTo>
                  <a:cubicBezTo>
                    <a:pt x="943571" y="265971"/>
                    <a:pt x="931378" y="278208"/>
                    <a:pt x="916267" y="278374"/>
                  </a:cubicBezTo>
                  <a:close/>
                </a:path>
              </a:pathLst>
            </a:custGeom>
            <a:solidFill>
              <a:srgbClr val="221F1F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0" name="Freeform 489">
              <a:extLst>
                <a:ext uri="{FF2B5EF4-FFF2-40B4-BE49-F238E27FC236}">
                  <a16:creationId xmlns:a16="http://schemas.microsoft.com/office/drawing/2014/main" id="{56408DEA-B003-BF4F-893E-9F7CE30E6FD0}"/>
                </a:ext>
              </a:extLst>
            </p:cNvPr>
            <p:cNvSpPr/>
            <p:nvPr/>
          </p:nvSpPr>
          <p:spPr>
            <a:xfrm>
              <a:off x="9715556" y="3455745"/>
              <a:ext cx="208235" cy="32594"/>
            </a:xfrm>
            <a:custGeom>
              <a:avLst/>
              <a:gdLst>
                <a:gd name="connsiteX0" fmla="*/ 190631 w 208235"/>
                <a:gd name="connsiteY0" fmla="*/ 54 h 32594"/>
                <a:gd name="connsiteX1" fmla="*/ 15008 w 208235"/>
                <a:gd name="connsiteY1" fmla="*/ 54 h 32594"/>
                <a:gd name="connsiteX2" fmla="*/ 52 w 208235"/>
                <a:gd name="connsiteY2" fmla="*/ 17595 h 32594"/>
                <a:gd name="connsiteX3" fmla="*/ 15008 w 208235"/>
                <a:gd name="connsiteY3" fmla="*/ 32542 h 32594"/>
                <a:gd name="connsiteX4" fmla="*/ 190631 w 208235"/>
                <a:gd name="connsiteY4" fmla="*/ 32542 h 32594"/>
                <a:gd name="connsiteX5" fmla="*/ 208183 w 208235"/>
                <a:gd name="connsiteY5" fmla="*/ 17595 h 32594"/>
                <a:gd name="connsiteX6" fmla="*/ 193228 w 208235"/>
                <a:gd name="connsiteY6" fmla="*/ 54 h 32594"/>
                <a:gd name="connsiteX7" fmla="*/ 190631 w 208235"/>
                <a:gd name="connsiteY7" fmla="*/ 54 h 32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8235" h="32594">
                  <a:moveTo>
                    <a:pt x="190631" y="54"/>
                  </a:moveTo>
                  <a:lnTo>
                    <a:pt x="15008" y="54"/>
                  </a:lnTo>
                  <a:cubicBezTo>
                    <a:pt x="6035" y="771"/>
                    <a:pt x="-664" y="8628"/>
                    <a:pt x="52" y="17595"/>
                  </a:cubicBezTo>
                  <a:cubicBezTo>
                    <a:pt x="697" y="25567"/>
                    <a:pt x="7032" y="31909"/>
                    <a:pt x="15008" y="32542"/>
                  </a:cubicBezTo>
                  <a:lnTo>
                    <a:pt x="190631" y="32542"/>
                  </a:lnTo>
                  <a:cubicBezTo>
                    <a:pt x="199604" y="33258"/>
                    <a:pt x="207466" y="26574"/>
                    <a:pt x="208183" y="17595"/>
                  </a:cubicBezTo>
                  <a:cubicBezTo>
                    <a:pt x="208900" y="8628"/>
                    <a:pt x="202211" y="771"/>
                    <a:pt x="193228" y="54"/>
                  </a:cubicBezTo>
                  <a:cubicBezTo>
                    <a:pt x="192366" y="-18"/>
                    <a:pt x="191493" y="-18"/>
                    <a:pt x="190631" y="54"/>
                  </a:cubicBezTo>
                  <a:close/>
                </a:path>
              </a:pathLst>
            </a:custGeom>
            <a:solidFill>
              <a:srgbClr val="221F1F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1" name="Freeform 490">
              <a:extLst>
                <a:ext uri="{FF2B5EF4-FFF2-40B4-BE49-F238E27FC236}">
                  <a16:creationId xmlns:a16="http://schemas.microsoft.com/office/drawing/2014/main" id="{F5F5F5BB-04D7-454F-B517-87457993D9B3}"/>
                </a:ext>
              </a:extLst>
            </p:cNvPr>
            <p:cNvSpPr/>
            <p:nvPr/>
          </p:nvSpPr>
          <p:spPr>
            <a:xfrm>
              <a:off x="9715556" y="3512886"/>
              <a:ext cx="104689" cy="32487"/>
            </a:xfrm>
            <a:custGeom>
              <a:avLst/>
              <a:gdLst>
                <a:gd name="connsiteX0" fmla="*/ 89682 w 104689"/>
                <a:gd name="connsiteY0" fmla="*/ 0 h 32487"/>
                <a:gd name="connsiteX1" fmla="*/ 15008 w 104689"/>
                <a:gd name="connsiteY1" fmla="*/ 0 h 32487"/>
                <a:gd name="connsiteX2" fmla="*/ 52 w 104689"/>
                <a:gd name="connsiteY2" fmla="*/ 17541 h 32487"/>
                <a:gd name="connsiteX3" fmla="*/ 15008 w 104689"/>
                <a:gd name="connsiteY3" fmla="*/ 32487 h 32487"/>
                <a:gd name="connsiteX4" fmla="*/ 89682 w 104689"/>
                <a:gd name="connsiteY4" fmla="*/ 32487 h 32487"/>
                <a:gd name="connsiteX5" fmla="*/ 104637 w 104689"/>
                <a:gd name="connsiteY5" fmla="*/ 14946 h 32487"/>
                <a:gd name="connsiteX6" fmla="*/ 89682 w 104689"/>
                <a:gd name="connsiteY6" fmla="*/ 0 h 32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689" h="32487">
                  <a:moveTo>
                    <a:pt x="89682" y="0"/>
                  </a:moveTo>
                  <a:lnTo>
                    <a:pt x="15008" y="0"/>
                  </a:lnTo>
                  <a:cubicBezTo>
                    <a:pt x="6035" y="716"/>
                    <a:pt x="-664" y="8573"/>
                    <a:pt x="52" y="17541"/>
                  </a:cubicBezTo>
                  <a:cubicBezTo>
                    <a:pt x="697" y="25512"/>
                    <a:pt x="7032" y="31854"/>
                    <a:pt x="15008" y="32487"/>
                  </a:cubicBezTo>
                  <a:lnTo>
                    <a:pt x="89682" y="32487"/>
                  </a:lnTo>
                  <a:cubicBezTo>
                    <a:pt x="98655" y="31771"/>
                    <a:pt x="105354" y="23914"/>
                    <a:pt x="104637" y="14946"/>
                  </a:cubicBezTo>
                  <a:cubicBezTo>
                    <a:pt x="103993" y="6975"/>
                    <a:pt x="97658" y="633"/>
                    <a:pt x="89682" y="0"/>
                  </a:cubicBezTo>
                  <a:close/>
                </a:path>
              </a:pathLst>
            </a:custGeom>
            <a:solidFill>
              <a:srgbClr val="221F1F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2" name="Freeform 491">
              <a:extLst>
                <a:ext uri="{FF2B5EF4-FFF2-40B4-BE49-F238E27FC236}">
                  <a16:creationId xmlns:a16="http://schemas.microsoft.com/office/drawing/2014/main" id="{956B4480-3A77-2346-ABC0-1A483F7AEB97}"/>
                </a:ext>
              </a:extLst>
            </p:cNvPr>
            <p:cNvSpPr/>
            <p:nvPr/>
          </p:nvSpPr>
          <p:spPr>
            <a:xfrm>
              <a:off x="4920091" y="3793647"/>
              <a:ext cx="46008" cy="41621"/>
            </a:xfrm>
            <a:custGeom>
              <a:avLst/>
              <a:gdLst>
                <a:gd name="connsiteX0" fmla="*/ 44970 w 46008"/>
                <a:gd name="connsiteY0" fmla="*/ 0 h 41621"/>
                <a:gd name="connsiteX1" fmla="*/ 46009 w 46008"/>
                <a:gd name="connsiteY1" fmla="*/ 0 h 41621"/>
                <a:gd name="connsiteX2" fmla="*/ 46009 w 46008"/>
                <a:gd name="connsiteY2" fmla="*/ 41621 h 41621"/>
                <a:gd name="connsiteX3" fmla="*/ 44970 w 46008"/>
                <a:gd name="connsiteY3" fmla="*/ 41621 h 41621"/>
                <a:gd name="connsiteX4" fmla="*/ 1039 w 46008"/>
                <a:gd name="connsiteY4" fmla="*/ 41621 h 41621"/>
                <a:gd name="connsiteX5" fmla="*/ 1039 w 46008"/>
                <a:gd name="connsiteY5" fmla="*/ 0 h 41621"/>
                <a:gd name="connsiteX6" fmla="*/ 0 w 46008"/>
                <a:gd name="connsiteY6" fmla="*/ 0 h 41621"/>
                <a:gd name="connsiteX7" fmla="*/ 1039 w 46008"/>
                <a:gd name="connsiteY7" fmla="*/ 0 h 41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008" h="41621">
                  <a:moveTo>
                    <a:pt x="44970" y="0"/>
                  </a:moveTo>
                  <a:cubicBezTo>
                    <a:pt x="45544" y="0"/>
                    <a:pt x="46009" y="0"/>
                    <a:pt x="46009" y="0"/>
                  </a:cubicBezTo>
                  <a:lnTo>
                    <a:pt x="46009" y="41621"/>
                  </a:lnTo>
                  <a:cubicBezTo>
                    <a:pt x="46009" y="41621"/>
                    <a:pt x="45544" y="41621"/>
                    <a:pt x="44970" y="41621"/>
                  </a:cubicBezTo>
                  <a:lnTo>
                    <a:pt x="1039" y="41621"/>
                  </a:lnTo>
                  <a:lnTo>
                    <a:pt x="1039" y="0"/>
                  </a:lnTo>
                  <a:cubicBezTo>
                    <a:pt x="465" y="0"/>
                    <a:pt x="0" y="0"/>
                    <a:pt x="0" y="0"/>
                  </a:cubicBezTo>
                  <a:cubicBezTo>
                    <a:pt x="0" y="0"/>
                    <a:pt x="465" y="0"/>
                    <a:pt x="1039" y="0"/>
                  </a:cubicBezTo>
                  <a:close/>
                </a:path>
              </a:pathLst>
            </a:custGeom>
            <a:solidFill>
              <a:srgbClr val="221F1F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3" name="Freeform 492">
              <a:extLst>
                <a:ext uri="{FF2B5EF4-FFF2-40B4-BE49-F238E27FC236}">
                  <a16:creationId xmlns:a16="http://schemas.microsoft.com/office/drawing/2014/main" id="{DC380CE1-ABB0-7041-AC34-794F06B2F1D6}"/>
                </a:ext>
              </a:extLst>
            </p:cNvPr>
            <p:cNvSpPr/>
            <p:nvPr/>
          </p:nvSpPr>
          <p:spPr>
            <a:xfrm>
              <a:off x="4992272" y="3793647"/>
              <a:ext cx="46008" cy="41621"/>
            </a:xfrm>
            <a:custGeom>
              <a:avLst/>
              <a:gdLst>
                <a:gd name="connsiteX0" fmla="*/ 44970 w 46008"/>
                <a:gd name="connsiteY0" fmla="*/ 0 h 41621"/>
                <a:gd name="connsiteX1" fmla="*/ 46009 w 46008"/>
                <a:gd name="connsiteY1" fmla="*/ 0 h 41621"/>
                <a:gd name="connsiteX2" fmla="*/ 46009 w 46008"/>
                <a:gd name="connsiteY2" fmla="*/ 41621 h 41621"/>
                <a:gd name="connsiteX3" fmla="*/ 44970 w 46008"/>
                <a:gd name="connsiteY3" fmla="*/ 41621 h 41621"/>
                <a:gd name="connsiteX4" fmla="*/ 1039 w 46008"/>
                <a:gd name="connsiteY4" fmla="*/ 41621 h 41621"/>
                <a:gd name="connsiteX5" fmla="*/ 1039 w 46008"/>
                <a:gd name="connsiteY5" fmla="*/ 0 h 41621"/>
                <a:gd name="connsiteX6" fmla="*/ 0 w 46008"/>
                <a:gd name="connsiteY6" fmla="*/ 0 h 41621"/>
                <a:gd name="connsiteX7" fmla="*/ 1039 w 46008"/>
                <a:gd name="connsiteY7" fmla="*/ 0 h 41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008" h="41621">
                  <a:moveTo>
                    <a:pt x="44970" y="0"/>
                  </a:moveTo>
                  <a:cubicBezTo>
                    <a:pt x="45544" y="0"/>
                    <a:pt x="46009" y="0"/>
                    <a:pt x="46009" y="0"/>
                  </a:cubicBezTo>
                  <a:lnTo>
                    <a:pt x="46009" y="41621"/>
                  </a:lnTo>
                  <a:cubicBezTo>
                    <a:pt x="46009" y="41621"/>
                    <a:pt x="45544" y="41621"/>
                    <a:pt x="44970" y="41621"/>
                  </a:cubicBezTo>
                  <a:lnTo>
                    <a:pt x="1039" y="41621"/>
                  </a:lnTo>
                  <a:lnTo>
                    <a:pt x="1039" y="0"/>
                  </a:lnTo>
                  <a:cubicBezTo>
                    <a:pt x="465" y="0"/>
                    <a:pt x="0" y="0"/>
                    <a:pt x="0" y="0"/>
                  </a:cubicBezTo>
                  <a:cubicBezTo>
                    <a:pt x="0" y="0"/>
                    <a:pt x="465" y="0"/>
                    <a:pt x="1039" y="0"/>
                  </a:cubicBezTo>
                  <a:close/>
                </a:path>
              </a:pathLst>
            </a:custGeom>
            <a:solidFill>
              <a:srgbClr val="221F1F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4" name="Freeform 493">
              <a:extLst>
                <a:ext uri="{FF2B5EF4-FFF2-40B4-BE49-F238E27FC236}">
                  <a16:creationId xmlns:a16="http://schemas.microsoft.com/office/drawing/2014/main" id="{8D51F673-9CB9-CB42-9B45-8DE281453C85}"/>
                </a:ext>
              </a:extLst>
            </p:cNvPr>
            <p:cNvSpPr/>
            <p:nvPr/>
          </p:nvSpPr>
          <p:spPr>
            <a:xfrm>
              <a:off x="4351887" y="3558291"/>
              <a:ext cx="415430" cy="304124"/>
            </a:xfrm>
            <a:custGeom>
              <a:avLst/>
              <a:gdLst>
                <a:gd name="connsiteX0" fmla="*/ 191513 w 415430"/>
                <a:gd name="connsiteY0" fmla="*/ 286215 h 304124"/>
                <a:gd name="connsiteX1" fmla="*/ 39777 w 415430"/>
                <a:gd name="connsiteY1" fmla="*/ 286215 h 304124"/>
                <a:gd name="connsiteX2" fmla="*/ 20252 w 415430"/>
                <a:gd name="connsiteY2" fmla="*/ 268985 h 304124"/>
                <a:gd name="connsiteX3" fmla="*/ 20252 w 415430"/>
                <a:gd name="connsiteY3" fmla="*/ 87866 h 304124"/>
                <a:gd name="connsiteX4" fmla="*/ 394659 w 415430"/>
                <a:gd name="connsiteY4" fmla="*/ 87866 h 304124"/>
                <a:gd name="connsiteX5" fmla="*/ 394659 w 415430"/>
                <a:gd name="connsiteY5" fmla="*/ 164984 h 304124"/>
                <a:gd name="connsiteX6" fmla="*/ 404681 w 415430"/>
                <a:gd name="connsiteY6" fmla="*/ 174035 h 304124"/>
                <a:gd name="connsiteX7" fmla="*/ 405044 w 415430"/>
                <a:gd name="connsiteY7" fmla="*/ 174014 h 304124"/>
                <a:gd name="connsiteX8" fmla="*/ 415420 w 415430"/>
                <a:gd name="connsiteY8" fmla="*/ 165140 h 304124"/>
                <a:gd name="connsiteX9" fmla="*/ 415430 w 415430"/>
                <a:gd name="connsiteY9" fmla="*/ 164984 h 304124"/>
                <a:gd name="connsiteX10" fmla="*/ 415430 w 415430"/>
                <a:gd name="connsiteY10" fmla="*/ 35242 h 304124"/>
                <a:gd name="connsiteX11" fmla="*/ 415430 w 415430"/>
                <a:gd name="connsiteY11" fmla="*/ 35242 h 304124"/>
                <a:gd name="connsiteX12" fmla="*/ 375653 w 415430"/>
                <a:gd name="connsiteY12" fmla="*/ 57 h 304124"/>
                <a:gd name="connsiteX13" fmla="*/ 39777 w 415430"/>
                <a:gd name="connsiteY13" fmla="*/ 57 h 304124"/>
                <a:gd name="connsiteX14" fmla="*/ 0 w 415430"/>
                <a:gd name="connsiteY14" fmla="*/ 35242 h 304124"/>
                <a:gd name="connsiteX15" fmla="*/ 0 w 415430"/>
                <a:gd name="connsiteY15" fmla="*/ 268881 h 304124"/>
                <a:gd name="connsiteX16" fmla="*/ 39777 w 415430"/>
                <a:gd name="connsiteY16" fmla="*/ 304067 h 304124"/>
                <a:gd name="connsiteX17" fmla="*/ 191513 w 415430"/>
                <a:gd name="connsiteY17" fmla="*/ 304067 h 304124"/>
                <a:gd name="connsiteX18" fmla="*/ 201464 w 415430"/>
                <a:gd name="connsiteY18" fmla="*/ 296054 h 304124"/>
                <a:gd name="connsiteX19" fmla="*/ 193448 w 415430"/>
                <a:gd name="connsiteY19" fmla="*/ 286111 h 304124"/>
                <a:gd name="connsiteX20" fmla="*/ 191513 w 415430"/>
                <a:gd name="connsiteY20" fmla="*/ 286111 h 304124"/>
                <a:gd name="connsiteX21" fmla="*/ 20252 w 415430"/>
                <a:gd name="connsiteY21" fmla="*/ 35242 h 304124"/>
                <a:gd name="connsiteX22" fmla="*/ 39777 w 415430"/>
                <a:gd name="connsiteY22" fmla="*/ 18013 h 304124"/>
                <a:gd name="connsiteX23" fmla="*/ 375445 w 415430"/>
                <a:gd name="connsiteY23" fmla="*/ 18013 h 304124"/>
                <a:gd name="connsiteX24" fmla="*/ 394970 w 415430"/>
                <a:gd name="connsiteY24" fmla="*/ 35242 h 304124"/>
                <a:gd name="connsiteX25" fmla="*/ 394970 w 415430"/>
                <a:gd name="connsiteY25" fmla="*/ 69806 h 304124"/>
                <a:gd name="connsiteX26" fmla="*/ 21083 w 415430"/>
                <a:gd name="connsiteY26" fmla="*/ 69806 h 304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15430" h="304124">
                  <a:moveTo>
                    <a:pt x="191513" y="286215"/>
                  </a:moveTo>
                  <a:lnTo>
                    <a:pt x="39777" y="286215"/>
                  </a:lnTo>
                  <a:cubicBezTo>
                    <a:pt x="29638" y="286806"/>
                    <a:pt x="20920" y="279115"/>
                    <a:pt x="20252" y="268985"/>
                  </a:cubicBezTo>
                  <a:lnTo>
                    <a:pt x="20252" y="87866"/>
                  </a:lnTo>
                  <a:lnTo>
                    <a:pt x="394659" y="87866"/>
                  </a:lnTo>
                  <a:lnTo>
                    <a:pt x="394659" y="164984"/>
                  </a:lnTo>
                  <a:cubicBezTo>
                    <a:pt x="394929" y="170246"/>
                    <a:pt x="399415" y="174305"/>
                    <a:pt x="404681" y="174035"/>
                  </a:cubicBezTo>
                  <a:cubicBezTo>
                    <a:pt x="404805" y="174035"/>
                    <a:pt x="404920" y="174025"/>
                    <a:pt x="405044" y="174014"/>
                  </a:cubicBezTo>
                  <a:cubicBezTo>
                    <a:pt x="410362" y="174429"/>
                    <a:pt x="415004" y="170454"/>
                    <a:pt x="415420" y="165140"/>
                  </a:cubicBezTo>
                  <a:cubicBezTo>
                    <a:pt x="415420" y="165088"/>
                    <a:pt x="415430" y="165036"/>
                    <a:pt x="415430" y="164984"/>
                  </a:cubicBezTo>
                  <a:lnTo>
                    <a:pt x="415430" y="35242"/>
                  </a:lnTo>
                  <a:lnTo>
                    <a:pt x="415430" y="35242"/>
                  </a:lnTo>
                  <a:cubicBezTo>
                    <a:pt x="414038" y="14608"/>
                    <a:pt x="396310" y="-1064"/>
                    <a:pt x="375653" y="57"/>
                  </a:cubicBezTo>
                  <a:lnTo>
                    <a:pt x="39777" y="57"/>
                  </a:lnTo>
                  <a:cubicBezTo>
                    <a:pt x="19118" y="-1064"/>
                    <a:pt x="1391" y="14608"/>
                    <a:pt x="0" y="35242"/>
                  </a:cubicBezTo>
                  <a:lnTo>
                    <a:pt x="0" y="268881"/>
                  </a:lnTo>
                  <a:cubicBezTo>
                    <a:pt x="1391" y="289515"/>
                    <a:pt x="19118" y="305198"/>
                    <a:pt x="39777" y="304067"/>
                  </a:cubicBezTo>
                  <a:lnTo>
                    <a:pt x="191513" y="304067"/>
                  </a:lnTo>
                  <a:cubicBezTo>
                    <a:pt x="196475" y="304596"/>
                    <a:pt x="200930" y="301015"/>
                    <a:pt x="201464" y="296054"/>
                  </a:cubicBezTo>
                  <a:cubicBezTo>
                    <a:pt x="201999" y="291093"/>
                    <a:pt x="198409" y="286640"/>
                    <a:pt x="193448" y="286111"/>
                  </a:cubicBezTo>
                  <a:cubicBezTo>
                    <a:pt x="192805" y="286038"/>
                    <a:pt x="192156" y="286038"/>
                    <a:pt x="191513" y="286111"/>
                  </a:cubicBezTo>
                  <a:close/>
                  <a:moveTo>
                    <a:pt x="20252" y="35242"/>
                  </a:moveTo>
                  <a:cubicBezTo>
                    <a:pt x="20920" y="25112"/>
                    <a:pt x="29638" y="17421"/>
                    <a:pt x="39777" y="18013"/>
                  </a:cubicBezTo>
                  <a:lnTo>
                    <a:pt x="375445" y="18013"/>
                  </a:lnTo>
                  <a:cubicBezTo>
                    <a:pt x="385581" y="17421"/>
                    <a:pt x="394305" y="25112"/>
                    <a:pt x="394970" y="35242"/>
                  </a:cubicBezTo>
                  <a:lnTo>
                    <a:pt x="394970" y="69806"/>
                  </a:lnTo>
                  <a:lnTo>
                    <a:pt x="21083" y="69806"/>
                  </a:lnTo>
                  <a:close/>
                </a:path>
              </a:pathLst>
            </a:custGeom>
            <a:solidFill>
              <a:srgbClr val="221F1F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5" name="Freeform 494">
              <a:extLst>
                <a:ext uri="{FF2B5EF4-FFF2-40B4-BE49-F238E27FC236}">
                  <a16:creationId xmlns:a16="http://schemas.microsoft.com/office/drawing/2014/main" id="{1F8C6B74-74EC-5245-93EC-BB1245DEE52B}"/>
                </a:ext>
              </a:extLst>
            </p:cNvPr>
            <p:cNvSpPr/>
            <p:nvPr/>
          </p:nvSpPr>
          <p:spPr>
            <a:xfrm>
              <a:off x="4626694" y="3586260"/>
              <a:ext cx="39154" cy="31151"/>
            </a:xfrm>
            <a:custGeom>
              <a:avLst/>
              <a:gdLst>
                <a:gd name="connsiteX0" fmla="*/ 38323 w 39154"/>
                <a:gd name="connsiteY0" fmla="*/ 8 h 31151"/>
                <a:gd name="connsiteX1" fmla="*/ 935 w 39154"/>
                <a:gd name="connsiteY1" fmla="*/ 8 h 31151"/>
                <a:gd name="connsiteX2" fmla="*/ 2 w 39154"/>
                <a:gd name="connsiteY2" fmla="*/ 724 h 31151"/>
                <a:gd name="connsiteX3" fmla="*/ 0 w 39154"/>
                <a:gd name="connsiteY3" fmla="*/ 734 h 31151"/>
                <a:gd name="connsiteX4" fmla="*/ 0 w 39154"/>
                <a:gd name="connsiteY4" fmla="*/ 30419 h 31151"/>
                <a:gd name="connsiteX5" fmla="*/ 922 w 39154"/>
                <a:gd name="connsiteY5" fmla="*/ 31146 h 31151"/>
                <a:gd name="connsiteX6" fmla="*/ 935 w 39154"/>
                <a:gd name="connsiteY6" fmla="*/ 31146 h 31151"/>
                <a:gd name="connsiteX7" fmla="*/ 38323 w 39154"/>
                <a:gd name="connsiteY7" fmla="*/ 31146 h 31151"/>
                <a:gd name="connsiteX8" fmla="*/ 39154 w 39154"/>
                <a:gd name="connsiteY8" fmla="*/ 30419 h 31151"/>
                <a:gd name="connsiteX9" fmla="*/ 39154 w 39154"/>
                <a:gd name="connsiteY9" fmla="*/ 734 h 31151"/>
                <a:gd name="connsiteX10" fmla="*/ 38323 w 39154"/>
                <a:gd name="connsiteY10" fmla="*/ 8 h 31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154" h="31151">
                  <a:moveTo>
                    <a:pt x="38323" y="8"/>
                  </a:moveTo>
                  <a:lnTo>
                    <a:pt x="935" y="8"/>
                  </a:lnTo>
                  <a:cubicBezTo>
                    <a:pt x="480" y="-55"/>
                    <a:pt x="62" y="267"/>
                    <a:pt x="2" y="724"/>
                  </a:cubicBezTo>
                  <a:cubicBezTo>
                    <a:pt x="1" y="724"/>
                    <a:pt x="1" y="734"/>
                    <a:pt x="0" y="734"/>
                  </a:cubicBezTo>
                  <a:lnTo>
                    <a:pt x="0" y="30419"/>
                  </a:lnTo>
                  <a:cubicBezTo>
                    <a:pt x="53" y="30876"/>
                    <a:pt x="466" y="31197"/>
                    <a:pt x="922" y="31146"/>
                  </a:cubicBezTo>
                  <a:cubicBezTo>
                    <a:pt x="926" y="31146"/>
                    <a:pt x="931" y="31146"/>
                    <a:pt x="935" y="31146"/>
                  </a:cubicBezTo>
                  <a:lnTo>
                    <a:pt x="38323" y="31146"/>
                  </a:lnTo>
                  <a:cubicBezTo>
                    <a:pt x="38745" y="31146"/>
                    <a:pt x="39101" y="30834"/>
                    <a:pt x="39154" y="30419"/>
                  </a:cubicBezTo>
                  <a:lnTo>
                    <a:pt x="39154" y="734"/>
                  </a:lnTo>
                  <a:cubicBezTo>
                    <a:pt x="39101" y="319"/>
                    <a:pt x="38745" y="8"/>
                    <a:pt x="38323" y="8"/>
                  </a:cubicBezTo>
                  <a:close/>
                </a:path>
              </a:pathLst>
            </a:custGeom>
            <a:solidFill>
              <a:srgbClr val="221F1F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6" name="Freeform 495">
              <a:extLst>
                <a:ext uri="{FF2B5EF4-FFF2-40B4-BE49-F238E27FC236}">
                  <a16:creationId xmlns:a16="http://schemas.microsoft.com/office/drawing/2014/main" id="{2747EA81-DAAE-1C4B-A2E9-2416B4C54268}"/>
                </a:ext>
              </a:extLst>
            </p:cNvPr>
            <p:cNvSpPr/>
            <p:nvPr/>
          </p:nvSpPr>
          <p:spPr>
            <a:xfrm>
              <a:off x="4687658" y="3586260"/>
              <a:ext cx="39154" cy="31153"/>
            </a:xfrm>
            <a:custGeom>
              <a:avLst/>
              <a:gdLst>
                <a:gd name="connsiteX0" fmla="*/ 38220 w 39154"/>
                <a:gd name="connsiteY0" fmla="*/ 8 h 31153"/>
                <a:gd name="connsiteX1" fmla="*/ 935 w 39154"/>
                <a:gd name="connsiteY1" fmla="*/ 8 h 31153"/>
                <a:gd name="connsiteX2" fmla="*/ 2 w 39154"/>
                <a:gd name="connsiteY2" fmla="*/ 724 h 31153"/>
                <a:gd name="connsiteX3" fmla="*/ 0 w 39154"/>
                <a:gd name="connsiteY3" fmla="*/ 734 h 31153"/>
                <a:gd name="connsiteX4" fmla="*/ 0 w 39154"/>
                <a:gd name="connsiteY4" fmla="*/ 30419 h 31153"/>
                <a:gd name="connsiteX5" fmla="*/ 922 w 39154"/>
                <a:gd name="connsiteY5" fmla="*/ 31146 h 31153"/>
                <a:gd name="connsiteX6" fmla="*/ 935 w 39154"/>
                <a:gd name="connsiteY6" fmla="*/ 31146 h 31153"/>
                <a:gd name="connsiteX7" fmla="*/ 38220 w 39154"/>
                <a:gd name="connsiteY7" fmla="*/ 31146 h 31153"/>
                <a:gd name="connsiteX8" fmla="*/ 39154 w 39154"/>
                <a:gd name="connsiteY8" fmla="*/ 30430 h 31153"/>
                <a:gd name="connsiteX9" fmla="*/ 39154 w 39154"/>
                <a:gd name="connsiteY9" fmla="*/ 30419 h 31153"/>
                <a:gd name="connsiteX10" fmla="*/ 39154 w 39154"/>
                <a:gd name="connsiteY10" fmla="*/ 734 h 31153"/>
                <a:gd name="connsiteX11" fmla="*/ 38230 w 39154"/>
                <a:gd name="connsiteY11" fmla="*/ 8 h 31153"/>
                <a:gd name="connsiteX12" fmla="*/ 38220 w 39154"/>
                <a:gd name="connsiteY12" fmla="*/ 8 h 31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9154" h="31153">
                  <a:moveTo>
                    <a:pt x="38220" y="8"/>
                  </a:moveTo>
                  <a:lnTo>
                    <a:pt x="935" y="8"/>
                  </a:lnTo>
                  <a:cubicBezTo>
                    <a:pt x="480" y="-55"/>
                    <a:pt x="62" y="267"/>
                    <a:pt x="2" y="724"/>
                  </a:cubicBezTo>
                  <a:cubicBezTo>
                    <a:pt x="1" y="724"/>
                    <a:pt x="0" y="734"/>
                    <a:pt x="0" y="734"/>
                  </a:cubicBezTo>
                  <a:lnTo>
                    <a:pt x="0" y="30419"/>
                  </a:lnTo>
                  <a:cubicBezTo>
                    <a:pt x="53" y="30876"/>
                    <a:pt x="466" y="31197"/>
                    <a:pt x="922" y="31146"/>
                  </a:cubicBezTo>
                  <a:cubicBezTo>
                    <a:pt x="926" y="31146"/>
                    <a:pt x="931" y="31146"/>
                    <a:pt x="935" y="31146"/>
                  </a:cubicBezTo>
                  <a:lnTo>
                    <a:pt x="38220" y="31146"/>
                  </a:lnTo>
                  <a:cubicBezTo>
                    <a:pt x="38677" y="31208"/>
                    <a:pt x="39092" y="30886"/>
                    <a:pt x="39154" y="30430"/>
                  </a:cubicBezTo>
                  <a:cubicBezTo>
                    <a:pt x="39154" y="30430"/>
                    <a:pt x="39154" y="30419"/>
                    <a:pt x="39154" y="30419"/>
                  </a:cubicBezTo>
                  <a:lnTo>
                    <a:pt x="39154" y="734"/>
                  </a:lnTo>
                  <a:cubicBezTo>
                    <a:pt x="39102" y="278"/>
                    <a:pt x="38687" y="-44"/>
                    <a:pt x="38230" y="8"/>
                  </a:cubicBezTo>
                  <a:cubicBezTo>
                    <a:pt x="38230" y="8"/>
                    <a:pt x="38220" y="8"/>
                    <a:pt x="38220" y="8"/>
                  </a:cubicBezTo>
                  <a:close/>
                </a:path>
              </a:pathLst>
            </a:custGeom>
            <a:solidFill>
              <a:srgbClr val="221F1F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7" name="Freeform 496">
              <a:extLst>
                <a:ext uri="{FF2B5EF4-FFF2-40B4-BE49-F238E27FC236}">
                  <a16:creationId xmlns:a16="http://schemas.microsoft.com/office/drawing/2014/main" id="{45D481A7-22F7-8343-AFF2-39CA6A17C2A3}"/>
                </a:ext>
              </a:extLst>
            </p:cNvPr>
            <p:cNvSpPr/>
            <p:nvPr/>
          </p:nvSpPr>
          <p:spPr>
            <a:xfrm>
              <a:off x="4923830" y="4050224"/>
              <a:ext cx="129406" cy="129326"/>
            </a:xfrm>
            <a:custGeom>
              <a:avLst/>
              <a:gdLst>
                <a:gd name="connsiteX0" fmla="*/ 64703 w 129406"/>
                <a:gd name="connsiteY0" fmla="*/ 0 h 129326"/>
                <a:gd name="connsiteX1" fmla="*/ 0 w 129406"/>
                <a:gd name="connsiteY1" fmla="*/ 64663 h 129326"/>
                <a:gd name="connsiteX2" fmla="*/ 64703 w 129406"/>
                <a:gd name="connsiteY2" fmla="*/ 129326 h 129326"/>
                <a:gd name="connsiteX3" fmla="*/ 129407 w 129406"/>
                <a:gd name="connsiteY3" fmla="*/ 64663 h 129326"/>
                <a:gd name="connsiteX4" fmla="*/ 64703 w 129406"/>
                <a:gd name="connsiteY4" fmla="*/ 0 h 129326"/>
                <a:gd name="connsiteX5" fmla="*/ 64703 w 129406"/>
                <a:gd name="connsiteY5" fmla="*/ 108464 h 129326"/>
                <a:gd name="connsiteX6" fmla="*/ 20772 w 129406"/>
                <a:gd name="connsiteY6" fmla="*/ 64767 h 129326"/>
                <a:gd name="connsiteX7" fmla="*/ 64496 w 129406"/>
                <a:gd name="connsiteY7" fmla="*/ 20863 h 129326"/>
                <a:gd name="connsiteX8" fmla="*/ 108427 w 129406"/>
                <a:gd name="connsiteY8" fmla="*/ 64559 h 129326"/>
                <a:gd name="connsiteX9" fmla="*/ 108427 w 129406"/>
                <a:gd name="connsiteY9" fmla="*/ 64663 h 129326"/>
                <a:gd name="connsiteX10" fmla="*/ 64703 w 129406"/>
                <a:gd name="connsiteY10" fmla="*/ 108256 h 129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9406" h="129326">
                  <a:moveTo>
                    <a:pt x="64703" y="0"/>
                  </a:moveTo>
                  <a:cubicBezTo>
                    <a:pt x="28966" y="0"/>
                    <a:pt x="0" y="28948"/>
                    <a:pt x="0" y="64663"/>
                  </a:cubicBezTo>
                  <a:cubicBezTo>
                    <a:pt x="0" y="100378"/>
                    <a:pt x="28966" y="129326"/>
                    <a:pt x="64703" y="129326"/>
                  </a:cubicBezTo>
                  <a:cubicBezTo>
                    <a:pt x="100441" y="129326"/>
                    <a:pt x="129407" y="100378"/>
                    <a:pt x="129407" y="64663"/>
                  </a:cubicBezTo>
                  <a:cubicBezTo>
                    <a:pt x="129407" y="28948"/>
                    <a:pt x="100441" y="0"/>
                    <a:pt x="64703" y="0"/>
                  </a:cubicBezTo>
                  <a:close/>
                  <a:moveTo>
                    <a:pt x="64703" y="108464"/>
                  </a:moveTo>
                  <a:cubicBezTo>
                    <a:pt x="40494" y="108526"/>
                    <a:pt x="20834" y="88961"/>
                    <a:pt x="20772" y="64767"/>
                  </a:cubicBezTo>
                  <a:cubicBezTo>
                    <a:pt x="20709" y="40573"/>
                    <a:pt x="40286" y="20925"/>
                    <a:pt x="64496" y="20863"/>
                  </a:cubicBezTo>
                  <a:cubicBezTo>
                    <a:pt x="88705" y="20811"/>
                    <a:pt x="108365" y="40365"/>
                    <a:pt x="108427" y="64559"/>
                  </a:cubicBezTo>
                  <a:cubicBezTo>
                    <a:pt x="108427" y="64590"/>
                    <a:pt x="108427" y="64632"/>
                    <a:pt x="108427" y="64663"/>
                  </a:cubicBezTo>
                  <a:cubicBezTo>
                    <a:pt x="108313" y="88733"/>
                    <a:pt x="88788" y="108204"/>
                    <a:pt x="64703" y="108256"/>
                  </a:cubicBezTo>
                  <a:close/>
                </a:path>
              </a:pathLst>
            </a:custGeom>
            <a:solidFill>
              <a:srgbClr val="221F1F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8" name="Freeform 497">
              <a:extLst>
                <a:ext uri="{FF2B5EF4-FFF2-40B4-BE49-F238E27FC236}">
                  <a16:creationId xmlns:a16="http://schemas.microsoft.com/office/drawing/2014/main" id="{7C262871-428D-A14E-90BE-D80E34F7D050}"/>
                </a:ext>
              </a:extLst>
            </p:cNvPr>
            <p:cNvSpPr/>
            <p:nvPr/>
          </p:nvSpPr>
          <p:spPr>
            <a:xfrm>
              <a:off x="4597406" y="3756697"/>
              <a:ext cx="488234" cy="404793"/>
            </a:xfrm>
            <a:custGeom>
              <a:avLst/>
              <a:gdLst>
                <a:gd name="connsiteX0" fmla="*/ 224955 w 488234"/>
                <a:gd name="connsiteY0" fmla="*/ 380921 h 404793"/>
                <a:gd name="connsiteX1" fmla="*/ 46840 w 488234"/>
                <a:gd name="connsiteY1" fmla="*/ 380921 h 404793"/>
                <a:gd name="connsiteX2" fmla="*/ 23887 w 488234"/>
                <a:gd name="connsiteY2" fmla="*/ 357983 h 404793"/>
                <a:gd name="connsiteX3" fmla="*/ 23887 w 488234"/>
                <a:gd name="connsiteY3" fmla="*/ 117079 h 404793"/>
                <a:gd name="connsiteX4" fmla="*/ 464347 w 488234"/>
                <a:gd name="connsiteY4" fmla="*/ 117079 h 404793"/>
                <a:gd name="connsiteX5" fmla="*/ 464347 w 488234"/>
                <a:gd name="connsiteY5" fmla="*/ 219834 h 404793"/>
                <a:gd name="connsiteX6" fmla="*/ 476291 w 488234"/>
                <a:gd name="connsiteY6" fmla="*/ 231770 h 404793"/>
                <a:gd name="connsiteX7" fmla="*/ 488234 w 488234"/>
                <a:gd name="connsiteY7" fmla="*/ 219834 h 404793"/>
                <a:gd name="connsiteX8" fmla="*/ 488234 w 488234"/>
                <a:gd name="connsiteY8" fmla="*/ 46811 h 404793"/>
                <a:gd name="connsiteX9" fmla="*/ 441395 w 488234"/>
                <a:gd name="connsiteY9" fmla="*/ 0 h 404793"/>
                <a:gd name="connsiteX10" fmla="*/ 46840 w 488234"/>
                <a:gd name="connsiteY10" fmla="*/ 0 h 404793"/>
                <a:gd name="connsiteX11" fmla="*/ 0 w 488234"/>
                <a:gd name="connsiteY11" fmla="*/ 46811 h 404793"/>
                <a:gd name="connsiteX12" fmla="*/ 0 w 488234"/>
                <a:gd name="connsiteY12" fmla="*/ 358191 h 404793"/>
                <a:gd name="connsiteX13" fmla="*/ 46840 w 488234"/>
                <a:gd name="connsiteY13" fmla="*/ 404794 h 404793"/>
                <a:gd name="connsiteX14" fmla="*/ 225267 w 488234"/>
                <a:gd name="connsiteY14" fmla="*/ 404794 h 404793"/>
                <a:gd name="connsiteX15" fmla="*/ 237211 w 488234"/>
                <a:gd name="connsiteY15" fmla="*/ 392858 h 404793"/>
                <a:gd name="connsiteX16" fmla="*/ 225267 w 488234"/>
                <a:gd name="connsiteY16" fmla="*/ 380921 h 404793"/>
                <a:gd name="connsiteX17" fmla="*/ 23576 w 488234"/>
                <a:gd name="connsiteY17" fmla="*/ 46811 h 404793"/>
                <a:gd name="connsiteX18" fmla="*/ 46317 w 488234"/>
                <a:gd name="connsiteY18" fmla="*/ 23665 h 404793"/>
                <a:gd name="connsiteX19" fmla="*/ 46840 w 488234"/>
                <a:gd name="connsiteY19" fmla="*/ 23665 h 404793"/>
                <a:gd name="connsiteX20" fmla="*/ 441498 w 488234"/>
                <a:gd name="connsiteY20" fmla="*/ 23665 h 404793"/>
                <a:gd name="connsiteX21" fmla="*/ 464451 w 488234"/>
                <a:gd name="connsiteY21" fmla="*/ 46603 h 404793"/>
                <a:gd name="connsiteX22" fmla="*/ 464451 w 488234"/>
                <a:gd name="connsiteY22" fmla="*/ 92687 h 404793"/>
                <a:gd name="connsiteX23" fmla="*/ 23576 w 488234"/>
                <a:gd name="connsiteY23" fmla="*/ 92687 h 40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88234" h="404793">
                  <a:moveTo>
                    <a:pt x="224955" y="380921"/>
                  </a:moveTo>
                  <a:lnTo>
                    <a:pt x="46840" y="380921"/>
                  </a:lnTo>
                  <a:cubicBezTo>
                    <a:pt x="34163" y="380921"/>
                    <a:pt x="23887" y="370656"/>
                    <a:pt x="23887" y="357983"/>
                  </a:cubicBezTo>
                  <a:lnTo>
                    <a:pt x="23887" y="117079"/>
                  </a:lnTo>
                  <a:lnTo>
                    <a:pt x="464347" y="117079"/>
                  </a:lnTo>
                  <a:lnTo>
                    <a:pt x="464347" y="219834"/>
                  </a:lnTo>
                  <a:cubicBezTo>
                    <a:pt x="464347" y="219834"/>
                    <a:pt x="465905" y="231770"/>
                    <a:pt x="476291" y="231770"/>
                  </a:cubicBezTo>
                  <a:cubicBezTo>
                    <a:pt x="482865" y="231719"/>
                    <a:pt x="488182" y="226404"/>
                    <a:pt x="488234" y="219834"/>
                  </a:cubicBezTo>
                  <a:lnTo>
                    <a:pt x="488234" y="46811"/>
                  </a:lnTo>
                  <a:cubicBezTo>
                    <a:pt x="488182" y="20977"/>
                    <a:pt x="467245" y="62"/>
                    <a:pt x="441395" y="0"/>
                  </a:cubicBezTo>
                  <a:lnTo>
                    <a:pt x="46840" y="0"/>
                  </a:lnTo>
                  <a:cubicBezTo>
                    <a:pt x="20995" y="52"/>
                    <a:pt x="57" y="20977"/>
                    <a:pt x="0" y="46811"/>
                  </a:cubicBezTo>
                  <a:lnTo>
                    <a:pt x="0" y="358191"/>
                  </a:lnTo>
                  <a:cubicBezTo>
                    <a:pt x="114" y="383963"/>
                    <a:pt x="21052" y="404794"/>
                    <a:pt x="46840" y="404794"/>
                  </a:cubicBezTo>
                  <a:lnTo>
                    <a:pt x="225267" y="404794"/>
                  </a:lnTo>
                  <a:cubicBezTo>
                    <a:pt x="231862" y="404794"/>
                    <a:pt x="237211" y="399448"/>
                    <a:pt x="237211" y="392858"/>
                  </a:cubicBezTo>
                  <a:cubicBezTo>
                    <a:pt x="237211" y="386267"/>
                    <a:pt x="231862" y="380921"/>
                    <a:pt x="225267" y="380921"/>
                  </a:cubicBezTo>
                  <a:close/>
                  <a:moveTo>
                    <a:pt x="23576" y="46811"/>
                  </a:moveTo>
                  <a:cubicBezTo>
                    <a:pt x="23459" y="34148"/>
                    <a:pt x="33642" y="23779"/>
                    <a:pt x="46317" y="23665"/>
                  </a:cubicBezTo>
                  <a:cubicBezTo>
                    <a:pt x="46492" y="23665"/>
                    <a:pt x="46665" y="23665"/>
                    <a:pt x="46840" y="23665"/>
                  </a:cubicBezTo>
                  <a:lnTo>
                    <a:pt x="441498" y="23665"/>
                  </a:lnTo>
                  <a:cubicBezTo>
                    <a:pt x="454179" y="23665"/>
                    <a:pt x="464451" y="33930"/>
                    <a:pt x="464451" y="46603"/>
                  </a:cubicBezTo>
                  <a:lnTo>
                    <a:pt x="464451" y="92687"/>
                  </a:lnTo>
                  <a:lnTo>
                    <a:pt x="23576" y="92687"/>
                  </a:lnTo>
                  <a:close/>
                </a:path>
              </a:pathLst>
            </a:custGeom>
            <a:solidFill>
              <a:srgbClr val="221F1F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9" name="Freeform 498">
              <a:extLst>
                <a:ext uri="{FF2B5EF4-FFF2-40B4-BE49-F238E27FC236}">
                  <a16:creationId xmlns:a16="http://schemas.microsoft.com/office/drawing/2014/main" id="{F4E5E880-D544-5D4F-9269-3B414BC1DF44}"/>
                </a:ext>
              </a:extLst>
            </p:cNvPr>
            <p:cNvSpPr/>
            <p:nvPr/>
          </p:nvSpPr>
          <p:spPr>
            <a:xfrm>
              <a:off x="4845314" y="3970199"/>
              <a:ext cx="287585" cy="288960"/>
            </a:xfrm>
            <a:custGeom>
              <a:avLst/>
              <a:gdLst>
                <a:gd name="connsiteX0" fmla="*/ 287581 w 287585"/>
                <a:gd name="connsiteY0" fmla="*/ 130365 h 288960"/>
                <a:gd name="connsiteX1" fmla="*/ 268679 w 287585"/>
                <a:gd name="connsiteY1" fmla="*/ 107219 h 288960"/>
                <a:gd name="connsiteX2" fmla="*/ 268056 w 287585"/>
                <a:gd name="connsiteY2" fmla="*/ 107219 h 288960"/>
                <a:gd name="connsiteX3" fmla="*/ 248635 w 287585"/>
                <a:gd name="connsiteY3" fmla="*/ 104520 h 288960"/>
                <a:gd name="connsiteX4" fmla="*/ 246765 w 287585"/>
                <a:gd name="connsiteY4" fmla="*/ 100057 h 288960"/>
                <a:gd name="connsiteX5" fmla="*/ 258917 w 287585"/>
                <a:gd name="connsiteY5" fmla="*/ 84592 h 288960"/>
                <a:gd name="connsiteX6" fmla="*/ 258917 w 287585"/>
                <a:gd name="connsiteY6" fmla="*/ 84592 h 288960"/>
                <a:gd name="connsiteX7" fmla="*/ 258917 w 287585"/>
                <a:gd name="connsiteY7" fmla="*/ 84592 h 288960"/>
                <a:gd name="connsiteX8" fmla="*/ 256424 w 287585"/>
                <a:gd name="connsiteY8" fmla="*/ 54595 h 288960"/>
                <a:gd name="connsiteX9" fmla="*/ 256424 w 287585"/>
                <a:gd name="connsiteY9" fmla="*/ 54595 h 288960"/>
                <a:gd name="connsiteX10" fmla="*/ 235133 w 287585"/>
                <a:gd name="connsiteY10" fmla="*/ 32384 h 288960"/>
                <a:gd name="connsiteX11" fmla="*/ 235133 w 287585"/>
                <a:gd name="connsiteY11" fmla="*/ 32384 h 288960"/>
                <a:gd name="connsiteX12" fmla="*/ 205430 w 287585"/>
                <a:gd name="connsiteY12" fmla="*/ 29581 h 288960"/>
                <a:gd name="connsiteX13" fmla="*/ 205430 w 287585"/>
                <a:gd name="connsiteY13" fmla="*/ 29581 h 288960"/>
                <a:gd name="connsiteX14" fmla="*/ 205430 w 287585"/>
                <a:gd name="connsiteY14" fmla="*/ 29581 h 288960"/>
                <a:gd name="connsiteX15" fmla="*/ 189644 w 287585"/>
                <a:gd name="connsiteY15" fmla="*/ 41414 h 288960"/>
                <a:gd name="connsiteX16" fmla="*/ 185074 w 287585"/>
                <a:gd name="connsiteY16" fmla="*/ 39545 h 288960"/>
                <a:gd name="connsiteX17" fmla="*/ 182685 w 287585"/>
                <a:gd name="connsiteY17" fmla="*/ 19928 h 288960"/>
                <a:gd name="connsiteX18" fmla="*/ 182685 w 287585"/>
                <a:gd name="connsiteY18" fmla="*/ 19410 h 288960"/>
                <a:gd name="connsiteX19" fmla="*/ 159837 w 287585"/>
                <a:gd name="connsiteY19" fmla="*/ 0 h 288960"/>
                <a:gd name="connsiteX20" fmla="*/ 129199 w 287585"/>
                <a:gd name="connsiteY20" fmla="*/ 0 h 288960"/>
                <a:gd name="connsiteX21" fmla="*/ 106142 w 287585"/>
                <a:gd name="connsiteY21" fmla="*/ 18994 h 288960"/>
                <a:gd name="connsiteX22" fmla="*/ 106142 w 287585"/>
                <a:gd name="connsiteY22" fmla="*/ 19513 h 288960"/>
                <a:gd name="connsiteX23" fmla="*/ 103442 w 287585"/>
                <a:gd name="connsiteY23" fmla="*/ 38923 h 288960"/>
                <a:gd name="connsiteX24" fmla="*/ 98769 w 287585"/>
                <a:gd name="connsiteY24" fmla="*/ 40791 h 288960"/>
                <a:gd name="connsiteX25" fmla="*/ 83501 w 287585"/>
                <a:gd name="connsiteY25" fmla="*/ 28751 h 288960"/>
                <a:gd name="connsiteX26" fmla="*/ 83501 w 287585"/>
                <a:gd name="connsiteY26" fmla="*/ 28751 h 288960"/>
                <a:gd name="connsiteX27" fmla="*/ 83501 w 287585"/>
                <a:gd name="connsiteY27" fmla="*/ 28751 h 288960"/>
                <a:gd name="connsiteX28" fmla="*/ 53590 w 287585"/>
                <a:gd name="connsiteY28" fmla="*/ 31242 h 288960"/>
                <a:gd name="connsiteX29" fmla="*/ 53590 w 287585"/>
                <a:gd name="connsiteY29" fmla="*/ 31242 h 288960"/>
                <a:gd name="connsiteX30" fmla="*/ 31884 w 287585"/>
                <a:gd name="connsiteY30" fmla="*/ 52623 h 288960"/>
                <a:gd name="connsiteX31" fmla="*/ 31884 w 287585"/>
                <a:gd name="connsiteY31" fmla="*/ 52623 h 288960"/>
                <a:gd name="connsiteX32" fmla="*/ 29080 w 287585"/>
                <a:gd name="connsiteY32" fmla="*/ 82308 h 288960"/>
                <a:gd name="connsiteX33" fmla="*/ 29080 w 287585"/>
                <a:gd name="connsiteY33" fmla="*/ 82308 h 288960"/>
                <a:gd name="connsiteX34" fmla="*/ 29080 w 287585"/>
                <a:gd name="connsiteY34" fmla="*/ 82308 h 288960"/>
                <a:gd name="connsiteX35" fmla="*/ 40816 w 287585"/>
                <a:gd name="connsiteY35" fmla="*/ 98085 h 288960"/>
                <a:gd name="connsiteX36" fmla="*/ 38947 w 287585"/>
                <a:gd name="connsiteY36" fmla="*/ 102548 h 288960"/>
                <a:gd name="connsiteX37" fmla="*/ 19421 w 287585"/>
                <a:gd name="connsiteY37" fmla="*/ 105039 h 288960"/>
                <a:gd name="connsiteX38" fmla="*/ 19421 w 287585"/>
                <a:gd name="connsiteY38" fmla="*/ 105039 h 288960"/>
                <a:gd name="connsiteX39" fmla="*/ 0 w 287585"/>
                <a:gd name="connsiteY39" fmla="*/ 127873 h 288960"/>
                <a:gd name="connsiteX40" fmla="*/ 0 w 287585"/>
                <a:gd name="connsiteY40" fmla="*/ 127873 h 288960"/>
                <a:gd name="connsiteX41" fmla="*/ 0 w 287585"/>
                <a:gd name="connsiteY41" fmla="*/ 158285 h 288960"/>
                <a:gd name="connsiteX42" fmla="*/ 0 w 287585"/>
                <a:gd name="connsiteY42" fmla="*/ 158285 h 288960"/>
                <a:gd name="connsiteX43" fmla="*/ 19214 w 287585"/>
                <a:gd name="connsiteY43" fmla="*/ 181535 h 288960"/>
                <a:gd name="connsiteX44" fmla="*/ 19214 w 287585"/>
                <a:gd name="connsiteY44" fmla="*/ 181535 h 288960"/>
                <a:gd name="connsiteX45" fmla="*/ 38531 w 287585"/>
                <a:gd name="connsiteY45" fmla="*/ 184129 h 288960"/>
                <a:gd name="connsiteX46" fmla="*/ 40401 w 287585"/>
                <a:gd name="connsiteY46" fmla="*/ 188592 h 288960"/>
                <a:gd name="connsiteX47" fmla="*/ 27418 w 287585"/>
                <a:gd name="connsiteY47" fmla="*/ 204577 h 288960"/>
                <a:gd name="connsiteX48" fmla="*/ 27418 w 287585"/>
                <a:gd name="connsiteY48" fmla="*/ 204577 h 288960"/>
                <a:gd name="connsiteX49" fmla="*/ 27418 w 287585"/>
                <a:gd name="connsiteY49" fmla="*/ 204577 h 288960"/>
                <a:gd name="connsiteX50" fmla="*/ 29807 w 287585"/>
                <a:gd name="connsiteY50" fmla="*/ 234469 h 288960"/>
                <a:gd name="connsiteX51" fmla="*/ 29807 w 287585"/>
                <a:gd name="connsiteY51" fmla="*/ 234469 h 288960"/>
                <a:gd name="connsiteX52" fmla="*/ 50579 w 287585"/>
                <a:gd name="connsiteY52" fmla="*/ 256162 h 288960"/>
                <a:gd name="connsiteX53" fmla="*/ 50579 w 287585"/>
                <a:gd name="connsiteY53" fmla="*/ 256162 h 288960"/>
                <a:gd name="connsiteX54" fmla="*/ 79866 w 287585"/>
                <a:gd name="connsiteY54" fmla="*/ 259380 h 288960"/>
                <a:gd name="connsiteX55" fmla="*/ 79866 w 287585"/>
                <a:gd name="connsiteY55" fmla="*/ 259380 h 288960"/>
                <a:gd name="connsiteX56" fmla="*/ 79866 w 287585"/>
                <a:gd name="connsiteY56" fmla="*/ 259380 h 288960"/>
                <a:gd name="connsiteX57" fmla="*/ 79866 w 287585"/>
                <a:gd name="connsiteY57" fmla="*/ 259380 h 288960"/>
                <a:gd name="connsiteX58" fmla="*/ 95653 w 287585"/>
                <a:gd name="connsiteY58" fmla="*/ 247547 h 288960"/>
                <a:gd name="connsiteX59" fmla="*/ 100223 w 287585"/>
                <a:gd name="connsiteY59" fmla="*/ 249416 h 288960"/>
                <a:gd name="connsiteX60" fmla="*/ 102611 w 287585"/>
                <a:gd name="connsiteY60" fmla="*/ 269032 h 288960"/>
                <a:gd name="connsiteX61" fmla="*/ 102611 w 287585"/>
                <a:gd name="connsiteY61" fmla="*/ 269551 h 288960"/>
                <a:gd name="connsiteX62" fmla="*/ 125460 w 287585"/>
                <a:gd name="connsiteY62" fmla="*/ 288961 h 288960"/>
                <a:gd name="connsiteX63" fmla="*/ 156617 w 287585"/>
                <a:gd name="connsiteY63" fmla="*/ 288961 h 288960"/>
                <a:gd name="connsiteX64" fmla="*/ 179466 w 287585"/>
                <a:gd name="connsiteY64" fmla="*/ 269863 h 288960"/>
                <a:gd name="connsiteX65" fmla="*/ 179466 w 287585"/>
                <a:gd name="connsiteY65" fmla="*/ 269863 h 288960"/>
                <a:gd name="connsiteX66" fmla="*/ 182270 w 287585"/>
                <a:gd name="connsiteY66" fmla="*/ 250454 h 288960"/>
                <a:gd name="connsiteX67" fmla="*/ 186840 w 287585"/>
                <a:gd name="connsiteY67" fmla="*/ 248481 h 288960"/>
                <a:gd name="connsiteX68" fmla="*/ 202314 w 287585"/>
                <a:gd name="connsiteY68" fmla="*/ 260625 h 288960"/>
                <a:gd name="connsiteX69" fmla="*/ 202314 w 287585"/>
                <a:gd name="connsiteY69" fmla="*/ 260625 h 288960"/>
                <a:gd name="connsiteX70" fmla="*/ 202314 w 287585"/>
                <a:gd name="connsiteY70" fmla="*/ 260625 h 288960"/>
                <a:gd name="connsiteX71" fmla="*/ 202314 w 287585"/>
                <a:gd name="connsiteY71" fmla="*/ 260625 h 288960"/>
                <a:gd name="connsiteX72" fmla="*/ 202314 w 287585"/>
                <a:gd name="connsiteY72" fmla="*/ 260625 h 288960"/>
                <a:gd name="connsiteX73" fmla="*/ 231706 w 287585"/>
                <a:gd name="connsiteY73" fmla="*/ 257823 h 288960"/>
                <a:gd name="connsiteX74" fmla="*/ 253412 w 287585"/>
                <a:gd name="connsiteY74" fmla="*/ 236441 h 288960"/>
                <a:gd name="connsiteX75" fmla="*/ 253412 w 287585"/>
                <a:gd name="connsiteY75" fmla="*/ 236441 h 288960"/>
                <a:gd name="connsiteX76" fmla="*/ 256216 w 287585"/>
                <a:gd name="connsiteY76" fmla="*/ 206860 h 288960"/>
                <a:gd name="connsiteX77" fmla="*/ 256216 w 287585"/>
                <a:gd name="connsiteY77" fmla="*/ 206860 h 288960"/>
                <a:gd name="connsiteX78" fmla="*/ 256216 w 287585"/>
                <a:gd name="connsiteY78" fmla="*/ 206860 h 288960"/>
                <a:gd name="connsiteX79" fmla="*/ 244481 w 287585"/>
                <a:gd name="connsiteY79" fmla="*/ 191084 h 288960"/>
                <a:gd name="connsiteX80" fmla="*/ 246350 w 287585"/>
                <a:gd name="connsiteY80" fmla="*/ 186517 h 288960"/>
                <a:gd name="connsiteX81" fmla="*/ 265771 w 287585"/>
                <a:gd name="connsiteY81" fmla="*/ 184026 h 288960"/>
                <a:gd name="connsiteX82" fmla="*/ 265771 w 287585"/>
                <a:gd name="connsiteY82" fmla="*/ 184026 h 288960"/>
                <a:gd name="connsiteX83" fmla="*/ 285400 w 287585"/>
                <a:gd name="connsiteY83" fmla="*/ 161295 h 288960"/>
                <a:gd name="connsiteX84" fmla="*/ 285400 w 287585"/>
                <a:gd name="connsiteY84" fmla="*/ 161295 h 288960"/>
                <a:gd name="connsiteX85" fmla="*/ 285400 w 287585"/>
                <a:gd name="connsiteY85" fmla="*/ 130883 h 288960"/>
                <a:gd name="connsiteX86" fmla="*/ 263279 w 287585"/>
                <a:gd name="connsiteY86" fmla="*/ 159738 h 288960"/>
                <a:gd name="connsiteX87" fmla="*/ 237522 w 287585"/>
                <a:gd name="connsiteY87" fmla="*/ 163059 h 288960"/>
                <a:gd name="connsiteX88" fmla="*/ 236484 w 287585"/>
                <a:gd name="connsiteY88" fmla="*/ 163059 h 288960"/>
                <a:gd name="connsiteX89" fmla="*/ 236484 w 287585"/>
                <a:gd name="connsiteY89" fmla="*/ 163059 h 288960"/>
                <a:gd name="connsiteX90" fmla="*/ 235133 w 287585"/>
                <a:gd name="connsiteY90" fmla="*/ 163059 h 288960"/>
                <a:gd name="connsiteX91" fmla="*/ 234510 w 287585"/>
                <a:gd name="connsiteY91" fmla="*/ 163059 h 288960"/>
                <a:gd name="connsiteX92" fmla="*/ 233991 w 287585"/>
                <a:gd name="connsiteY92" fmla="*/ 163059 h 288960"/>
                <a:gd name="connsiteX93" fmla="*/ 233368 w 287585"/>
                <a:gd name="connsiteY93" fmla="*/ 163059 h 288960"/>
                <a:gd name="connsiteX94" fmla="*/ 233368 w 287585"/>
                <a:gd name="connsiteY94" fmla="*/ 163059 h 288960"/>
                <a:gd name="connsiteX95" fmla="*/ 233368 w 287585"/>
                <a:gd name="connsiteY95" fmla="*/ 163059 h 288960"/>
                <a:gd name="connsiteX96" fmla="*/ 232849 w 287585"/>
                <a:gd name="connsiteY96" fmla="*/ 163059 h 288960"/>
                <a:gd name="connsiteX97" fmla="*/ 232329 w 287585"/>
                <a:gd name="connsiteY97" fmla="*/ 163059 h 288960"/>
                <a:gd name="connsiteX98" fmla="*/ 232329 w 287585"/>
                <a:gd name="connsiteY98" fmla="*/ 163059 h 288960"/>
                <a:gd name="connsiteX99" fmla="*/ 232329 w 287585"/>
                <a:gd name="connsiteY99" fmla="*/ 163059 h 288960"/>
                <a:gd name="connsiteX100" fmla="*/ 232329 w 287585"/>
                <a:gd name="connsiteY100" fmla="*/ 163059 h 288960"/>
                <a:gd name="connsiteX101" fmla="*/ 232329 w 287585"/>
                <a:gd name="connsiteY101" fmla="*/ 163059 h 288960"/>
                <a:gd name="connsiteX102" fmla="*/ 232329 w 287585"/>
                <a:gd name="connsiteY102" fmla="*/ 163578 h 288960"/>
                <a:gd name="connsiteX103" fmla="*/ 232329 w 287585"/>
                <a:gd name="connsiteY103" fmla="*/ 163578 h 288960"/>
                <a:gd name="connsiteX104" fmla="*/ 232329 w 287585"/>
                <a:gd name="connsiteY104" fmla="*/ 164097 h 288960"/>
                <a:gd name="connsiteX105" fmla="*/ 232329 w 287585"/>
                <a:gd name="connsiteY105" fmla="*/ 164616 h 288960"/>
                <a:gd name="connsiteX106" fmla="*/ 232329 w 287585"/>
                <a:gd name="connsiteY106" fmla="*/ 165135 h 288960"/>
                <a:gd name="connsiteX107" fmla="*/ 232329 w 287585"/>
                <a:gd name="connsiteY107" fmla="*/ 165654 h 288960"/>
                <a:gd name="connsiteX108" fmla="*/ 232329 w 287585"/>
                <a:gd name="connsiteY108" fmla="*/ 165654 h 288960"/>
                <a:gd name="connsiteX109" fmla="*/ 232329 w 287585"/>
                <a:gd name="connsiteY109" fmla="*/ 166277 h 288960"/>
                <a:gd name="connsiteX110" fmla="*/ 232329 w 287585"/>
                <a:gd name="connsiteY110" fmla="*/ 166277 h 288960"/>
                <a:gd name="connsiteX111" fmla="*/ 226098 w 287585"/>
                <a:gd name="connsiteY111" fmla="*/ 181223 h 288960"/>
                <a:gd name="connsiteX112" fmla="*/ 226098 w 287585"/>
                <a:gd name="connsiteY112" fmla="*/ 181223 h 288960"/>
                <a:gd name="connsiteX113" fmla="*/ 226098 w 287585"/>
                <a:gd name="connsiteY113" fmla="*/ 181950 h 288960"/>
                <a:gd name="connsiteX114" fmla="*/ 226098 w 287585"/>
                <a:gd name="connsiteY114" fmla="*/ 181950 h 288960"/>
                <a:gd name="connsiteX115" fmla="*/ 226098 w 287585"/>
                <a:gd name="connsiteY115" fmla="*/ 182573 h 288960"/>
                <a:gd name="connsiteX116" fmla="*/ 226098 w 287585"/>
                <a:gd name="connsiteY116" fmla="*/ 183195 h 288960"/>
                <a:gd name="connsiteX117" fmla="*/ 226098 w 287585"/>
                <a:gd name="connsiteY117" fmla="*/ 183714 h 288960"/>
                <a:gd name="connsiteX118" fmla="*/ 226098 w 287585"/>
                <a:gd name="connsiteY118" fmla="*/ 184337 h 288960"/>
                <a:gd name="connsiteX119" fmla="*/ 226098 w 287585"/>
                <a:gd name="connsiteY119" fmla="*/ 184337 h 288960"/>
                <a:gd name="connsiteX120" fmla="*/ 226098 w 287585"/>
                <a:gd name="connsiteY120" fmla="*/ 184960 h 288960"/>
                <a:gd name="connsiteX121" fmla="*/ 226098 w 287585"/>
                <a:gd name="connsiteY121" fmla="*/ 186724 h 288960"/>
                <a:gd name="connsiteX122" fmla="*/ 226098 w 287585"/>
                <a:gd name="connsiteY122" fmla="*/ 187243 h 288960"/>
                <a:gd name="connsiteX123" fmla="*/ 226098 w 287585"/>
                <a:gd name="connsiteY123" fmla="*/ 187866 h 288960"/>
                <a:gd name="connsiteX124" fmla="*/ 226098 w 287585"/>
                <a:gd name="connsiteY124" fmla="*/ 194197 h 288960"/>
                <a:gd name="connsiteX125" fmla="*/ 226098 w 287585"/>
                <a:gd name="connsiteY125" fmla="*/ 194820 h 288960"/>
                <a:gd name="connsiteX126" fmla="*/ 226098 w 287585"/>
                <a:gd name="connsiteY126" fmla="*/ 194820 h 288960"/>
                <a:gd name="connsiteX127" fmla="*/ 226098 w 287585"/>
                <a:gd name="connsiteY127" fmla="*/ 195443 h 288960"/>
                <a:gd name="connsiteX128" fmla="*/ 226098 w 287585"/>
                <a:gd name="connsiteY128" fmla="*/ 195962 h 288960"/>
                <a:gd name="connsiteX129" fmla="*/ 226098 w 287585"/>
                <a:gd name="connsiteY129" fmla="*/ 196481 h 288960"/>
                <a:gd name="connsiteX130" fmla="*/ 226098 w 287585"/>
                <a:gd name="connsiteY130" fmla="*/ 197000 h 288960"/>
                <a:gd name="connsiteX131" fmla="*/ 226098 w 287585"/>
                <a:gd name="connsiteY131" fmla="*/ 197519 h 288960"/>
                <a:gd name="connsiteX132" fmla="*/ 226098 w 287585"/>
                <a:gd name="connsiteY132" fmla="*/ 198142 h 288960"/>
                <a:gd name="connsiteX133" fmla="*/ 226098 w 287585"/>
                <a:gd name="connsiteY133" fmla="*/ 198142 h 288960"/>
                <a:gd name="connsiteX134" fmla="*/ 241573 w 287585"/>
                <a:gd name="connsiteY134" fmla="*/ 218900 h 288960"/>
                <a:gd name="connsiteX135" fmla="*/ 220801 w 287585"/>
                <a:gd name="connsiteY135" fmla="*/ 239036 h 288960"/>
                <a:gd name="connsiteX136" fmla="*/ 200030 w 287585"/>
                <a:gd name="connsiteY136" fmla="*/ 223156 h 288960"/>
                <a:gd name="connsiteX137" fmla="*/ 200030 w 287585"/>
                <a:gd name="connsiteY137" fmla="*/ 223156 h 288960"/>
                <a:gd name="connsiteX138" fmla="*/ 199406 w 287585"/>
                <a:gd name="connsiteY138" fmla="*/ 223156 h 288960"/>
                <a:gd name="connsiteX139" fmla="*/ 199406 w 287585"/>
                <a:gd name="connsiteY139" fmla="*/ 223156 h 288960"/>
                <a:gd name="connsiteX140" fmla="*/ 198887 w 287585"/>
                <a:gd name="connsiteY140" fmla="*/ 223156 h 288960"/>
                <a:gd name="connsiteX141" fmla="*/ 198264 w 287585"/>
                <a:gd name="connsiteY141" fmla="*/ 223156 h 288960"/>
                <a:gd name="connsiteX142" fmla="*/ 198264 w 287585"/>
                <a:gd name="connsiteY142" fmla="*/ 223156 h 288960"/>
                <a:gd name="connsiteX143" fmla="*/ 197537 w 287585"/>
                <a:gd name="connsiteY143" fmla="*/ 223156 h 288960"/>
                <a:gd name="connsiteX144" fmla="*/ 197537 w 287585"/>
                <a:gd name="connsiteY144" fmla="*/ 223156 h 288960"/>
                <a:gd name="connsiteX145" fmla="*/ 196810 w 287585"/>
                <a:gd name="connsiteY145" fmla="*/ 223156 h 288960"/>
                <a:gd name="connsiteX146" fmla="*/ 191202 w 287585"/>
                <a:gd name="connsiteY146" fmla="*/ 223156 h 288960"/>
                <a:gd name="connsiteX147" fmla="*/ 190579 w 287585"/>
                <a:gd name="connsiteY147" fmla="*/ 223156 h 288960"/>
                <a:gd name="connsiteX148" fmla="*/ 189955 w 287585"/>
                <a:gd name="connsiteY148" fmla="*/ 223156 h 288960"/>
                <a:gd name="connsiteX149" fmla="*/ 189955 w 287585"/>
                <a:gd name="connsiteY149" fmla="*/ 223156 h 288960"/>
                <a:gd name="connsiteX150" fmla="*/ 189332 w 287585"/>
                <a:gd name="connsiteY150" fmla="*/ 223156 h 288960"/>
                <a:gd name="connsiteX151" fmla="*/ 189332 w 287585"/>
                <a:gd name="connsiteY151" fmla="*/ 223156 h 288960"/>
                <a:gd name="connsiteX152" fmla="*/ 174273 w 287585"/>
                <a:gd name="connsiteY152" fmla="*/ 229383 h 288960"/>
                <a:gd name="connsiteX153" fmla="*/ 174273 w 287585"/>
                <a:gd name="connsiteY153" fmla="*/ 229383 h 288960"/>
                <a:gd name="connsiteX154" fmla="*/ 173546 w 287585"/>
                <a:gd name="connsiteY154" fmla="*/ 229383 h 288960"/>
                <a:gd name="connsiteX155" fmla="*/ 173027 w 287585"/>
                <a:gd name="connsiteY155" fmla="*/ 229383 h 288960"/>
                <a:gd name="connsiteX156" fmla="*/ 172507 w 287585"/>
                <a:gd name="connsiteY156" fmla="*/ 229383 h 288960"/>
                <a:gd name="connsiteX157" fmla="*/ 172507 w 287585"/>
                <a:gd name="connsiteY157" fmla="*/ 229383 h 288960"/>
                <a:gd name="connsiteX158" fmla="*/ 171988 w 287585"/>
                <a:gd name="connsiteY158" fmla="*/ 229383 h 288960"/>
                <a:gd name="connsiteX159" fmla="*/ 171988 w 287585"/>
                <a:gd name="connsiteY159" fmla="*/ 229383 h 288960"/>
                <a:gd name="connsiteX160" fmla="*/ 171988 w 287585"/>
                <a:gd name="connsiteY160" fmla="*/ 229383 h 288960"/>
                <a:gd name="connsiteX161" fmla="*/ 171988 w 287585"/>
                <a:gd name="connsiteY161" fmla="*/ 229383 h 288960"/>
                <a:gd name="connsiteX162" fmla="*/ 171469 w 287585"/>
                <a:gd name="connsiteY162" fmla="*/ 229902 h 288960"/>
                <a:gd name="connsiteX163" fmla="*/ 171469 w 287585"/>
                <a:gd name="connsiteY163" fmla="*/ 229902 h 288960"/>
                <a:gd name="connsiteX164" fmla="*/ 171469 w 287585"/>
                <a:gd name="connsiteY164" fmla="*/ 229902 h 288960"/>
                <a:gd name="connsiteX165" fmla="*/ 171469 w 287585"/>
                <a:gd name="connsiteY165" fmla="*/ 230421 h 288960"/>
                <a:gd name="connsiteX166" fmla="*/ 171469 w 287585"/>
                <a:gd name="connsiteY166" fmla="*/ 230421 h 288960"/>
                <a:gd name="connsiteX167" fmla="*/ 171469 w 287585"/>
                <a:gd name="connsiteY167" fmla="*/ 231044 h 288960"/>
                <a:gd name="connsiteX168" fmla="*/ 171469 w 287585"/>
                <a:gd name="connsiteY168" fmla="*/ 231044 h 288960"/>
                <a:gd name="connsiteX169" fmla="*/ 171469 w 287585"/>
                <a:gd name="connsiteY169" fmla="*/ 231667 h 288960"/>
                <a:gd name="connsiteX170" fmla="*/ 171469 w 287585"/>
                <a:gd name="connsiteY170" fmla="*/ 231667 h 288960"/>
                <a:gd name="connsiteX171" fmla="*/ 171469 w 287585"/>
                <a:gd name="connsiteY171" fmla="*/ 232290 h 288960"/>
                <a:gd name="connsiteX172" fmla="*/ 171469 w 287585"/>
                <a:gd name="connsiteY172" fmla="*/ 232912 h 288960"/>
                <a:gd name="connsiteX173" fmla="*/ 171469 w 287585"/>
                <a:gd name="connsiteY173" fmla="*/ 233431 h 288960"/>
                <a:gd name="connsiteX174" fmla="*/ 171469 w 287585"/>
                <a:gd name="connsiteY174" fmla="*/ 234054 h 288960"/>
                <a:gd name="connsiteX175" fmla="*/ 171469 w 287585"/>
                <a:gd name="connsiteY175" fmla="*/ 234054 h 288960"/>
                <a:gd name="connsiteX176" fmla="*/ 167834 w 287585"/>
                <a:gd name="connsiteY176" fmla="*/ 259483 h 288960"/>
                <a:gd name="connsiteX177" fmla="*/ 139065 w 287585"/>
                <a:gd name="connsiteY177" fmla="*/ 259483 h 288960"/>
                <a:gd name="connsiteX178" fmla="*/ 135949 w 287585"/>
                <a:gd name="connsiteY178" fmla="*/ 233847 h 288960"/>
                <a:gd name="connsiteX179" fmla="*/ 135949 w 287585"/>
                <a:gd name="connsiteY179" fmla="*/ 233847 h 288960"/>
                <a:gd name="connsiteX180" fmla="*/ 135949 w 287585"/>
                <a:gd name="connsiteY180" fmla="*/ 233120 h 288960"/>
                <a:gd name="connsiteX181" fmla="*/ 135949 w 287585"/>
                <a:gd name="connsiteY181" fmla="*/ 232601 h 288960"/>
                <a:gd name="connsiteX182" fmla="*/ 135949 w 287585"/>
                <a:gd name="connsiteY182" fmla="*/ 231978 h 288960"/>
                <a:gd name="connsiteX183" fmla="*/ 135949 w 287585"/>
                <a:gd name="connsiteY183" fmla="*/ 231355 h 288960"/>
                <a:gd name="connsiteX184" fmla="*/ 135949 w 287585"/>
                <a:gd name="connsiteY184" fmla="*/ 231355 h 288960"/>
                <a:gd name="connsiteX185" fmla="*/ 135949 w 287585"/>
                <a:gd name="connsiteY185" fmla="*/ 230733 h 288960"/>
                <a:gd name="connsiteX186" fmla="*/ 135949 w 287585"/>
                <a:gd name="connsiteY186" fmla="*/ 230733 h 288960"/>
                <a:gd name="connsiteX187" fmla="*/ 135949 w 287585"/>
                <a:gd name="connsiteY187" fmla="*/ 230110 h 288960"/>
                <a:gd name="connsiteX188" fmla="*/ 135949 w 287585"/>
                <a:gd name="connsiteY188" fmla="*/ 230110 h 288960"/>
                <a:gd name="connsiteX189" fmla="*/ 135949 w 287585"/>
                <a:gd name="connsiteY189" fmla="*/ 230110 h 288960"/>
                <a:gd name="connsiteX190" fmla="*/ 135949 w 287585"/>
                <a:gd name="connsiteY190" fmla="*/ 230110 h 288960"/>
                <a:gd name="connsiteX191" fmla="*/ 135949 w 287585"/>
                <a:gd name="connsiteY191" fmla="*/ 230110 h 288960"/>
                <a:gd name="connsiteX192" fmla="*/ 135949 w 287585"/>
                <a:gd name="connsiteY192" fmla="*/ 230110 h 288960"/>
                <a:gd name="connsiteX193" fmla="*/ 135949 w 287585"/>
                <a:gd name="connsiteY193" fmla="*/ 230110 h 288960"/>
                <a:gd name="connsiteX194" fmla="*/ 135949 w 287585"/>
                <a:gd name="connsiteY194" fmla="*/ 230110 h 288960"/>
                <a:gd name="connsiteX195" fmla="*/ 135949 w 287585"/>
                <a:gd name="connsiteY195" fmla="*/ 230110 h 288960"/>
                <a:gd name="connsiteX196" fmla="*/ 135949 w 287585"/>
                <a:gd name="connsiteY196" fmla="*/ 230110 h 288960"/>
                <a:gd name="connsiteX197" fmla="*/ 135949 w 287585"/>
                <a:gd name="connsiteY197" fmla="*/ 230110 h 288960"/>
                <a:gd name="connsiteX198" fmla="*/ 135326 w 287585"/>
                <a:gd name="connsiteY198" fmla="*/ 230110 h 288960"/>
                <a:gd name="connsiteX199" fmla="*/ 135326 w 287585"/>
                <a:gd name="connsiteY199" fmla="*/ 230110 h 288960"/>
                <a:gd name="connsiteX200" fmla="*/ 134599 w 287585"/>
                <a:gd name="connsiteY200" fmla="*/ 230110 h 288960"/>
                <a:gd name="connsiteX201" fmla="*/ 134599 w 287585"/>
                <a:gd name="connsiteY201" fmla="*/ 230110 h 288960"/>
                <a:gd name="connsiteX202" fmla="*/ 119748 w 287585"/>
                <a:gd name="connsiteY202" fmla="*/ 223882 h 288960"/>
                <a:gd name="connsiteX203" fmla="*/ 119748 w 287585"/>
                <a:gd name="connsiteY203" fmla="*/ 223882 h 288960"/>
                <a:gd name="connsiteX204" fmla="*/ 119125 w 287585"/>
                <a:gd name="connsiteY204" fmla="*/ 223882 h 288960"/>
                <a:gd name="connsiteX205" fmla="*/ 118605 w 287585"/>
                <a:gd name="connsiteY205" fmla="*/ 223882 h 288960"/>
                <a:gd name="connsiteX206" fmla="*/ 117982 w 287585"/>
                <a:gd name="connsiteY206" fmla="*/ 223882 h 288960"/>
                <a:gd name="connsiteX207" fmla="*/ 117463 w 287585"/>
                <a:gd name="connsiteY207" fmla="*/ 223882 h 288960"/>
                <a:gd name="connsiteX208" fmla="*/ 111751 w 287585"/>
                <a:gd name="connsiteY208" fmla="*/ 223882 h 288960"/>
                <a:gd name="connsiteX209" fmla="*/ 111024 w 287585"/>
                <a:gd name="connsiteY209" fmla="*/ 223882 h 288960"/>
                <a:gd name="connsiteX210" fmla="*/ 111024 w 287585"/>
                <a:gd name="connsiteY210" fmla="*/ 223882 h 288960"/>
                <a:gd name="connsiteX211" fmla="*/ 110401 w 287585"/>
                <a:gd name="connsiteY211" fmla="*/ 223882 h 288960"/>
                <a:gd name="connsiteX212" fmla="*/ 110401 w 287585"/>
                <a:gd name="connsiteY212" fmla="*/ 223882 h 288960"/>
                <a:gd name="connsiteX213" fmla="*/ 109777 w 287585"/>
                <a:gd name="connsiteY213" fmla="*/ 223882 h 288960"/>
                <a:gd name="connsiteX214" fmla="*/ 109777 w 287585"/>
                <a:gd name="connsiteY214" fmla="*/ 223882 h 288960"/>
                <a:gd name="connsiteX215" fmla="*/ 109777 w 287585"/>
                <a:gd name="connsiteY215" fmla="*/ 223882 h 288960"/>
                <a:gd name="connsiteX216" fmla="*/ 109154 w 287585"/>
                <a:gd name="connsiteY216" fmla="*/ 223882 h 288960"/>
                <a:gd name="connsiteX217" fmla="*/ 109154 w 287585"/>
                <a:gd name="connsiteY217" fmla="*/ 223882 h 288960"/>
                <a:gd name="connsiteX218" fmla="*/ 88383 w 287585"/>
                <a:gd name="connsiteY218" fmla="*/ 239348 h 288960"/>
                <a:gd name="connsiteX219" fmla="*/ 68234 w 287585"/>
                <a:gd name="connsiteY219" fmla="*/ 218589 h 288960"/>
                <a:gd name="connsiteX220" fmla="*/ 84021 w 287585"/>
                <a:gd name="connsiteY220" fmla="*/ 197830 h 288960"/>
                <a:gd name="connsiteX221" fmla="*/ 84021 w 287585"/>
                <a:gd name="connsiteY221" fmla="*/ 197830 h 288960"/>
                <a:gd name="connsiteX222" fmla="*/ 84021 w 287585"/>
                <a:gd name="connsiteY222" fmla="*/ 197207 h 288960"/>
                <a:gd name="connsiteX223" fmla="*/ 84021 w 287585"/>
                <a:gd name="connsiteY223" fmla="*/ 197207 h 288960"/>
                <a:gd name="connsiteX224" fmla="*/ 84021 w 287585"/>
                <a:gd name="connsiteY224" fmla="*/ 196688 h 288960"/>
                <a:gd name="connsiteX225" fmla="*/ 84021 w 287585"/>
                <a:gd name="connsiteY225" fmla="*/ 196066 h 288960"/>
                <a:gd name="connsiteX226" fmla="*/ 84021 w 287585"/>
                <a:gd name="connsiteY226" fmla="*/ 196066 h 288960"/>
                <a:gd name="connsiteX227" fmla="*/ 84021 w 287585"/>
                <a:gd name="connsiteY227" fmla="*/ 195443 h 288960"/>
                <a:gd name="connsiteX228" fmla="*/ 84021 w 287585"/>
                <a:gd name="connsiteY228" fmla="*/ 195443 h 288960"/>
                <a:gd name="connsiteX229" fmla="*/ 84021 w 287585"/>
                <a:gd name="connsiteY229" fmla="*/ 194820 h 288960"/>
                <a:gd name="connsiteX230" fmla="*/ 84021 w 287585"/>
                <a:gd name="connsiteY230" fmla="*/ 194301 h 288960"/>
                <a:gd name="connsiteX231" fmla="*/ 84021 w 287585"/>
                <a:gd name="connsiteY231" fmla="*/ 193679 h 288960"/>
                <a:gd name="connsiteX232" fmla="*/ 84021 w 287585"/>
                <a:gd name="connsiteY232" fmla="*/ 190668 h 288960"/>
                <a:gd name="connsiteX233" fmla="*/ 84021 w 287585"/>
                <a:gd name="connsiteY233" fmla="*/ 190668 h 288960"/>
                <a:gd name="connsiteX234" fmla="*/ 84021 w 287585"/>
                <a:gd name="connsiteY234" fmla="*/ 189942 h 288960"/>
                <a:gd name="connsiteX235" fmla="*/ 84021 w 287585"/>
                <a:gd name="connsiteY235" fmla="*/ 189942 h 288960"/>
                <a:gd name="connsiteX236" fmla="*/ 84021 w 287585"/>
                <a:gd name="connsiteY236" fmla="*/ 189319 h 288960"/>
                <a:gd name="connsiteX237" fmla="*/ 84021 w 287585"/>
                <a:gd name="connsiteY237" fmla="*/ 188696 h 288960"/>
                <a:gd name="connsiteX238" fmla="*/ 84021 w 287585"/>
                <a:gd name="connsiteY238" fmla="*/ 188178 h 288960"/>
                <a:gd name="connsiteX239" fmla="*/ 84021 w 287585"/>
                <a:gd name="connsiteY239" fmla="*/ 187554 h 288960"/>
                <a:gd name="connsiteX240" fmla="*/ 84021 w 287585"/>
                <a:gd name="connsiteY240" fmla="*/ 187554 h 288960"/>
                <a:gd name="connsiteX241" fmla="*/ 77997 w 287585"/>
                <a:gd name="connsiteY241" fmla="*/ 172609 h 288960"/>
                <a:gd name="connsiteX242" fmla="*/ 77997 w 287585"/>
                <a:gd name="connsiteY242" fmla="*/ 172609 h 288960"/>
                <a:gd name="connsiteX243" fmla="*/ 77997 w 287585"/>
                <a:gd name="connsiteY243" fmla="*/ 171882 h 288960"/>
                <a:gd name="connsiteX244" fmla="*/ 77997 w 287585"/>
                <a:gd name="connsiteY244" fmla="*/ 171363 h 288960"/>
                <a:gd name="connsiteX245" fmla="*/ 77997 w 287585"/>
                <a:gd name="connsiteY245" fmla="*/ 171363 h 288960"/>
                <a:gd name="connsiteX246" fmla="*/ 77997 w 287585"/>
                <a:gd name="connsiteY246" fmla="*/ 170844 h 288960"/>
                <a:gd name="connsiteX247" fmla="*/ 77997 w 287585"/>
                <a:gd name="connsiteY247" fmla="*/ 170325 h 288960"/>
                <a:gd name="connsiteX248" fmla="*/ 77997 w 287585"/>
                <a:gd name="connsiteY248" fmla="*/ 169806 h 288960"/>
                <a:gd name="connsiteX249" fmla="*/ 77997 w 287585"/>
                <a:gd name="connsiteY249" fmla="*/ 169806 h 288960"/>
                <a:gd name="connsiteX250" fmla="*/ 77997 w 287585"/>
                <a:gd name="connsiteY250" fmla="*/ 169806 h 288960"/>
                <a:gd name="connsiteX251" fmla="*/ 77997 w 287585"/>
                <a:gd name="connsiteY251" fmla="*/ 169806 h 288960"/>
                <a:gd name="connsiteX252" fmla="*/ 77997 w 287585"/>
                <a:gd name="connsiteY252" fmla="*/ 169287 h 288960"/>
                <a:gd name="connsiteX253" fmla="*/ 77997 w 287585"/>
                <a:gd name="connsiteY253" fmla="*/ 169287 h 288960"/>
                <a:gd name="connsiteX254" fmla="*/ 77997 w 287585"/>
                <a:gd name="connsiteY254" fmla="*/ 169287 h 288960"/>
                <a:gd name="connsiteX255" fmla="*/ 77997 w 287585"/>
                <a:gd name="connsiteY255" fmla="*/ 169287 h 288960"/>
                <a:gd name="connsiteX256" fmla="*/ 77997 w 287585"/>
                <a:gd name="connsiteY256" fmla="*/ 169287 h 288960"/>
                <a:gd name="connsiteX257" fmla="*/ 77374 w 287585"/>
                <a:gd name="connsiteY257" fmla="*/ 169287 h 288960"/>
                <a:gd name="connsiteX258" fmla="*/ 77374 w 287585"/>
                <a:gd name="connsiteY258" fmla="*/ 169287 h 288960"/>
                <a:gd name="connsiteX259" fmla="*/ 76751 w 287585"/>
                <a:gd name="connsiteY259" fmla="*/ 169287 h 288960"/>
                <a:gd name="connsiteX260" fmla="*/ 76751 w 287585"/>
                <a:gd name="connsiteY260" fmla="*/ 169287 h 288960"/>
                <a:gd name="connsiteX261" fmla="*/ 76128 w 287585"/>
                <a:gd name="connsiteY261" fmla="*/ 169287 h 288960"/>
                <a:gd name="connsiteX262" fmla="*/ 75504 w 287585"/>
                <a:gd name="connsiteY262" fmla="*/ 169287 h 288960"/>
                <a:gd name="connsiteX263" fmla="*/ 74985 w 287585"/>
                <a:gd name="connsiteY263" fmla="*/ 169287 h 288960"/>
                <a:gd name="connsiteX264" fmla="*/ 74258 w 287585"/>
                <a:gd name="connsiteY264" fmla="*/ 169287 h 288960"/>
                <a:gd name="connsiteX265" fmla="*/ 74258 w 287585"/>
                <a:gd name="connsiteY265" fmla="*/ 169287 h 288960"/>
                <a:gd name="connsiteX266" fmla="*/ 48709 w 287585"/>
                <a:gd name="connsiteY266" fmla="*/ 165758 h 288960"/>
                <a:gd name="connsiteX267" fmla="*/ 48709 w 287585"/>
                <a:gd name="connsiteY267" fmla="*/ 136904 h 288960"/>
                <a:gd name="connsiteX268" fmla="*/ 74466 w 287585"/>
                <a:gd name="connsiteY268" fmla="*/ 133686 h 288960"/>
                <a:gd name="connsiteX269" fmla="*/ 74466 w 287585"/>
                <a:gd name="connsiteY269" fmla="*/ 133686 h 288960"/>
                <a:gd name="connsiteX270" fmla="*/ 75401 w 287585"/>
                <a:gd name="connsiteY270" fmla="*/ 133686 h 288960"/>
                <a:gd name="connsiteX271" fmla="*/ 75401 w 287585"/>
                <a:gd name="connsiteY271" fmla="*/ 133686 h 288960"/>
                <a:gd name="connsiteX272" fmla="*/ 76439 w 287585"/>
                <a:gd name="connsiteY272" fmla="*/ 133686 h 288960"/>
                <a:gd name="connsiteX273" fmla="*/ 76439 w 287585"/>
                <a:gd name="connsiteY273" fmla="*/ 133686 h 288960"/>
                <a:gd name="connsiteX274" fmla="*/ 77062 w 287585"/>
                <a:gd name="connsiteY274" fmla="*/ 133686 h 288960"/>
                <a:gd name="connsiteX275" fmla="*/ 77062 w 287585"/>
                <a:gd name="connsiteY275" fmla="*/ 133686 h 288960"/>
                <a:gd name="connsiteX276" fmla="*/ 77062 w 287585"/>
                <a:gd name="connsiteY276" fmla="*/ 133686 h 288960"/>
                <a:gd name="connsiteX277" fmla="*/ 77062 w 287585"/>
                <a:gd name="connsiteY277" fmla="*/ 133686 h 288960"/>
                <a:gd name="connsiteX278" fmla="*/ 77685 w 287585"/>
                <a:gd name="connsiteY278" fmla="*/ 133686 h 288960"/>
                <a:gd name="connsiteX279" fmla="*/ 77685 w 287585"/>
                <a:gd name="connsiteY279" fmla="*/ 133686 h 288960"/>
                <a:gd name="connsiteX280" fmla="*/ 78516 w 287585"/>
                <a:gd name="connsiteY280" fmla="*/ 133063 h 288960"/>
                <a:gd name="connsiteX281" fmla="*/ 78516 w 287585"/>
                <a:gd name="connsiteY281" fmla="*/ 133063 h 288960"/>
                <a:gd name="connsiteX282" fmla="*/ 79139 w 287585"/>
                <a:gd name="connsiteY282" fmla="*/ 132440 h 288960"/>
                <a:gd name="connsiteX283" fmla="*/ 79139 w 287585"/>
                <a:gd name="connsiteY283" fmla="*/ 132440 h 288960"/>
                <a:gd name="connsiteX284" fmla="*/ 79139 w 287585"/>
                <a:gd name="connsiteY284" fmla="*/ 131818 h 288960"/>
                <a:gd name="connsiteX285" fmla="*/ 79139 w 287585"/>
                <a:gd name="connsiteY285" fmla="*/ 131818 h 288960"/>
                <a:gd name="connsiteX286" fmla="*/ 79139 w 287585"/>
                <a:gd name="connsiteY286" fmla="*/ 131091 h 288960"/>
                <a:gd name="connsiteX287" fmla="*/ 79139 w 287585"/>
                <a:gd name="connsiteY287" fmla="*/ 131091 h 288960"/>
                <a:gd name="connsiteX288" fmla="*/ 79139 w 287585"/>
                <a:gd name="connsiteY288" fmla="*/ 130053 h 288960"/>
                <a:gd name="connsiteX289" fmla="*/ 79139 w 287585"/>
                <a:gd name="connsiteY289" fmla="*/ 130053 h 288960"/>
                <a:gd name="connsiteX290" fmla="*/ 79139 w 287585"/>
                <a:gd name="connsiteY290" fmla="*/ 129119 h 288960"/>
                <a:gd name="connsiteX291" fmla="*/ 79139 w 287585"/>
                <a:gd name="connsiteY291" fmla="*/ 129119 h 288960"/>
                <a:gd name="connsiteX292" fmla="*/ 79139 w 287585"/>
                <a:gd name="connsiteY292" fmla="*/ 129119 h 288960"/>
                <a:gd name="connsiteX293" fmla="*/ 85371 w 287585"/>
                <a:gd name="connsiteY293" fmla="*/ 114173 h 288960"/>
                <a:gd name="connsiteX294" fmla="*/ 85371 w 287585"/>
                <a:gd name="connsiteY294" fmla="*/ 114173 h 288960"/>
                <a:gd name="connsiteX295" fmla="*/ 85371 w 287585"/>
                <a:gd name="connsiteY295" fmla="*/ 113446 h 288960"/>
                <a:gd name="connsiteX296" fmla="*/ 85371 w 287585"/>
                <a:gd name="connsiteY296" fmla="*/ 112824 h 288960"/>
                <a:gd name="connsiteX297" fmla="*/ 85371 w 287585"/>
                <a:gd name="connsiteY297" fmla="*/ 111267 h 288960"/>
                <a:gd name="connsiteX298" fmla="*/ 85371 w 287585"/>
                <a:gd name="connsiteY298" fmla="*/ 110644 h 288960"/>
                <a:gd name="connsiteX299" fmla="*/ 85371 w 287585"/>
                <a:gd name="connsiteY299" fmla="*/ 110125 h 288960"/>
                <a:gd name="connsiteX300" fmla="*/ 85371 w 287585"/>
                <a:gd name="connsiteY300" fmla="*/ 109502 h 288960"/>
                <a:gd name="connsiteX301" fmla="*/ 85371 w 287585"/>
                <a:gd name="connsiteY301" fmla="*/ 107738 h 288960"/>
                <a:gd name="connsiteX302" fmla="*/ 85371 w 287585"/>
                <a:gd name="connsiteY302" fmla="*/ 107219 h 288960"/>
                <a:gd name="connsiteX303" fmla="*/ 85371 w 287585"/>
                <a:gd name="connsiteY303" fmla="*/ 106596 h 288960"/>
                <a:gd name="connsiteX304" fmla="*/ 85371 w 287585"/>
                <a:gd name="connsiteY304" fmla="*/ 106077 h 288960"/>
                <a:gd name="connsiteX305" fmla="*/ 85371 w 287585"/>
                <a:gd name="connsiteY305" fmla="*/ 105454 h 288960"/>
                <a:gd name="connsiteX306" fmla="*/ 85371 w 287585"/>
                <a:gd name="connsiteY306" fmla="*/ 104935 h 288960"/>
                <a:gd name="connsiteX307" fmla="*/ 85371 w 287585"/>
                <a:gd name="connsiteY307" fmla="*/ 104312 h 288960"/>
                <a:gd name="connsiteX308" fmla="*/ 85371 w 287585"/>
                <a:gd name="connsiteY308" fmla="*/ 104312 h 288960"/>
                <a:gd name="connsiteX309" fmla="*/ 85371 w 287585"/>
                <a:gd name="connsiteY309" fmla="*/ 103794 h 288960"/>
                <a:gd name="connsiteX310" fmla="*/ 85371 w 287585"/>
                <a:gd name="connsiteY310" fmla="*/ 103274 h 288960"/>
                <a:gd name="connsiteX311" fmla="*/ 85371 w 287585"/>
                <a:gd name="connsiteY311" fmla="*/ 102756 h 288960"/>
                <a:gd name="connsiteX312" fmla="*/ 85371 w 287585"/>
                <a:gd name="connsiteY312" fmla="*/ 102133 h 288960"/>
                <a:gd name="connsiteX313" fmla="*/ 85371 w 287585"/>
                <a:gd name="connsiteY313" fmla="*/ 102133 h 288960"/>
                <a:gd name="connsiteX314" fmla="*/ 69896 w 287585"/>
                <a:gd name="connsiteY314" fmla="*/ 81374 h 288960"/>
                <a:gd name="connsiteX315" fmla="*/ 90668 w 287585"/>
                <a:gd name="connsiteY315" fmla="*/ 61134 h 288960"/>
                <a:gd name="connsiteX316" fmla="*/ 110608 w 287585"/>
                <a:gd name="connsiteY316" fmla="*/ 76911 h 288960"/>
                <a:gd name="connsiteX317" fmla="*/ 111543 w 287585"/>
                <a:gd name="connsiteY317" fmla="*/ 77534 h 288960"/>
                <a:gd name="connsiteX318" fmla="*/ 111543 w 287585"/>
                <a:gd name="connsiteY318" fmla="*/ 77534 h 288960"/>
                <a:gd name="connsiteX319" fmla="*/ 112062 w 287585"/>
                <a:gd name="connsiteY319" fmla="*/ 77534 h 288960"/>
                <a:gd name="connsiteX320" fmla="*/ 112062 w 287585"/>
                <a:gd name="connsiteY320" fmla="*/ 77534 h 288960"/>
                <a:gd name="connsiteX321" fmla="*/ 112062 w 287585"/>
                <a:gd name="connsiteY321" fmla="*/ 77534 h 288960"/>
                <a:gd name="connsiteX322" fmla="*/ 112062 w 287585"/>
                <a:gd name="connsiteY322" fmla="*/ 77534 h 288960"/>
                <a:gd name="connsiteX323" fmla="*/ 112789 w 287585"/>
                <a:gd name="connsiteY323" fmla="*/ 77534 h 288960"/>
                <a:gd name="connsiteX324" fmla="*/ 112789 w 287585"/>
                <a:gd name="connsiteY324" fmla="*/ 77534 h 288960"/>
                <a:gd name="connsiteX325" fmla="*/ 116320 w 287585"/>
                <a:gd name="connsiteY325" fmla="*/ 77534 h 288960"/>
                <a:gd name="connsiteX326" fmla="*/ 118917 w 287585"/>
                <a:gd name="connsiteY326" fmla="*/ 77534 h 288960"/>
                <a:gd name="connsiteX327" fmla="*/ 118917 w 287585"/>
                <a:gd name="connsiteY327" fmla="*/ 77534 h 288960"/>
                <a:gd name="connsiteX328" fmla="*/ 120163 w 287585"/>
                <a:gd name="connsiteY328" fmla="*/ 77534 h 288960"/>
                <a:gd name="connsiteX329" fmla="*/ 120163 w 287585"/>
                <a:gd name="connsiteY329" fmla="*/ 77534 h 288960"/>
                <a:gd name="connsiteX330" fmla="*/ 121202 w 287585"/>
                <a:gd name="connsiteY330" fmla="*/ 77534 h 288960"/>
                <a:gd name="connsiteX331" fmla="*/ 121202 w 287585"/>
                <a:gd name="connsiteY331" fmla="*/ 77534 h 288960"/>
                <a:gd name="connsiteX332" fmla="*/ 136469 w 287585"/>
                <a:gd name="connsiteY332" fmla="*/ 71410 h 288960"/>
                <a:gd name="connsiteX333" fmla="*/ 136469 w 287585"/>
                <a:gd name="connsiteY333" fmla="*/ 71410 h 288960"/>
                <a:gd name="connsiteX334" fmla="*/ 137300 w 287585"/>
                <a:gd name="connsiteY334" fmla="*/ 71410 h 288960"/>
                <a:gd name="connsiteX335" fmla="*/ 137300 w 287585"/>
                <a:gd name="connsiteY335" fmla="*/ 71410 h 288960"/>
                <a:gd name="connsiteX336" fmla="*/ 137923 w 287585"/>
                <a:gd name="connsiteY336" fmla="*/ 71410 h 288960"/>
                <a:gd name="connsiteX337" fmla="*/ 137923 w 287585"/>
                <a:gd name="connsiteY337" fmla="*/ 71410 h 288960"/>
                <a:gd name="connsiteX338" fmla="*/ 137923 w 287585"/>
                <a:gd name="connsiteY338" fmla="*/ 71410 h 288960"/>
                <a:gd name="connsiteX339" fmla="*/ 137923 w 287585"/>
                <a:gd name="connsiteY339" fmla="*/ 71410 h 288960"/>
                <a:gd name="connsiteX340" fmla="*/ 137923 w 287585"/>
                <a:gd name="connsiteY340" fmla="*/ 71410 h 288960"/>
                <a:gd name="connsiteX341" fmla="*/ 138442 w 287585"/>
                <a:gd name="connsiteY341" fmla="*/ 71410 h 288960"/>
                <a:gd name="connsiteX342" fmla="*/ 138442 w 287585"/>
                <a:gd name="connsiteY342" fmla="*/ 71410 h 288960"/>
                <a:gd name="connsiteX343" fmla="*/ 138442 w 287585"/>
                <a:gd name="connsiteY343" fmla="*/ 71410 h 288960"/>
                <a:gd name="connsiteX344" fmla="*/ 138442 w 287585"/>
                <a:gd name="connsiteY344" fmla="*/ 70891 h 288960"/>
                <a:gd name="connsiteX345" fmla="*/ 138442 w 287585"/>
                <a:gd name="connsiteY345" fmla="*/ 70891 h 288960"/>
                <a:gd name="connsiteX346" fmla="*/ 139688 w 287585"/>
                <a:gd name="connsiteY346" fmla="*/ 68919 h 288960"/>
                <a:gd name="connsiteX347" fmla="*/ 139688 w 287585"/>
                <a:gd name="connsiteY347" fmla="*/ 68919 h 288960"/>
                <a:gd name="connsiteX348" fmla="*/ 139688 w 287585"/>
                <a:gd name="connsiteY348" fmla="*/ 68089 h 288960"/>
                <a:gd name="connsiteX349" fmla="*/ 139688 w 287585"/>
                <a:gd name="connsiteY349" fmla="*/ 68089 h 288960"/>
                <a:gd name="connsiteX350" fmla="*/ 139688 w 287585"/>
                <a:gd name="connsiteY350" fmla="*/ 67362 h 288960"/>
                <a:gd name="connsiteX351" fmla="*/ 139688 w 287585"/>
                <a:gd name="connsiteY351" fmla="*/ 66843 h 288960"/>
                <a:gd name="connsiteX352" fmla="*/ 139688 w 287585"/>
                <a:gd name="connsiteY352" fmla="*/ 66220 h 288960"/>
                <a:gd name="connsiteX353" fmla="*/ 139688 w 287585"/>
                <a:gd name="connsiteY353" fmla="*/ 65597 h 288960"/>
                <a:gd name="connsiteX354" fmla="*/ 139688 w 287585"/>
                <a:gd name="connsiteY354" fmla="*/ 65597 h 288960"/>
                <a:gd name="connsiteX355" fmla="*/ 143116 w 287585"/>
                <a:gd name="connsiteY355" fmla="*/ 40272 h 288960"/>
                <a:gd name="connsiteX356" fmla="*/ 172092 w 287585"/>
                <a:gd name="connsiteY356" fmla="*/ 40272 h 288960"/>
                <a:gd name="connsiteX357" fmla="*/ 175208 w 287585"/>
                <a:gd name="connsiteY357" fmla="*/ 66013 h 288960"/>
                <a:gd name="connsiteX358" fmla="*/ 175208 w 287585"/>
                <a:gd name="connsiteY358" fmla="*/ 66013 h 288960"/>
                <a:gd name="connsiteX359" fmla="*/ 175208 w 287585"/>
                <a:gd name="connsiteY359" fmla="*/ 66635 h 288960"/>
                <a:gd name="connsiteX360" fmla="*/ 175208 w 287585"/>
                <a:gd name="connsiteY360" fmla="*/ 67258 h 288960"/>
                <a:gd name="connsiteX361" fmla="*/ 175208 w 287585"/>
                <a:gd name="connsiteY361" fmla="*/ 67777 h 288960"/>
                <a:gd name="connsiteX362" fmla="*/ 175208 w 287585"/>
                <a:gd name="connsiteY362" fmla="*/ 68400 h 288960"/>
                <a:gd name="connsiteX363" fmla="*/ 175208 w 287585"/>
                <a:gd name="connsiteY363" fmla="*/ 68400 h 288960"/>
                <a:gd name="connsiteX364" fmla="*/ 175208 w 287585"/>
                <a:gd name="connsiteY364" fmla="*/ 69127 h 288960"/>
                <a:gd name="connsiteX365" fmla="*/ 175208 w 287585"/>
                <a:gd name="connsiteY365" fmla="*/ 69127 h 288960"/>
                <a:gd name="connsiteX366" fmla="*/ 175208 w 287585"/>
                <a:gd name="connsiteY366" fmla="*/ 69853 h 288960"/>
                <a:gd name="connsiteX367" fmla="*/ 175208 w 287585"/>
                <a:gd name="connsiteY367" fmla="*/ 69853 h 288960"/>
                <a:gd name="connsiteX368" fmla="*/ 175831 w 287585"/>
                <a:gd name="connsiteY368" fmla="*/ 70683 h 288960"/>
                <a:gd name="connsiteX369" fmla="*/ 175831 w 287585"/>
                <a:gd name="connsiteY369" fmla="*/ 70683 h 288960"/>
                <a:gd name="connsiteX370" fmla="*/ 176558 w 287585"/>
                <a:gd name="connsiteY370" fmla="*/ 71514 h 288960"/>
                <a:gd name="connsiteX371" fmla="*/ 176558 w 287585"/>
                <a:gd name="connsiteY371" fmla="*/ 71514 h 288960"/>
                <a:gd name="connsiteX372" fmla="*/ 176558 w 287585"/>
                <a:gd name="connsiteY372" fmla="*/ 71514 h 288960"/>
                <a:gd name="connsiteX373" fmla="*/ 176558 w 287585"/>
                <a:gd name="connsiteY373" fmla="*/ 71514 h 288960"/>
                <a:gd name="connsiteX374" fmla="*/ 176558 w 287585"/>
                <a:gd name="connsiteY374" fmla="*/ 71514 h 288960"/>
                <a:gd name="connsiteX375" fmla="*/ 177077 w 287585"/>
                <a:gd name="connsiteY375" fmla="*/ 71514 h 288960"/>
                <a:gd name="connsiteX376" fmla="*/ 177077 w 287585"/>
                <a:gd name="connsiteY376" fmla="*/ 71514 h 288960"/>
                <a:gd name="connsiteX377" fmla="*/ 177596 w 287585"/>
                <a:gd name="connsiteY377" fmla="*/ 71514 h 288960"/>
                <a:gd name="connsiteX378" fmla="*/ 178220 w 287585"/>
                <a:gd name="connsiteY378" fmla="*/ 71514 h 288960"/>
                <a:gd name="connsiteX379" fmla="*/ 178220 w 287585"/>
                <a:gd name="connsiteY379" fmla="*/ 71514 h 288960"/>
                <a:gd name="connsiteX380" fmla="*/ 179050 w 287585"/>
                <a:gd name="connsiteY380" fmla="*/ 71514 h 288960"/>
                <a:gd name="connsiteX381" fmla="*/ 179050 w 287585"/>
                <a:gd name="connsiteY381" fmla="*/ 71514 h 288960"/>
                <a:gd name="connsiteX382" fmla="*/ 193902 w 287585"/>
                <a:gd name="connsiteY382" fmla="*/ 77741 h 288960"/>
                <a:gd name="connsiteX383" fmla="*/ 193902 w 287585"/>
                <a:gd name="connsiteY383" fmla="*/ 77741 h 288960"/>
                <a:gd name="connsiteX384" fmla="*/ 195044 w 287585"/>
                <a:gd name="connsiteY384" fmla="*/ 77741 h 288960"/>
                <a:gd name="connsiteX385" fmla="*/ 195044 w 287585"/>
                <a:gd name="connsiteY385" fmla="*/ 77741 h 288960"/>
                <a:gd name="connsiteX386" fmla="*/ 196291 w 287585"/>
                <a:gd name="connsiteY386" fmla="*/ 77741 h 288960"/>
                <a:gd name="connsiteX387" fmla="*/ 196291 w 287585"/>
                <a:gd name="connsiteY387" fmla="*/ 77741 h 288960"/>
                <a:gd name="connsiteX388" fmla="*/ 198887 w 287585"/>
                <a:gd name="connsiteY388" fmla="*/ 77741 h 288960"/>
                <a:gd name="connsiteX389" fmla="*/ 202314 w 287585"/>
                <a:gd name="connsiteY389" fmla="*/ 77741 h 288960"/>
                <a:gd name="connsiteX390" fmla="*/ 202834 w 287585"/>
                <a:gd name="connsiteY390" fmla="*/ 77741 h 288960"/>
                <a:gd name="connsiteX391" fmla="*/ 202834 w 287585"/>
                <a:gd name="connsiteY391" fmla="*/ 77741 h 288960"/>
                <a:gd name="connsiteX392" fmla="*/ 203457 w 287585"/>
                <a:gd name="connsiteY392" fmla="*/ 77741 h 288960"/>
                <a:gd name="connsiteX393" fmla="*/ 203457 w 287585"/>
                <a:gd name="connsiteY393" fmla="*/ 77741 h 288960"/>
                <a:gd name="connsiteX394" fmla="*/ 203457 w 287585"/>
                <a:gd name="connsiteY394" fmla="*/ 77741 h 288960"/>
                <a:gd name="connsiteX395" fmla="*/ 203976 w 287585"/>
                <a:gd name="connsiteY395" fmla="*/ 77741 h 288960"/>
                <a:gd name="connsiteX396" fmla="*/ 203976 w 287585"/>
                <a:gd name="connsiteY396" fmla="*/ 77741 h 288960"/>
                <a:gd name="connsiteX397" fmla="*/ 204599 w 287585"/>
                <a:gd name="connsiteY397" fmla="*/ 77741 h 288960"/>
                <a:gd name="connsiteX398" fmla="*/ 204599 w 287585"/>
                <a:gd name="connsiteY398" fmla="*/ 77741 h 288960"/>
                <a:gd name="connsiteX399" fmla="*/ 225371 w 287585"/>
                <a:gd name="connsiteY399" fmla="*/ 62276 h 288960"/>
                <a:gd name="connsiteX400" fmla="*/ 246142 w 287585"/>
                <a:gd name="connsiteY400" fmla="*/ 83035 h 288960"/>
                <a:gd name="connsiteX401" fmla="*/ 230252 w 287585"/>
                <a:gd name="connsiteY401" fmla="*/ 103794 h 288960"/>
                <a:gd name="connsiteX402" fmla="*/ 230252 w 287585"/>
                <a:gd name="connsiteY402" fmla="*/ 103794 h 288960"/>
                <a:gd name="connsiteX403" fmla="*/ 230252 w 287585"/>
                <a:gd name="connsiteY403" fmla="*/ 104416 h 288960"/>
                <a:gd name="connsiteX404" fmla="*/ 230252 w 287585"/>
                <a:gd name="connsiteY404" fmla="*/ 104935 h 288960"/>
                <a:gd name="connsiteX405" fmla="*/ 230252 w 287585"/>
                <a:gd name="connsiteY405" fmla="*/ 105454 h 288960"/>
                <a:gd name="connsiteX406" fmla="*/ 230252 w 287585"/>
                <a:gd name="connsiteY406" fmla="*/ 105454 h 288960"/>
                <a:gd name="connsiteX407" fmla="*/ 230252 w 287585"/>
                <a:gd name="connsiteY407" fmla="*/ 105973 h 288960"/>
                <a:gd name="connsiteX408" fmla="*/ 230252 w 287585"/>
                <a:gd name="connsiteY408" fmla="*/ 106596 h 288960"/>
                <a:gd name="connsiteX409" fmla="*/ 230252 w 287585"/>
                <a:gd name="connsiteY409" fmla="*/ 107115 h 288960"/>
                <a:gd name="connsiteX410" fmla="*/ 230252 w 287585"/>
                <a:gd name="connsiteY410" fmla="*/ 107738 h 288960"/>
                <a:gd name="connsiteX411" fmla="*/ 230252 w 287585"/>
                <a:gd name="connsiteY411" fmla="*/ 108257 h 288960"/>
                <a:gd name="connsiteX412" fmla="*/ 230252 w 287585"/>
                <a:gd name="connsiteY412" fmla="*/ 108879 h 288960"/>
                <a:gd name="connsiteX413" fmla="*/ 230252 w 287585"/>
                <a:gd name="connsiteY413" fmla="*/ 109398 h 288960"/>
                <a:gd name="connsiteX414" fmla="*/ 230252 w 287585"/>
                <a:gd name="connsiteY414" fmla="*/ 111786 h 288960"/>
                <a:gd name="connsiteX415" fmla="*/ 230252 w 287585"/>
                <a:gd name="connsiteY415" fmla="*/ 112304 h 288960"/>
                <a:gd name="connsiteX416" fmla="*/ 230252 w 287585"/>
                <a:gd name="connsiteY416" fmla="*/ 112927 h 288960"/>
                <a:gd name="connsiteX417" fmla="*/ 230252 w 287585"/>
                <a:gd name="connsiteY417" fmla="*/ 113446 h 288960"/>
                <a:gd name="connsiteX418" fmla="*/ 230252 w 287585"/>
                <a:gd name="connsiteY418" fmla="*/ 114069 h 288960"/>
                <a:gd name="connsiteX419" fmla="*/ 230252 w 287585"/>
                <a:gd name="connsiteY419" fmla="*/ 114692 h 288960"/>
                <a:gd name="connsiteX420" fmla="*/ 230252 w 287585"/>
                <a:gd name="connsiteY420" fmla="*/ 114692 h 288960"/>
                <a:gd name="connsiteX421" fmla="*/ 230252 w 287585"/>
                <a:gd name="connsiteY421" fmla="*/ 115418 h 288960"/>
                <a:gd name="connsiteX422" fmla="*/ 230252 w 287585"/>
                <a:gd name="connsiteY422" fmla="*/ 115418 h 288960"/>
                <a:gd name="connsiteX423" fmla="*/ 236484 w 287585"/>
                <a:gd name="connsiteY423" fmla="*/ 130365 h 288960"/>
                <a:gd name="connsiteX424" fmla="*/ 236484 w 287585"/>
                <a:gd name="connsiteY424" fmla="*/ 130365 h 288960"/>
                <a:gd name="connsiteX425" fmla="*/ 236484 w 287585"/>
                <a:gd name="connsiteY425" fmla="*/ 130365 h 288960"/>
                <a:gd name="connsiteX426" fmla="*/ 237418 w 287585"/>
                <a:gd name="connsiteY426" fmla="*/ 132337 h 288960"/>
                <a:gd name="connsiteX427" fmla="*/ 237418 w 287585"/>
                <a:gd name="connsiteY427" fmla="*/ 132337 h 288960"/>
                <a:gd name="connsiteX428" fmla="*/ 237938 w 287585"/>
                <a:gd name="connsiteY428" fmla="*/ 133063 h 288960"/>
                <a:gd name="connsiteX429" fmla="*/ 237938 w 287585"/>
                <a:gd name="connsiteY429" fmla="*/ 133063 h 288960"/>
                <a:gd name="connsiteX430" fmla="*/ 238561 w 287585"/>
                <a:gd name="connsiteY430" fmla="*/ 133790 h 288960"/>
                <a:gd name="connsiteX431" fmla="*/ 238561 w 287585"/>
                <a:gd name="connsiteY431" fmla="*/ 133790 h 288960"/>
                <a:gd name="connsiteX432" fmla="*/ 238561 w 287585"/>
                <a:gd name="connsiteY432" fmla="*/ 133790 h 288960"/>
                <a:gd name="connsiteX433" fmla="*/ 238561 w 287585"/>
                <a:gd name="connsiteY433" fmla="*/ 133790 h 288960"/>
                <a:gd name="connsiteX434" fmla="*/ 239392 w 287585"/>
                <a:gd name="connsiteY434" fmla="*/ 134412 h 288960"/>
                <a:gd name="connsiteX435" fmla="*/ 239392 w 287585"/>
                <a:gd name="connsiteY435" fmla="*/ 134412 h 288960"/>
                <a:gd name="connsiteX436" fmla="*/ 240119 w 287585"/>
                <a:gd name="connsiteY436" fmla="*/ 134932 h 288960"/>
                <a:gd name="connsiteX437" fmla="*/ 240119 w 287585"/>
                <a:gd name="connsiteY437" fmla="*/ 134932 h 288960"/>
                <a:gd name="connsiteX438" fmla="*/ 240119 w 287585"/>
                <a:gd name="connsiteY438" fmla="*/ 134932 h 288960"/>
                <a:gd name="connsiteX439" fmla="*/ 240119 w 287585"/>
                <a:gd name="connsiteY439" fmla="*/ 134932 h 288960"/>
                <a:gd name="connsiteX440" fmla="*/ 240742 w 287585"/>
                <a:gd name="connsiteY440" fmla="*/ 134932 h 288960"/>
                <a:gd name="connsiteX441" fmla="*/ 240742 w 287585"/>
                <a:gd name="connsiteY441" fmla="*/ 134932 h 288960"/>
                <a:gd name="connsiteX442" fmla="*/ 242923 w 287585"/>
                <a:gd name="connsiteY442" fmla="*/ 135450 h 288960"/>
                <a:gd name="connsiteX443" fmla="*/ 242923 w 287585"/>
                <a:gd name="connsiteY443" fmla="*/ 135450 h 288960"/>
                <a:gd name="connsiteX444" fmla="*/ 268264 w 287585"/>
                <a:gd name="connsiteY444" fmla="*/ 138876 h 288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</a:cxnLst>
              <a:rect l="l" t="t" r="r" b="b"/>
              <a:pathLst>
                <a:path w="287585" h="288960">
                  <a:moveTo>
                    <a:pt x="287581" y="130365"/>
                  </a:moveTo>
                  <a:cubicBezTo>
                    <a:pt x="287779" y="119072"/>
                    <a:pt x="279782" y="109295"/>
                    <a:pt x="268679" y="107219"/>
                  </a:cubicBezTo>
                  <a:lnTo>
                    <a:pt x="268056" y="107219"/>
                  </a:lnTo>
                  <a:lnTo>
                    <a:pt x="248635" y="104520"/>
                  </a:lnTo>
                  <a:cubicBezTo>
                    <a:pt x="248116" y="103067"/>
                    <a:pt x="247389" y="101614"/>
                    <a:pt x="246765" y="100057"/>
                  </a:cubicBezTo>
                  <a:lnTo>
                    <a:pt x="258917" y="84592"/>
                  </a:lnTo>
                  <a:lnTo>
                    <a:pt x="258917" y="84592"/>
                  </a:lnTo>
                  <a:lnTo>
                    <a:pt x="258917" y="84592"/>
                  </a:lnTo>
                  <a:cubicBezTo>
                    <a:pt x="265460" y="75312"/>
                    <a:pt x="264411" y="62671"/>
                    <a:pt x="256424" y="54595"/>
                  </a:cubicBezTo>
                  <a:lnTo>
                    <a:pt x="256424" y="54595"/>
                  </a:lnTo>
                  <a:lnTo>
                    <a:pt x="235133" y="32384"/>
                  </a:lnTo>
                  <a:lnTo>
                    <a:pt x="235133" y="32384"/>
                  </a:lnTo>
                  <a:cubicBezTo>
                    <a:pt x="227209" y="24392"/>
                    <a:pt x="214705" y="23208"/>
                    <a:pt x="205430" y="29581"/>
                  </a:cubicBezTo>
                  <a:lnTo>
                    <a:pt x="205430" y="29581"/>
                  </a:lnTo>
                  <a:lnTo>
                    <a:pt x="205430" y="29581"/>
                  </a:lnTo>
                  <a:lnTo>
                    <a:pt x="189644" y="41414"/>
                  </a:lnTo>
                  <a:cubicBezTo>
                    <a:pt x="188159" y="40697"/>
                    <a:pt x="186632" y="40075"/>
                    <a:pt x="185074" y="39545"/>
                  </a:cubicBezTo>
                  <a:lnTo>
                    <a:pt x="182685" y="19928"/>
                  </a:lnTo>
                  <a:lnTo>
                    <a:pt x="182685" y="19410"/>
                  </a:lnTo>
                  <a:cubicBezTo>
                    <a:pt x="180857" y="8221"/>
                    <a:pt x="171178" y="0"/>
                    <a:pt x="159837" y="0"/>
                  </a:cubicBezTo>
                  <a:lnTo>
                    <a:pt x="129199" y="0"/>
                  </a:lnTo>
                  <a:cubicBezTo>
                    <a:pt x="117941" y="-52"/>
                    <a:pt x="108240" y="7940"/>
                    <a:pt x="106142" y="18994"/>
                  </a:cubicBezTo>
                  <a:lnTo>
                    <a:pt x="106142" y="19513"/>
                  </a:lnTo>
                  <a:lnTo>
                    <a:pt x="103442" y="38923"/>
                  </a:lnTo>
                  <a:lnTo>
                    <a:pt x="98769" y="40791"/>
                  </a:lnTo>
                  <a:lnTo>
                    <a:pt x="83501" y="28751"/>
                  </a:lnTo>
                  <a:lnTo>
                    <a:pt x="83501" y="28751"/>
                  </a:lnTo>
                  <a:lnTo>
                    <a:pt x="83501" y="28751"/>
                  </a:lnTo>
                  <a:cubicBezTo>
                    <a:pt x="74248" y="22222"/>
                    <a:pt x="61639" y="23281"/>
                    <a:pt x="53590" y="31242"/>
                  </a:cubicBezTo>
                  <a:lnTo>
                    <a:pt x="53590" y="31242"/>
                  </a:lnTo>
                  <a:lnTo>
                    <a:pt x="31884" y="52623"/>
                  </a:lnTo>
                  <a:lnTo>
                    <a:pt x="31884" y="52623"/>
                  </a:lnTo>
                  <a:cubicBezTo>
                    <a:pt x="23846" y="60522"/>
                    <a:pt x="22662" y="73050"/>
                    <a:pt x="29080" y="82308"/>
                  </a:cubicBezTo>
                  <a:lnTo>
                    <a:pt x="29080" y="82308"/>
                  </a:lnTo>
                  <a:lnTo>
                    <a:pt x="29080" y="82308"/>
                  </a:lnTo>
                  <a:lnTo>
                    <a:pt x="40816" y="98085"/>
                  </a:lnTo>
                  <a:lnTo>
                    <a:pt x="38947" y="102548"/>
                  </a:lnTo>
                  <a:lnTo>
                    <a:pt x="19421" y="105039"/>
                  </a:lnTo>
                  <a:lnTo>
                    <a:pt x="19421" y="105039"/>
                  </a:lnTo>
                  <a:cubicBezTo>
                    <a:pt x="8267" y="106949"/>
                    <a:pt x="93" y="116570"/>
                    <a:pt x="0" y="127873"/>
                  </a:cubicBezTo>
                  <a:lnTo>
                    <a:pt x="0" y="127873"/>
                  </a:lnTo>
                  <a:lnTo>
                    <a:pt x="0" y="158285"/>
                  </a:lnTo>
                  <a:lnTo>
                    <a:pt x="0" y="158285"/>
                  </a:lnTo>
                  <a:cubicBezTo>
                    <a:pt x="0" y="169640"/>
                    <a:pt x="8059" y="179397"/>
                    <a:pt x="19214" y="181535"/>
                  </a:cubicBezTo>
                  <a:lnTo>
                    <a:pt x="19214" y="181535"/>
                  </a:lnTo>
                  <a:lnTo>
                    <a:pt x="38531" y="184129"/>
                  </a:lnTo>
                  <a:lnTo>
                    <a:pt x="40401" y="188592"/>
                  </a:lnTo>
                  <a:lnTo>
                    <a:pt x="27418" y="204577"/>
                  </a:lnTo>
                  <a:lnTo>
                    <a:pt x="27418" y="204577"/>
                  </a:lnTo>
                  <a:lnTo>
                    <a:pt x="27418" y="204577"/>
                  </a:lnTo>
                  <a:cubicBezTo>
                    <a:pt x="20907" y="213814"/>
                    <a:pt x="21914" y="226384"/>
                    <a:pt x="29807" y="234469"/>
                  </a:cubicBezTo>
                  <a:lnTo>
                    <a:pt x="29807" y="234469"/>
                  </a:lnTo>
                  <a:lnTo>
                    <a:pt x="50579" y="256162"/>
                  </a:lnTo>
                  <a:lnTo>
                    <a:pt x="50579" y="256162"/>
                  </a:lnTo>
                  <a:cubicBezTo>
                    <a:pt x="58347" y="264030"/>
                    <a:pt x="70571" y="265368"/>
                    <a:pt x="79866" y="259380"/>
                  </a:cubicBezTo>
                  <a:lnTo>
                    <a:pt x="79866" y="259380"/>
                  </a:lnTo>
                  <a:lnTo>
                    <a:pt x="79866" y="259380"/>
                  </a:lnTo>
                  <a:lnTo>
                    <a:pt x="79866" y="259380"/>
                  </a:lnTo>
                  <a:lnTo>
                    <a:pt x="95653" y="247547"/>
                  </a:lnTo>
                  <a:lnTo>
                    <a:pt x="100223" y="249416"/>
                  </a:lnTo>
                  <a:lnTo>
                    <a:pt x="102611" y="269032"/>
                  </a:lnTo>
                  <a:lnTo>
                    <a:pt x="102611" y="269551"/>
                  </a:lnTo>
                  <a:cubicBezTo>
                    <a:pt x="104481" y="280719"/>
                    <a:pt x="114129" y="288919"/>
                    <a:pt x="125460" y="288961"/>
                  </a:cubicBezTo>
                  <a:lnTo>
                    <a:pt x="156617" y="288961"/>
                  </a:lnTo>
                  <a:cubicBezTo>
                    <a:pt x="167844" y="288940"/>
                    <a:pt x="177461" y="280906"/>
                    <a:pt x="179466" y="269863"/>
                  </a:cubicBezTo>
                  <a:lnTo>
                    <a:pt x="179466" y="269863"/>
                  </a:lnTo>
                  <a:lnTo>
                    <a:pt x="182270" y="250454"/>
                  </a:lnTo>
                  <a:lnTo>
                    <a:pt x="186840" y="248481"/>
                  </a:lnTo>
                  <a:lnTo>
                    <a:pt x="202314" y="260625"/>
                  </a:lnTo>
                  <a:lnTo>
                    <a:pt x="202314" y="260625"/>
                  </a:lnTo>
                  <a:lnTo>
                    <a:pt x="202314" y="260625"/>
                  </a:lnTo>
                  <a:lnTo>
                    <a:pt x="202314" y="260625"/>
                  </a:lnTo>
                  <a:lnTo>
                    <a:pt x="202314" y="260625"/>
                  </a:lnTo>
                  <a:cubicBezTo>
                    <a:pt x="211537" y="266780"/>
                    <a:pt x="223813" y="265607"/>
                    <a:pt x="231706" y="257823"/>
                  </a:cubicBezTo>
                  <a:lnTo>
                    <a:pt x="253412" y="236441"/>
                  </a:lnTo>
                  <a:lnTo>
                    <a:pt x="253412" y="236441"/>
                  </a:lnTo>
                  <a:cubicBezTo>
                    <a:pt x="261472" y="228605"/>
                    <a:pt x="262666" y="216077"/>
                    <a:pt x="256216" y="206860"/>
                  </a:cubicBezTo>
                  <a:lnTo>
                    <a:pt x="256216" y="206860"/>
                  </a:lnTo>
                  <a:lnTo>
                    <a:pt x="256216" y="206860"/>
                  </a:lnTo>
                  <a:lnTo>
                    <a:pt x="244481" y="191084"/>
                  </a:lnTo>
                  <a:lnTo>
                    <a:pt x="246350" y="186517"/>
                  </a:lnTo>
                  <a:lnTo>
                    <a:pt x="265771" y="184026"/>
                  </a:lnTo>
                  <a:lnTo>
                    <a:pt x="265771" y="184026"/>
                  </a:lnTo>
                  <a:cubicBezTo>
                    <a:pt x="276967" y="182209"/>
                    <a:pt x="285245" y="172629"/>
                    <a:pt x="285400" y="161295"/>
                  </a:cubicBezTo>
                  <a:lnTo>
                    <a:pt x="285400" y="161295"/>
                  </a:lnTo>
                  <a:lnTo>
                    <a:pt x="285400" y="130883"/>
                  </a:lnTo>
                  <a:close/>
                  <a:moveTo>
                    <a:pt x="263279" y="159738"/>
                  </a:moveTo>
                  <a:lnTo>
                    <a:pt x="237522" y="163059"/>
                  </a:lnTo>
                  <a:lnTo>
                    <a:pt x="236484" y="163059"/>
                  </a:lnTo>
                  <a:lnTo>
                    <a:pt x="236484" y="163059"/>
                  </a:lnTo>
                  <a:lnTo>
                    <a:pt x="235133" y="163059"/>
                  </a:lnTo>
                  <a:lnTo>
                    <a:pt x="234510" y="163059"/>
                  </a:lnTo>
                  <a:lnTo>
                    <a:pt x="233991" y="163059"/>
                  </a:lnTo>
                  <a:lnTo>
                    <a:pt x="233368" y="163059"/>
                  </a:lnTo>
                  <a:lnTo>
                    <a:pt x="233368" y="163059"/>
                  </a:lnTo>
                  <a:lnTo>
                    <a:pt x="233368" y="163059"/>
                  </a:lnTo>
                  <a:lnTo>
                    <a:pt x="232849" y="163059"/>
                  </a:lnTo>
                  <a:lnTo>
                    <a:pt x="232329" y="163059"/>
                  </a:lnTo>
                  <a:lnTo>
                    <a:pt x="232329" y="163059"/>
                  </a:lnTo>
                  <a:lnTo>
                    <a:pt x="232329" y="163059"/>
                  </a:lnTo>
                  <a:lnTo>
                    <a:pt x="232329" y="163059"/>
                  </a:lnTo>
                  <a:lnTo>
                    <a:pt x="232329" y="163059"/>
                  </a:lnTo>
                  <a:lnTo>
                    <a:pt x="232329" y="163578"/>
                  </a:lnTo>
                  <a:lnTo>
                    <a:pt x="232329" y="163578"/>
                  </a:lnTo>
                  <a:lnTo>
                    <a:pt x="232329" y="164097"/>
                  </a:lnTo>
                  <a:lnTo>
                    <a:pt x="232329" y="164616"/>
                  </a:lnTo>
                  <a:lnTo>
                    <a:pt x="232329" y="165135"/>
                  </a:lnTo>
                  <a:lnTo>
                    <a:pt x="232329" y="165654"/>
                  </a:lnTo>
                  <a:lnTo>
                    <a:pt x="232329" y="165654"/>
                  </a:lnTo>
                  <a:cubicBezTo>
                    <a:pt x="232288" y="165862"/>
                    <a:pt x="232288" y="166070"/>
                    <a:pt x="232329" y="166277"/>
                  </a:cubicBezTo>
                  <a:lnTo>
                    <a:pt x="232329" y="166277"/>
                  </a:lnTo>
                  <a:cubicBezTo>
                    <a:pt x="230678" y="171425"/>
                    <a:pt x="228601" y="176428"/>
                    <a:pt x="226098" y="181223"/>
                  </a:cubicBezTo>
                  <a:lnTo>
                    <a:pt x="226098" y="181223"/>
                  </a:lnTo>
                  <a:lnTo>
                    <a:pt x="226098" y="181950"/>
                  </a:lnTo>
                  <a:lnTo>
                    <a:pt x="226098" y="181950"/>
                  </a:lnTo>
                  <a:cubicBezTo>
                    <a:pt x="226056" y="182157"/>
                    <a:pt x="226056" y="182365"/>
                    <a:pt x="226098" y="182573"/>
                  </a:cubicBezTo>
                  <a:cubicBezTo>
                    <a:pt x="226098" y="182573"/>
                    <a:pt x="226098" y="182573"/>
                    <a:pt x="226098" y="183195"/>
                  </a:cubicBezTo>
                  <a:lnTo>
                    <a:pt x="226098" y="183714"/>
                  </a:lnTo>
                  <a:cubicBezTo>
                    <a:pt x="226046" y="183922"/>
                    <a:pt x="226046" y="184129"/>
                    <a:pt x="226098" y="184337"/>
                  </a:cubicBezTo>
                  <a:lnTo>
                    <a:pt x="226098" y="184337"/>
                  </a:lnTo>
                  <a:cubicBezTo>
                    <a:pt x="226098" y="184337"/>
                    <a:pt x="226098" y="184337"/>
                    <a:pt x="226098" y="184960"/>
                  </a:cubicBezTo>
                  <a:lnTo>
                    <a:pt x="226098" y="186724"/>
                  </a:lnTo>
                  <a:cubicBezTo>
                    <a:pt x="226160" y="186890"/>
                    <a:pt x="226160" y="187077"/>
                    <a:pt x="226098" y="187243"/>
                  </a:cubicBezTo>
                  <a:cubicBezTo>
                    <a:pt x="226046" y="187451"/>
                    <a:pt x="226046" y="187658"/>
                    <a:pt x="226098" y="187866"/>
                  </a:cubicBezTo>
                  <a:lnTo>
                    <a:pt x="226098" y="194197"/>
                  </a:lnTo>
                  <a:cubicBezTo>
                    <a:pt x="226098" y="194197"/>
                    <a:pt x="226098" y="194197"/>
                    <a:pt x="226098" y="194820"/>
                  </a:cubicBezTo>
                  <a:lnTo>
                    <a:pt x="226098" y="194820"/>
                  </a:lnTo>
                  <a:cubicBezTo>
                    <a:pt x="226056" y="195028"/>
                    <a:pt x="226056" y="195235"/>
                    <a:pt x="226098" y="195443"/>
                  </a:cubicBezTo>
                  <a:lnTo>
                    <a:pt x="226098" y="195962"/>
                  </a:lnTo>
                  <a:cubicBezTo>
                    <a:pt x="226098" y="195962"/>
                    <a:pt x="226098" y="195962"/>
                    <a:pt x="226098" y="196481"/>
                  </a:cubicBezTo>
                  <a:lnTo>
                    <a:pt x="226098" y="197000"/>
                  </a:lnTo>
                  <a:lnTo>
                    <a:pt x="226098" y="197519"/>
                  </a:lnTo>
                  <a:lnTo>
                    <a:pt x="226098" y="198142"/>
                  </a:lnTo>
                  <a:lnTo>
                    <a:pt x="226098" y="198142"/>
                  </a:lnTo>
                  <a:lnTo>
                    <a:pt x="241573" y="218900"/>
                  </a:lnTo>
                  <a:lnTo>
                    <a:pt x="220801" y="239036"/>
                  </a:lnTo>
                  <a:lnTo>
                    <a:pt x="200030" y="223156"/>
                  </a:lnTo>
                  <a:lnTo>
                    <a:pt x="200030" y="223156"/>
                  </a:lnTo>
                  <a:lnTo>
                    <a:pt x="199406" y="223156"/>
                  </a:lnTo>
                  <a:lnTo>
                    <a:pt x="199406" y="223156"/>
                  </a:lnTo>
                  <a:lnTo>
                    <a:pt x="198887" y="223156"/>
                  </a:lnTo>
                  <a:lnTo>
                    <a:pt x="198264" y="223156"/>
                  </a:lnTo>
                  <a:lnTo>
                    <a:pt x="198264" y="223156"/>
                  </a:lnTo>
                  <a:lnTo>
                    <a:pt x="197537" y="223156"/>
                  </a:lnTo>
                  <a:lnTo>
                    <a:pt x="197537" y="223156"/>
                  </a:lnTo>
                  <a:lnTo>
                    <a:pt x="196810" y="223156"/>
                  </a:lnTo>
                  <a:lnTo>
                    <a:pt x="191202" y="223156"/>
                  </a:lnTo>
                  <a:lnTo>
                    <a:pt x="190579" y="223156"/>
                  </a:lnTo>
                  <a:lnTo>
                    <a:pt x="189955" y="223156"/>
                  </a:lnTo>
                  <a:lnTo>
                    <a:pt x="189955" y="223156"/>
                  </a:lnTo>
                  <a:lnTo>
                    <a:pt x="189332" y="223156"/>
                  </a:lnTo>
                  <a:lnTo>
                    <a:pt x="189332" y="223156"/>
                  </a:lnTo>
                  <a:cubicBezTo>
                    <a:pt x="184513" y="225699"/>
                    <a:pt x="179476" y="227774"/>
                    <a:pt x="174273" y="229383"/>
                  </a:cubicBezTo>
                  <a:lnTo>
                    <a:pt x="174273" y="229383"/>
                  </a:lnTo>
                  <a:lnTo>
                    <a:pt x="173546" y="229383"/>
                  </a:lnTo>
                  <a:lnTo>
                    <a:pt x="173027" y="229383"/>
                  </a:lnTo>
                  <a:lnTo>
                    <a:pt x="172507" y="229383"/>
                  </a:lnTo>
                  <a:lnTo>
                    <a:pt x="172507" y="229383"/>
                  </a:lnTo>
                  <a:lnTo>
                    <a:pt x="171988" y="229383"/>
                  </a:lnTo>
                  <a:lnTo>
                    <a:pt x="171988" y="229383"/>
                  </a:lnTo>
                  <a:lnTo>
                    <a:pt x="171988" y="229383"/>
                  </a:lnTo>
                  <a:lnTo>
                    <a:pt x="171988" y="229383"/>
                  </a:lnTo>
                  <a:lnTo>
                    <a:pt x="171469" y="229902"/>
                  </a:lnTo>
                  <a:lnTo>
                    <a:pt x="171469" y="229902"/>
                  </a:lnTo>
                  <a:lnTo>
                    <a:pt x="171469" y="229902"/>
                  </a:lnTo>
                  <a:lnTo>
                    <a:pt x="171469" y="230421"/>
                  </a:lnTo>
                  <a:lnTo>
                    <a:pt x="171469" y="230421"/>
                  </a:lnTo>
                  <a:lnTo>
                    <a:pt x="171469" y="231044"/>
                  </a:lnTo>
                  <a:lnTo>
                    <a:pt x="171469" y="231044"/>
                  </a:lnTo>
                  <a:lnTo>
                    <a:pt x="171469" y="231667"/>
                  </a:lnTo>
                  <a:lnTo>
                    <a:pt x="171469" y="231667"/>
                  </a:lnTo>
                  <a:cubicBezTo>
                    <a:pt x="171510" y="231874"/>
                    <a:pt x="171510" y="232082"/>
                    <a:pt x="171469" y="232290"/>
                  </a:cubicBezTo>
                  <a:cubicBezTo>
                    <a:pt x="171469" y="232290"/>
                    <a:pt x="171469" y="232290"/>
                    <a:pt x="171469" y="232912"/>
                  </a:cubicBezTo>
                  <a:cubicBezTo>
                    <a:pt x="171469" y="233535"/>
                    <a:pt x="171469" y="232912"/>
                    <a:pt x="171469" y="233431"/>
                  </a:cubicBezTo>
                  <a:cubicBezTo>
                    <a:pt x="171469" y="233950"/>
                    <a:pt x="171469" y="233431"/>
                    <a:pt x="171469" y="234054"/>
                  </a:cubicBezTo>
                  <a:lnTo>
                    <a:pt x="171469" y="234054"/>
                  </a:lnTo>
                  <a:lnTo>
                    <a:pt x="167834" y="259483"/>
                  </a:lnTo>
                  <a:lnTo>
                    <a:pt x="139065" y="259483"/>
                  </a:lnTo>
                  <a:lnTo>
                    <a:pt x="135949" y="233847"/>
                  </a:lnTo>
                  <a:lnTo>
                    <a:pt x="135949" y="233847"/>
                  </a:lnTo>
                  <a:cubicBezTo>
                    <a:pt x="136001" y="233608"/>
                    <a:pt x="136001" y="233359"/>
                    <a:pt x="135949" y="233120"/>
                  </a:cubicBezTo>
                  <a:lnTo>
                    <a:pt x="135949" y="232601"/>
                  </a:lnTo>
                  <a:lnTo>
                    <a:pt x="135949" y="231978"/>
                  </a:lnTo>
                  <a:cubicBezTo>
                    <a:pt x="135991" y="231771"/>
                    <a:pt x="135991" y="231563"/>
                    <a:pt x="135949" y="231355"/>
                  </a:cubicBezTo>
                  <a:lnTo>
                    <a:pt x="135949" y="231355"/>
                  </a:lnTo>
                  <a:cubicBezTo>
                    <a:pt x="135991" y="231148"/>
                    <a:pt x="135991" y="230940"/>
                    <a:pt x="135949" y="230733"/>
                  </a:cubicBezTo>
                  <a:lnTo>
                    <a:pt x="135949" y="230733"/>
                  </a:lnTo>
                  <a:lnTo>
                    <a:pt x="135949" y="230110"/>
                  </a:lnTo>
                  <a:lnTo>
                    <a:pt x="135949" y="230110"/>
                  </a:lnTo>
                  <a:lnTo>
                    <a:pt x="135949" y="230110"/>
                  </a:lnTo>
                  <a:lnTo>
                    <a:pt x="135949" y="230110"/>
                  </a:lnTo>
                  <a:lnTo>
                    <a:pt x="135949" y="230110"/>
                  </a:lnTo>
                  <a:lnTo>
                    <a:pt x="135949" y="230110"/>
                  </a:lnTo>
                  <a:lnTo>
                    <a:pt x="135949" y="230110"/>
                  </a:lnTo>
                  <a:lnTo>
                    <a:pt x="135949" y="230110"/>
                  </a:lnTo>
                  <a:lnTo>
                    <a:pt x="135949" y="230110"/>
                  </a:lnTo>
                  <a:lnTo>
                    <a:pt x="135949" y="230110"/>
                  </a:lnTo>
                  <a:lnTo>
                    <a:pt x="135949" y="230110"/>
                  </a:lnTo>
                  <a:lnTo>
                    <a:pt x="135326" y="230110"/>
                  </a:lnTo>
                  <a:lnTo>
                    <a:pt x="135326" y="230110"/>
                  </a:lnTo>
                  <a:lnTo>
                    <a:pt x="134599" y="230110"/>
                  </a:lnTo>
                  <a:lnTo>
                    <a:pt x="134599" y="230110"/>
                  </a:lnTo>
                  <a:cubicBezTo>
                    <a:pt x="129469" y="228491"/>
                    <a:pt x="124494" y="226404"/>
                    <a:pt x="119748" y="223882"/>
                  </a:cubicBezTo>
                  <a:lnTo>
                    <a:pt x="119748" y="223882"/>
                  </a:lnTo>
                  <a:lnTo>
                    <a:pt x="119125" y="223882"/>
                  </a:lnTo>
                  <a:lnTo>
                    <a:pt x="118605" y="223882"/>
                  </a:lnTo>
                  <a:lnTo>
                    <a:pt x="117982" y="223882"/>
                  </a:lnTo>
                  <a:lnTo>
                    <a:pt x="117463" y="223882"/>
                  </a:lnTo>
                  <a:lnTo>
                    <a:pt x="111751" y="223882"/>
                  </a:lnTo>
                  <a:lnTo>
                    <a:pt x="111024" y="223882"/>
                  </a:lnTo>
                  <a:lnTo>
                    <a:pt x="111024" y="223882"/>
                  </a:lnTo>
                  <a:lnTo>
                    <a:pt x="110401" y="223882"/>
                  </a:lnTo>
                  <a:lnTo>
                    <a:pt x="110401" y="223882"/>
                  </a:lnTo>
                  <a:lnTo>
                    <a:pt x="109777" y="223882"/>
                  </a:lnTo>
                  <a:lnTo>
                    <a:pt x="109777" y="223882"/>
                  </a:lnTo>
                  <a:lnTo>
                    <a:pt x="109777" y="223882"/>
                  </a:lnTo>
                  <a:lnTo>
                    <a:pt x="109154" y="223882"/>
                  </a:lnTo>
                  <a:lnTo>
                    <a:pt x="109154" y="223882"/>
                  </a:lnTo>
                  <a:lnTo>
                    <a:pt x="88383" y="239348"/>
                  </a:lnTo>
                  <a:lnTo>
                    <a:pt x="68234" y="218589"/>
                  </a:lnTo>
                  <a:lnTo>
                    <a:pt x="84021" y="197830"/>
                  </a:lnTo>
                  <a:lnTo>
                    <a:pt x="84021" y="197830"/>
                  </a:lnTo>
                  <a:lnTo>
                    <a:pt x="84021" y="197207"/>
                  </a:lnTo>
                  <a:lnTo>
                    <a:pt x="84021" y="197207"/>
                  </a:lnTo>
                  <a:lnTo>
                    <a:pt x="84021" y="196688"/>
                  </a:lnTo>
                  <a:lnTo>
                    <a:pt x="84021" y="196066"/>
                  </a:lnTo>
                  <a:cubicBezTo>
                    <a:pt x="84021" y="196066"/>
                    <a:pt x="84021" y="196066"/>
                    <a:pt x="84021" y="196066"/>
                  </a:cubicBezTo>
                  <a:lnTo>
                    <a:pt x="84021" y="195443"/>
                  </a:lnTo>
                  <a:lnTo>
                    <a:pt x="84021" y="195443"/>
                  </a:lnTo>
                  <a:cubicBezTo>
                    <a:pt x="84062" y="195235"/>
                    <a:pt x="84062" y="195028"/>
                    <a:pt x="84021" y="194820"/>
                  </a:cubicBezTo>
                  <a:cubicBezTo>
                    <a:pt x="84073" y="194654"/>
                    <a:pt x="84073" y="194467"/>
                    <a:pt x="84021" y="194301"/>
                  </a:cubicBezTo>
                  <a:cubicBezTo>
                    <a:pt x="84073" y="194094"/>
                    <a:pt x="84073" y="193886"/>
                    <a:pt x="84021" y="193679"/>
                  </a:cubicBezTo>
                  <a:lnTo>
                    <a:pt x="84021" y="190668"/>
                  </a:lnTo>
                  <a:cubicBezTo>
                    <a:pt x="84021" y="190668"/>
                    <a:pt x="84021" y="190668"/>
                    <a:pt x="84021" y="190668"/>
                  </a:cubicBezTo>
                  <a:cubicBezTo>
                    <a:pt x="84021" y="190668"/>
                    <a:pt x="84021" y="190668"/>
                    <a:pt x="84021" y="189942"/>
                  </a:cubicBezTo>
                  <a:lnTo>
                    <a:pt x="84021" y="189942"/>
                  </a:lnTo>
                  <a:lnTo>
                    <a:pt x="84021" y="189319"/>
                  </a:lnTo>
                  <a:cubicBezTo>
                    <a:pt x="84062" y="189112"/>
                    <a:pt x="84062" y="188904"/>
                    <a:pt x="84021" y="188696"/>
                  </a:cubicBezTo>
                  <a:lnTo>
                    <a:pt x="84021" y="188178"/>
                  </a:lnTo>
                  <a:cubicBezTo>
                    <a:pt x="84062" y="187970"/>
                    <a:pt x="84062" y="187762"/>
                    <a:pt x="84021" y="187554"/>
                  </a:cubicBezTo>
                  <a:lnTo>
                    <a:pt x="84021" y="187554"/>
                  </a:lnTo>
                  <a:cubicBezTo>
                    <a:pt x="81653" y="182728"/>
                    <a:pt x="79638" y="177736"/>
                    <a:pt x="77997" y="172609"/>
                  </a:cubicBezTo>
                  <a:lnTo>
                    <a:pt x="77997" y="172609"/>
                  </a:lnTo>
                  <a:cubicBezTo>
                    <a:pt x="78039" y="172370"/>
                    <a:pt x="78039" y="172120"/>
                    <a:pt x="77997" y="171882"/>
                  </a:cubicBezTo>
                  <a:cubicBezTo>
                    <a:pt x="77997" y="171882"/>
                    <a:pt x="77997" y="171882"/>
                    <a:pt x="77997" y="171363"/>
                  </a:cubicBezTo>
                  <a:lnTo>
                    <a:pt x="77997" y="171363"/>
                  </a:lnTo>
                  <a:lnTo>
                    <a:pt x="77997" y="170844"/>
                  </a:lnTo>
                  <a:lnTo>
                    <a:pt x="77997" y="170325"/>
                  </a:lnTo>
                  <a:lnTo>
                    <a:pt x="77997" y="169806"/>
                  </a:lnTo>
                  <a:lnTo>
                    <a:pt x="77997" y="169806"/>
                  </a:lnTo>
                  <a:lnTo>
                    <a:pt x="77997" y="169806"/>
                  </a:lnTo>
                  <a:lnTo>
                    <a:pt x="77997" y="169806"/>
                  </a:lnTo>
                  <a:lnTo>
                    <a:pt x="77997" y="169287"/>
                  </a:lnTo>
                  <a:lnTo>
                    <a:pt x="77997" y="169287"/>
                  </a:lnTo>
                  <a:lnTo>
                    <a:pt x="77997" y="169287"/>
                  </a:lnTo>
                  <a:lnTo>
                    <a:pt x="77997" y="169287"/>
                  </a:lnTo>
                  <a:lnTo>
                    <a:pt x="77997" y="169287"/>
                  </a:lnTo>
                  <a:lnTo>
                    <a:pt x="77374" y="169287"/>
                  </a:lnTo>
                  <a:lnTo>
                    <a:pt x="77374" y="169287"/>
                  </a:lnTo>
                  <a:lnTo>
                    <a:pt x="76751" y="169287"/>
                  </a:lnTo>
                  <a:lnTo>
                    <a:pt x="76751" y="169287"/>
                  </a:lnTo>
                  <a:lnTo>
                    <a:pt x="76128" y="169287"/>
                  </a:lnTo>
                  <a:lnTo>
                    <a:pt x="75504" y="169287"/>
                  </a:lnTo>
                  <a:lnTo>
                    <a:pt x="74985" y="169287"/>
                  </a:lnTo>
                  <a:lnTo>
                    <a:pt x="74258" y="169287"/>
                  </a:lnTo>
                  <a:lnTo>
                    <a:pt x="74258" y="169287"/>
                  </a:lnTo>
                  <a:lnTo>
                    <a:pt x="48709" y="165758"/>
                  </a:lnTo>
                  <a:lnTo>
                    <a:pt x="48709" y="136904"/>
                  </a:lnTo>
                  <a:lnTo>
                    <a:pt x="74466" y="133686"/>
                  </a:lnTo>
                  <a:lnTo>
                    <a:pt x="74466" y="133686"/>
                  </a:lnTo>
                  <a:lnTo>
                    <a:pt x="75401" y="133686"/>
                  </a:lnTo>
                  <a:lnTo>
                    <a:pt x="75401" y="133686"/>
                  </a:lnTo>
                  <a:lnTo>
                    <a:pt x="76439" y="133686"/>
                  </a:lnTo>
                  <a:lnTo>
                    <a:pt x="76439" y="133686"/>
                  </a:lnTo>
                  <a:lnTo>
                    <a:pt x="77062" y="133686"/>
                  </a:lnTo>
                  <a:lnTo>
                    <a:pt x="77062" y="133686"/>
                  </a:lnTo>
                  <a:lnTo>
                    <a:pt x="77062" y="133686"/>
                  </a:lnTo>
                  <a:lnTo>
                    <a:pt x="77062" y="133686"/>
                  </a:lnTo>
                  <a:lnTo>
                    <a:pt x="77685" y="133686"/>
                  </a:lnTo>
                  <a:lnTo>
                    <a:pt x="77685" y="133686"/>
                  </a:lnTo>
                  <a:lnTo>
                    <a:pt x="78516" y="133063"/>
                  </a:lnTo>
                  <a:lnTo>
                    <a:pt x="78516" y="133063"/>
                  </a:lnTo>
                  <a:lnTo>
                    <a:pt x="79139" y="132440"/>
                  </a:lnTo>
                  <a:lnTo>
                    <a:pt x="79139" y="132440"/>
                  </a:lnTo>
                  <a:lnTo>
                    <a:pt x="79139" y="131818"/>
                  </a:lnTo>
                  <a:lnTo>
                    <a:pt x="79139" y="131818"/>
                  </a:lnTo>
                  <a:lnTo>
                    <a:pt x="79139" y="131091"/>
                  </a:lnTo>
                  <a:lnTo>
                    <a:pt x="79139" y="131091"/>
                  </a:lnTo>
                  <a:cubicBezTo>
                    <a:pt x="79191" y="130748"/>
                    <a:pt x="79191" y="130396"/>
                    <a:pt x="79139" y="130053"/>
                  </a:cubicBezTo>
                  <a:lnTo>
                    <a:pt x="79139" y="130053"/>
                  </a:lnTo>
                  <a:lnTo>
                    <a:pt x="79139" y="129119"/>
                  </a:lnTo>
                  <a:lnTo>
                    <a:pt x="79139" y="129119"/>
                  </a:lnTo>
                  <a:lnTo>
                    <a:pt x="79139" y="129119"/>
                  </a:lnTo>
                  <a:cubicBezTo>
                    <a:pt x="80791" y="123971"/>
                    <a:pt x="82868" y="118968"/>
                    <a:pt x="85371" y="114173"/>
                  </a:cubicBezTo>
                  <a:lnTo>
                    <a:pt x="85371" y="114173"/>
                  </a:lnTo>
                  <a:lnTo>
                    <a:pt x="85371" y="113446"/>
                  </a:lnTo>
                  <a:cubicBezTo>
                    <a:pt x="85412" y="113239"/>
                    <a:pt x="85412" y="113031"/>
                    <a:pt x="85371" y="112824"/>
                  </a:cubicBezTo>
                  <a:lnTo>
                    <a:pt x="85371" y="111267"/>
                  </a:lnTo>
                  <a:cubicBezTo>
                    <a:pt x="85423" y="111059"/>
                    <a:pt x="85423" y="110851"/>
                    <a:pt x="85371" y="110644"/>
                  </a:cubicBezTo>
                  <a:lnTo>
                    <a:pt x="85371" y="110125"/>
                  </a:lnTo>
                  <a:cubicBezTo>
                    <a:pt x="85371" y="110125"/>
                    <a:pt x="85371" y="110125"/>
                    <a:pt x="85371" y="109502"/>
                  </a:cubicBezTo>
                  <a:lnTo>
                    <a:pt x="85371" y="107738"/>
                  </a:lnTo>
                  <a:cubicBezTo>
                    <a:pt x="85371" y="107738"/>
                    <a:pt x="85371" y="107738"/>
                    <a:pt x="85371" y="107219"/>
                  </a:cubicBezTo>
                  <a:cubicBezTo>
                    <a:pt x="85423" y="107011"/>
                    <a:pt x="85423" y="106803"/>
                    <a:pt x="85371" y="106596"/>
                  </a:cubicBezTo>
                  <a:lnTo>
                    <a:pt x="85371" y="106077"/>
                  </a:lnTo>
                  <a:cubicBezTo>
                    <a:pt x="85371" y="106077"/>
                    <a:pt x="85371" y="106077"/>
                    <a:pt x="85371" y="105454"/>
                  </a:cubicBezTo>
                  <a:lnTo>
                    <a:pt x="85371" y="104935"/>
                  </a:lnTo>
                  <a:cubicBezTo>
                    <a:pt x="85412" y="104728"/>
                    <a:pt x="85412" y="104520"/>
                    <a:pt x="85371" y="104312"/>
                  </a:cubicBezTo>
                  <a:cubicBezTo>
                    <a:pt x="85371" y="104312"/>
                    <a:pt x="85371" y="104312"/>
                    <a:pt x="85371" y="104312"/>
                  </a:cubicBezTo>
                  <a:lnTo>
                    <a:pt x="85371" y="103794"/>
                  </a:lnTo>
                  <a:lnTo>
                    <a:pt x="85371" y="103274"/>
                  </a:lnTo>
                  <a:lnTo>
                    <a:pt x="85371" y="102756"/>
                  </a:lnTo>
                  <a:lnTo>
                    <a:pt x="85371" y="102133"/>
                  </a:lnTo>
                  <a:lnTo>
                    <a:pt x="85371" y="102133"/>
                  </a:lnTo>
                  <a:lnTo>
                    <a:pt x="69896" y="81374"/>
                  </a:lnTo>
                  <a:lnTo>
                    <a:pt x="90668" y="61134"/>
                  </a:lnTo>
                  <a:lnTo>
                    <a:pt x="110608" y="76911"/>
                  </a:lnTo>
                  <a:lnTo>
                    <a:pt x="111543" y="77534"/>
                  </a:lnTo>
                  <a:lnTo>
                    <a:pt x="111543" y="77534"/>
                  </a:lnTo>
                  <a:lnTo>
                    <a:pt x="112062" y="77534"/>
                  </a:lnTo>
                  <a:lnTo>
                    <a:pt x="112062" y="77534"/>
                  </a:lnTo>
                  <a:lnTo>
                    <a:pt x="112062" y="77534"/>
                  </a:lnTo>
                  <a:lnTo>
                    <a:pt x="112062" y="77534"/>
                  </a:lnTo>
                  <a:lnTo>
                    <a:pt x="112789" y="77534"/>
                  </a:lnTo>
                  <a:lnTo>
                    <a:pt x="112789" y="77534"/>
                  </a:lnTo>
                  <a:lnTo>
                    <a:pt x="116320" y="77534"/>
                  </a:lnTo>
                  <a:cubicBezTo>
                    <a:pt x="117182" y="77637"/>
                    <a:pt x="118055" y="77637"/>
                    <a:pt x="118917" y="77534"/>
                  </a:cubicBezTo>
                  <a:lnTo>
                    <a:pt x="118917" y="77534"/>
                  </a:lnTo>
                  <a:lnTo>
                    <a:pt x="120163" y="77534"/>
                  </a:lnTo>
                  <a:lnTo>
                    <a:pt x="120163" y="77534"/>
                  </a:lnTo>
                  <a:lnTo>
                    <a:pt x="121202" y="77534"/>
                  </a:lnTo>
                  <a:lnTo>
                    <a:pt x="121202" y="77534"/>
                  </a:lnTo>
                  <a:cubicBezTo>
                    <a:pt x="126093" y="75022"/>
                    <a:pt x="131203" y="72977"/>
                    <a:pt x="136469" y="71410"/>
                  </a:cubicBezTo>
                  <a:lnTo>
                    <a:pt x="136469" y="71410"/>
                  </a:lnTo>
                  <a:lnTo>
                    <a:pt x="137300" y="71410"/>
                  </a:lnTo>
                  <a:lnTo>
                    <a:pt x="137300" y="71410"/>
                  </a:lnTo>
                  <a:lnTo>
                    <a:pt x="137923" y="71410"/>
                  </a:lnTo>
                  <a:lnTo>
                    <a:pt x="137923" y="71410"/>
                  </a:lnTo>
                  <a:lnTo>
                    <a:pt x="137923" y="71410"/>
                  </a:lnTo>
                  <a:lnTo>
                    <a:pt x="137923" y="71410"/>
                  </a:lnTo>
                  <a:lnTo>
                    <a:pt x="137923" y="71410"/>
                  </a:lnTo>
                  <a:lnTo>
                    <a:pt x="138442" y="71410"/>
                  </a:lnTo>
                  <a:lnTo>
                    <a:pt x="138442" y="71410"/>
                  </a:lnTo>
                  <a:lnTo>
                    <a:pt x="138442" y="71410"/>
                  </a:lnTo>
                  <a:lnTo>
                    <a:pt x="138442" y="70891"/>
                  </a:lnTo>
                  <a:lnTo>
                    <a:pt x="138442" y="70891"/>
                  </a:lnTo>
                  <a:lnTo>
                    <a:pt x="139688" y="68919"/>
                  </a:lnTo>
                  <a:lnTo>
                    <a:pt x="139688" y="68919"/>
                  </a:lnTo>
                  <a:cubicBezTo>
                    <a:pt x="139668" y="68639"/>
                    <a:pt x="139668" y="68369"/>
                    <a:pt x="139688" y="68089"/>
                  </a:cubicBezTo>
                  <a:lnTo>
                    <a:pt x="139688" y="68089"/>
                  </a:lnTo>
                  <a:cubicBezTo>
                    <a:pt x="139678" y="67850"/>
                    <a:pt x="139678" y="67601"/>
                    <a:pt x="139688" y="67362"/>
                  </a:cubicBezTo>
                  <a:cubicBezTo>
                    <a:pt x="139688" y="67362"/>
                    <a:pt x="139688" y="67362"/>
                    <a:pt x="139688" y="66843"/>
                  </a:cubicBezTo>
                  <a:cubicBezTo>
                    <a:pt x="139688" y="66324"/>
                    <a:pt x="139688" y="66843"/>
                    <a:pt x="139688" y="66220"/>
                  </a:cubicBezTo>
                  <a:cubicBezTo>
                    <a:pt x="139688" y="65597"/>
                    <a:pt x="139688" y="66220"/>
                    <a:pt x="139688" y="65597"/>
                  </a:cubicBezTo>
                  <a:lnTo>
                    <a:pt x="139688" y="65597"/>
                  </a:lnTo>
                  <a:lnTo>
                    <a:pt x="143116" y="40272"/>
                  </a:lnTo>
                  <a:lnTo>
                    <a:pt x="172092" y="40272"/>
                  </a:lnTo>
                  <a:lnTo>
                    <a:pt x="175208" y="66013"/>
                  </a:lnTo>
                  <a:lnTo>
                    <a:pt x="175208" y="66013"/>
                  </a:lnTo>
                  <a:cubicBezTo>
                    <a:pt x="175156" y="66220"/>
                    <a:pt x="175156" y="66428"/>
                    <a:pt x="175208" y="66635"/>
                  </a:cubicBezTo>
                  <a:cubicBezTo>
                    <a:pt x="175208" y="66635"/>
                    <a:pt x="175208" y="66635"/>
                    <a:pt x="175208" y="67258"/>
                  </a:cubicBezTo>
                  <a:cubicBezTo>
                    <a:pt x="175208" y="67881"/>
                    <a:pt x="175208" y="67258"/>
                    <a:pt x="175208" y="67777"/>
                  </a:cubicBezTo>
                  <a:cubicBezTo>
                    <a:pt x="175166" y="67985"/>
                    <a:pt x="175166" y="68192"/>
                    <a:pt x="175208" y="68400"/>
                  </a:cubicBezTo>
                  <a:lnTo>
                    <a:pt x="175208" y="68400"/>
                  </a:lnTo>
                  <a:lnTo>
                    <a:pt x="175208" y="69127"/>
                  </a:lnTo>
                  <a:lnTo>
                    <a:pt x="175208" y="69127"/>
                  </a:lnTo>
                  <a:cubicBezTo>
                    <a:pt x="175177" y="69365"/>
                    <a:pt x="175177" y="69614"/>
                    <a:pt x="175208" y="69853"/>
                  </a:cubicBezTo>
                  <a:lnTo>
                    <a:pt x="175208" y="69853"/>
                  </a:lnTo>
                  <a:lnTo>
                    <a:pt x="175831" y="70683"/>
                  </a:lnTo>
                  <a:lnTo>
                    <a:pt x="175831" y="70683"/>
                  </a:lnTo>
                  <a:cubicBezTo>
                    <a:pt x="176018" y="71005"/>
                    <a:pt x="176267" y="71285"/>
                    <a:pt x="176558" y="71514"/>
                  </a:cubicBezTo>
                  <a:lnTo>
                    <a:pt x="176558" y="71514"/>
                  </a:lnTo>
                  <a:lnTo>
                    <a:pt x="176558" y="71514"/>
                  </a:lnTo>
                  <a:lnTo>
                    <a:pt x="176558" y="71514"/>
                  </a:lnTo>
                  <a:lnTo>
                    <a:pt x="176558" y="71514"/>
                  </a:lnTo>
                  <a:lnTo>
                    <a:pt x="177077" y="71514"/>
                  </a:lnTo>
                  <a:lnTo>
                    <a:pt x="177077" y="71514"/>
                  </a:lnTo>
                  <a:lnTo>
                    <a:pt x="177596" y="71514"/>
                  </a:lnTo>
                  <a:lnTo>
                    <a:pt x="178220" y="71514"/>
                  </a:lnTo>
                  <a:lnTo>
                    <a:pt x="178220" y="71514"/>
                  </a:lnTo>
                  <a:lnTo>
                    <a:pt x="179050" y="71514"/>
                  </a:lnTo>
                  <a:lnTo>
                    <a:pt x="179050" y="71514"/>
                  </a:lnTo>
                  <a:cubicBezTo>
                    <a:pt x="184181" y="73133"/>
                    <a:pt x="189156" y="75219"/>
                    <a:pt x="193902" y="77741"/>
                  </a:cubicBezTo>
                  <a:lnTo>
                    <a:pt x="193902" y="77741"/>
                  </a:lnTo>
                  <a:lnTo>
                    <a:pt x="195044" y="77741"/>
                  </a:lnTo>
                  <a:lnTo>
                    <a:pt x="195044" y="77741"/>
                  </a:lnTo>
                  <a:lnTo>
                    <a:pt x="196291" y="77741"/>
                  </a:lnTo>
                  <a:lnTo>
                    <a:pt x="196291" y="77741"/>
                  </a:lnTo>
                  <a:cubicBezTo>
                    <a:pt x="197153" y="77845"/>
                    <a:pt x="198025" y="77845"/>
                    <a:pt x="198887" y="77741"/>
                  </a:cubicBezTo>
                  <a:lnTo>
                    <a:pt x="202314" y="77741"/>
                  </a:lnTo>
                  <a:lnTo>
                    <a:pt x="202834" y="77741"/>
                  </a:lnTo>
                  <a:lnTo>
                    <a:pt x="202834" y="77741"/>
                  </a:lnTo>
                  <a:lnTo>
                    <a:pt x="203457" y="77741"/>
                  </a:lnTo>
                  <a:lnTo>
                    <a:pt x="203457" y="77741"/>
                  </a:lnTo>
                  <a:lnTo>
                    <a:pt x="203457" y="77741"/>
                  </a:lnTo>
                  <a:lnTo>
                    <a:pt x="203976" y="77741"/>
                  </a:lnTo>
                  <a:lnTo>
                    <a:pt x="203976" y="77741"/>
                  </a:lnTo>
                  <a:lnTo>
                    <a:pt x="204599" y="77741"/>
                  </a:lnTo>
                  <a:lnTo>
                    <a:pt x="204599" y="77741"/>
                  </a:lnTo>
                  <a:lnTo>
                    <a:pt x="225371" y="62276"/>
                  </a:lnTo>
                  <a:lnTo>
                    <a:pt x="246142" y="83035"/>
                  </a:lnTo>
                  <a:lnTo>
                    <a:pt x="230252" y="103794"/>
                  </a:lnTo>
                  <a:lnTo>
                    <a:pt x="230252" y="103794"/>
                  </a:lnTo>
                  <a:lnTo>
                    <a:pt x="230252" y="104416"/>
                  </a:lnTo>
                  <a:lnTo>
                    <a:pt x="230252" y="104935"/>
                  </a:lnTo>
                  <a:lnTo>
                    <a:pt x="230252" y="105454"/>
                  </a:lnTo>
                  <a:lnTo>
                    <a:pt x="230252" y="105454"/>
                  </a:lnTo>
                  <a:cubicBezTo>
                    <a:pt x="230252" y="105454"/>
                    <a:pt x="230252" y="105454"/>
                    <a:pt x="230252" y="105973"/>
                  </a:cubicBezTo>
                  <a:cubicBezTo>
                    <a:pt x="230294" y="106181"/>
                    <a:pt x="230294" y="106388"/>
                    <a:pt x="230252" y="106596"/>
                  </a:cubicBezTo>
                  <a:cubicBezTo>
                    <a:pt x="230252" y="106596"/>
                    <a:pt x="230252" y="106596"/>
                    <a:pt x="230252" y="107115"/>
                  </a:cubicBezTo>
                  <a:cubicBezTo>
                    <a:pt x="230211" y="107322"/>
                    <a:pt x="230211" y="107530"/>
                    <a:pt x="230252" y="107738"/>
                  </a:cubicBezTo>
                  <a:lnTo>
                    <a:pt x="230252" y="108257"/>
                  </a:lnTo>
                  <a:cubicBezTo>
                    <a:pt x="230252" y="108257"/>
                    <a:pt x="230252" y="108257"/>
                    <a:pt x="230252" y="108879"/>
                  </a:cubicBezTo>
                  <a:cubicBezTo>
                    <a:pt x="230242" y="109056"/>
                    <a:pt x="230242" y="109222"/>
                    <a:pt x="230252" y="109398"/>
                  </a:cubicBezTo>
                  <a:lnTo>
                    <a:pt x="230252" y="111786"/>
                  </a:lnTo>
                  <a:cubicBezTo>
                    <a:pt x="230304" y="111951"/>
                    <a:pt x="230304" y="112138"/>
                    <a:pt x="230252" y="112304"/>
                  </a:cubicBezTo>
                  <a:cubicBezTo>
                    <a:pt x="230252" y="112304"/>
                    <a:pt x="230252" y="112304"/>
                    <a:pt x="230252" y="112927"/>
                  </a:cubicBezTo>
                  <a:cubicBezTo>
                    <a:pt x="230252" y="113550"/>
                    <a:pt x="230252" y="112927"/>
                    <a:pt x="230252" y="113446"/>
                  </a:cubicBezTo>
                  <a:cubicBezTo>
                    <a:pt x="230252" y="113965"/>
                    <a:pt x="230252" y="113446"/>
                    <a:pt x="230252" y="114069"/>
                  </a:cubicBezTo>
                  <a:cubicBezTo>
                    <a:pt x="230211" y="114276"/>
                    <a:pt x="230211" y="114484"/>
                    <a:pt x="230252" y="114692"/>
                  </a:cubicBezTo>
                  <a:lnTo>
                    <a:pt x="230252" y="114692"/>
                  </a:lnTo>
                  <a:cubicBezTo>
                    <a:pt x="230200" y="114931"/>
                    <a:pt x="230200" y="115180"/>
                    <a:pt x="230252" y="115418"/>
                  </a:cubicBezTo>
                  <a:lnTo>
                    <a:pt x="230252" y="115418"/>
                  </a:lnTo>
                  <a:cubicBezTo>
                    <a:pt x="232745" y="120214"/>
                    <a:pt x="234832" y="125216"/>
                    <a:pt x="236484" y="130365"/>
                  </a:cubicBezTo>
                  <a:cubicBezTo>
                    <a:pt x="236484" y="130365"/>
                    <a:pt x="236484" y="130365"/>
                    <a:pt x="236484" y="130365"/>
                  </a:cubicBezTo>
                  <a:lnTo>
                    <a:pt x="236484" y="130365"/>
                  </a:lnTo>
                  <a:cubicBezTo>
                    <a:pt x="236712" y="131060"/>
                    <a:pt x="237024" y="131724"/>
                    <a:pt x="237418" y="132337"/>
                  </a:cubicBezTo>
                  <a:lnTo>
                    <a:pt x="237418" y="132337"/>
                  </a:lnTo>
                  <a:lnTo>
                    <a:pt x="237938" y="133063"/>
                  </a:lnTo>
                  <a:lnTo>
                    <a:pt x="237938" y="133063"/>
                  </a:lnTo>
                  <a:lnTo>
                    <a:pt x="238561" y="133790"/>
                  </a:lnTo>
                  <a:lnTo>
                    <a:pt x="238561" y="133790"/>
                  </a:lnTo>
                  <a:lnTo>
                    <a:pt x="238561" y="133790"/>
                  </a:lnTo>
                  <a:lnTo>
                    <a:pt x="238561" y="133790"/>
                  </a:lnTo>
                  <a:lnTo>
                    <a:pt x="239392" y="134412"/>
                  </a:lnTo>
                  <a:lnTo>
                    <a:pt x="239392" y="134412"/>
                  </a:lnTo>
                  <a:cubicBezTo>
                    <a:pt x="239589" y="134641"/>
                    <a:pt x="239838" y="134817"/>
                    <a:pt x="240119" y="134932"/>
                  </a:cubicBezTo>
                  <a:lnTo>
                    <a:pt x="240119" y="134932"/>
                  </a:lnTo>
                  <a:lnTo>
                    <a:pt x="240119" y="134932"/>
                  </a:lnTo>
                  <a:lnTo>
                    <a:pt x="240119" y="134932"/>
                  </a:lnTo>
                  <a:lnTo>
                    <a:pt x="240742" y="134932"/>
                  </a:lnTo>
                  <a:lnTo>
                    <a:pt x="240742" y="134932"/>
                  </a:lnTo>
                  <a:lnTo>
                    <a:pt x="242923" y="135450"/>
                  </a:lnTo>
                  <a:lnTo>
                    <a:pt x="242923" y="135450"/>
                  </a:lnTo>
                  <a:lnTo>
                    <a:pt x="268264" y="138876"/>
                  </a:lnTo>
                  <a:close/>
                </a:path>
              </a:pathLst>
            </a:custGeom>
            <a:solidFill>
              <a:srgbClr val="221F1F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0" name="Freeform 499">
              <a:extLst>
                <a:ext uri="{FF2B5EF4-FFF2-40B4-BE49-F238E27FC236}">
                  <a16:creationId xmlns:a16="http://schemas.microsoft.com/office/drawing/2014/main" id="{93B65650-6B35-194A-ADD6-85219A4DA9C2}"/>
                </a:ext>
              </a:extLst>
            </p:cNvPr>
            <p:cNvSpPr/>
            <p:nvPr/>
          </p:nvSpPr>
          <p:spPr>
            <a:xfrm>
              <a:off x="5460358" y="3864642"/>
              <a:ext cx="3011" cy="3010"/>
            </a:xfrm>
            <a:custGeom>
              <a:avLst/>
              <a:gdLst>
                <a:gd name="connsiteX0" fmla="*/ 0 w 3011"/>
                <a:gd name="connsiteY0" fmla="*/ 3010 h 3010"/>
                <a:gd name="connsiteX1" fmla="*/ 3012 w 3011"/>
                <a:gd name="connsiteY1" fmla="*/ 3010 h 3010"/>
                <a:gd name="connsiteX2" fmla="*/ 0 w 3011"/>
                <a:gd name="connsiteY2" fmla="*/ 0 h 3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11" h="3010">
                  <a:moveTo>
                    <a:pt x="0" y="3010"/>
                  </a:moveTo>
                  <a:lnTo>
                    <a:pt x="3012" y="3010"/>
                  </a:lnTo>
                  <a:cubicBezTo>
                    <a:pt x="1786" y="2252"/>
                    <a:pt x="758" y="1225"/>
                    <a:pt x="0" y="0"/>
                  </a:cubicBezTo>
                  <a:close/>
                </a:path>
              </a:pathLst>
            </a:custGeom>
            <a:noFill/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1" name="Freeform 500">
              <a:extLst>
                <a:ext uri="{FF2B5EF4-FFF2-40B4-BE49-F238E27FC236}">
                  <a16:creationId xmlns:a16="http://schemas.microsoft.com/office/drawing/2014/main" id="{32AD1498-E21D-8A48-8051-F85A20479531}"/>
                </a:ext>
              </a:extLst>
            </p:cNvPr>
            <p:cNvSpPr/>
            <p:nvPr/>
          </p:nvSpPr>
          <p:spPr>
            <a:xfrm>
              <a:off x="5478014" y="3927021"/>
              <a:ext cx="381987" cy="121957"/>
            </a:xfrm>
            <a:custGeom>
              <a:avLst/>
              <a:gdLst>
                <a:gd name="connsiteX0" fmla="*/ 208857 w 381987"/>
                <a:gd name="connsiteY0" fmla="*/ 38507 h 121957"/>
                <a:gd name="connsiteX1" fmla="*/ 173442 w 381987"/>
                <a:gd name="connsiteY1" fmla="*/ 3321 h 121957"/>
                <a:gd name="connsiteX2" fmla="*/ 173442 w 381987"/>
                <a:gd name="connsiteY2" fmla="*/ 3218 h 121957"/>
                <a:gd name="connsiteX3" fmla="*/ 173442 w 381987"/>
                <a:gd name="connsiteY3" fmla="*/ 0 h 121957"/>
                <a:gd name="connsiteX4" fmla="*/ 0 w 381987"/>
                <a:gd name="connsiteY4" fmla="*/ 0 h 121957"/>
                <a:gd name="connsiteX5" fmla="*/ 0 w 381987"/>
                <a:gd name="connsiteY5" fmla="*/ 121957 h 121957"/>
                <a:gd name="connsiteX6" fmla="*/ 381988 w 381987"/>
                <a:gd name="connsiteY6" fmla="*/ 121957 h 121957"/>
                <a:gd name="connsiteX7" fmla="*/ 362982 w 381987"/>
                <a:gd name="connsiteY7" fmla="*/ 38922 h 121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987" h="121957">
                  <a:moveTo>
                    <a:pt x="208857" y="38507"/>
                  </a:moveTo>
                  <a:cubicBezTo>
                    <a:pt x="189353" y="38570"/>
                    <a:pt x="173504" y="22814"/>
                    <a:pt x="173442" y="3321"/>
                  </a:cubicBezTo>
                  <a:cubicBezTo>
                    <a:pt x="173442" y="3290"/>
                    <a:pt x="173442" y="3249"/>
                    <a:pt x="173442" y="3218"/>
                  </a:cubicBezTo>
                  <a:lnTo>
                    <a:pt x="173442" y="0"/>
                  </a:lnTo>
                  <a:lnTo>
                    <a:pt x="0" y="0"/>
                  </a:lnTo>
                  <a:lnTo>
                    <a:pt x="0" y="121957"/>
                  </a:lnTo>
                  <a:lnTo>
                    <a:pt x="381988" y="121957"/>
                  </a:lnTo>
                  <a:cubicBezTo>
                    <a:pt x="373150" y="94908"/>
                    <a:pt x="366783" y="67123"/>
                    <a:pt x="362982" y="38922"/>
                  </a:cubicBezTo>
                  <a:close/>
                </a:path>
              </a:pathLst>
            </a:custGeom>
            <a:noFill/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2" name="Freeform 501">
              <a:extLst>
                <a:ext uri="{FF2B5EF4-FFF2-40B4-BE49-F238E27FC236}">
                  <a16:creationId xmlns:a16="http://schemas.microsoft.com/office/drawing/2014/main" id="{57250D15-CD26-1643-8699-289997FEB6D1}"/>
                </a:ext>
              </a:extLst>
            </p:cNvPr>
            <p:cNvSpPr/>
            <p:nvPr/>
          </p:nvSpPr>
          <p:spPr>
            <a:xfrm>
              <a:off x="5478014" y="3728465"/>
              <a:ext cx="571839" cy="121438"/>
            </a:xfrm>
            <a:custGeom>
              <a:avLst/>
              <a:gdLst>
                <a:gd name="connsiteX0" fmla="*/ 571839 w 571839"/>
                <a:gd name="connsiteY0" fmla="*/ 0 h 121438"/>
                <a:gd name="connsiteX1" fmla="*/ 398397 w 571839"/>
                <a:gd name="connsiteY1" fmla="*/ 0 h 121438"/>
                <a:gd name="connsiteX2" fmla="*/ 398397 w 571839"/>
                <a:gd name="connsiteY2" fmla="*/ 3218 h 121438"/>
                <a:gd name="connsiteX3" fmla="*/ 363086 w 571839"/>
                <a:gd name="connsiteY3" fmla="*/ 38507 h 121438"/>
                <a:gd name="connsiteX4" fmla="*/ 208857 w 571839"/>
                <a:gd name="connsiteY4" fmla="*/ 38507 h 121438"/>
                <a:gd name="connsiteX5" fmla="*/ 173442 w 571839"/>
                <a:gd name="connsiteY5" fmla="*/ 3321 h 121438"/>
                <a:gd name="connsiteX6" fmla="*/ 173442 w 571839"/>
                <a:gd name="connsiteY6" fmla="*/ 3218 h 121438"/>
                <a:gd name="connsiteX7" fmla="*/ 173442 w 571839"/>
                <a:gd name="connsiteY7" fmla="*/ 0 h 121438"/>
                <a:gd name="connsiteX8" fmla="*/ 0 w 571839"/>
                <a:gd name="connsiteY8" fmla="*/ 0 h 121438"/>
                <a:gd name="connsiteX9" fmla="*/ 0 w 571839"/>
                <a:gd name="connsiteY9" fmla="*/ 121438 h 121438"/>
                <a:gd name="connsiteX10" fmla="*/ 379911 w 571839"/>
                <a:gd name="connsiteY10" fmla="*/ 121438 h 121438"/>
                <a:gd name="connsiteX11" fmla="*/ 393932 w 571839"/>
                <a:gd name="connsiteY11" fmla="*/ 112097 h 121438"/>
                <a:gd name="connsiteX12" fmla="*/ 433709 w 571839"/>
                <a:gd name="connsiteY12" fmla="*/ 121438 h 121438"/>
                <a:gd name="connsiteX13" fmla="*/ 571839 w 571839"/>
                <a:gd name="connsiteY13" fmla="*/ 121438 h 121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1839" h="121438">
                  <a:moveTo>
                    <a:pt x="571839" y="0"/>
                  </a:moveTo>
                  <a:lnTo>
                    <a:pt x="398397" y="0"/>
                  </a:lnTo>
                  <a:lnTo>
                    <a:pt x="398397" y="3218"/>
                  </a:lnTo>
                  <a:cubicBezTo>
                    <a:pt x="398397" y="22710"/>
                    <a:pt x="382590" y="38507"/>
                    <a:pt x="363086" y="38507"/>
                  </a:cubicBezTo>
                  <a:lnTo>
                    <a:pt x="208857" y="38507"/>
                  </a:lnTo>
                  <a:cubicBezTo>
                    <a:pt x="189353" y="38570"/>
                    <a:pt x="173504" y="22814"/>
                    <a:pt x="173442" y="3321"/>
                  </a:cubicBezTo>
                  <a:cubicBezTo>
                    <a:pt x="173442" y="3290"/>
                    <a:pt x="173442" y="3249"/>
                    <a:pt x="173442" y="3218"/>
                  </a:cubicBezTo>
                  <a:lnTo>
                    <a:pt x="173442" y="0"/>
                  </a:lnTo>
                  <a:lnTo>
                    <a:pt x="0" y="0"/>
                  </a:lnTo>
                  <a:lnTo>
                    <a:pt x="0" y="121438"/>
                  </a:lnTo>
                  <a:lnTo>
                    <a:pt x="379911" y="121438"/>
                  </a:lnTo>
                  <a:cubicBezTo>
                    <a:pt x="383722" y="117193"/>
                    <a:pt x="388541" y="113975"/>
                    <a:pt x="393932" y="112097"/>
                  </a:cubicBezTo>
                  <a:cubicBezTo>
                    <a:pt x="407921" y="108848"/>
                    <a:pt x="422627" y="112304"/>
                    <a:pt x="433709" y="121438"/>
                  </a:cubicBezTo>
                  <a:lnTo>
                    <a:pt x="571839" y="121438"/>
                  </a:lnTo>
                  <a:close/>
                </a:path>
              </a:pathLst>
            </a:custGeom>
            <a:noFill/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3" name="Freeform 502">
              <a:extLst>
                <a:ext uri="{FF2B5EF4-FFF2-40B4-BE49-F238E27FC236}">
                  <a16:creationId xmlns:a16="http://schemas.microsoft.com/office/drawing/2014/main" id="{1BA2AE54-9D82-D44A-8905-9A35D3624B7A}"/>
                </a:ext>
              </a:extLst>
            </p:cNvPr>
            <p:cNvSpPr/>
            <p:nvPr/>
          </p:nvSpPr>
          <p:spPr>
            <a:xfrm>
              <a:off x="5666204" y="3710301"/>
              <a:ext cx="3011" cy="2906"/>
            </a:xfrm>
            <a:custGeom>
              <a:avLst/>
              <a:gdLst>
                <a:gd name="connsiteX0" fmla="*/ 3012 w 3011"/>
                <a:gd name="connsiteY0" fmla="*/ 0 h 2906"/>
                <a:gd name="connsiteX1" fmla="*/ 0 w 3011"/>
                <a:gd name="connsiteY1" fmla="*/ 0 h 2906"/>
                <a:gd name="connsiteX2" fmla="*/ 3012 w 3011"/>
                <a:gd name="connsiteY2" fmla="*/ 2906 h 2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11" h="2906">
                  <a:moveTo>
                    <a:pt x="3012" y="0"/>
                  </a:moveTo>
                  <a:lnTo>
                    <a:pt x="0" y="0"/>
                  </a:lnTo>
                  <a:cubicBezTo>
                    <a:pt x="1194" y="758"/>
                    <a:pt x="2212" y="1744"/>
                    <a:pt x="3012" y="2906"/>
                  </a:cubicBezTo>
                  <a:close/>
                </a:path>
              </a:pathLst>
            </a:custGeom>
            <a:noFill/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4" name="Freeform 503">
              <a:extLst>
                <a:ext uri="{FF2B5EF4-FFF2-40B4-BE49-F238E27FC236}">
                  <a16:creationId xmlns:a16="http://schemas.microsoft.com/office/drawing/2014/main" id="{5D525CD3-652C-D941-8FF9-DA6C603B9929}"/>
                </a:ext>
              </a:extLst>
            </p:cNvPr>
            <p:cNvSpPr/>
            <p:nvPr/>
          </p:nvSpPr>
          <p:spPr>
            <a:xfrm>
              <a:off x="6064186" y="3864642"/>
              <a:ext cx="2907" cy="3010"/>
            </a:xfrm>
            <a:custGeom>
              <a:avLst/>
              <a:gdLst>
                <a:gd name="connsiteX0" fmla="*/ 2908 w 2907"/>
                <a:gd name="connsiteY0" fmla="*/ 0 h 3010"/>
                <a:gd name="connsiteX1" fmla="*/ 0 w 2907"/>
                <a:gd name="connsiteY1" fmla="*/ 3010 h 3010"/>
                <a:gd name="connsiteX2" fmla="*/ 2908 w 2907"/>
                <a:gd name="connsiteY2" fmla="*/ 3010 h 3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907" h="3010">
                  <a:moveTo>
                    <a:pt x="2908" y="0"/>
                  </a:moveTo>
                  <a:cubicBezTo>
                    <a:pt x="2150" y="1194"/>
                    <a:pt x="1163" y="2211"/>
                    <a:pt x="0" y="3010"/>
                  </a:cubicBezTo>
                  <a:lnTo>
                    <a:pt x="2908" y="3010"/>
                  </a:lnTo>
                  <a:close/>
                </a:path>
              </a:pathLst>
            </a:custGeom>
            <a:noFill/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5" name="Freeform 504">
              <a:extLst>
                <a:ext uri="{FF2B5EF4-FFF2-40B4-BE49-F238E27FC236}">
                  <a16:creationId xmlns:a16="http://schemas.microsoft.com/office/drawing/2014/main" id="{6F539D18-991A-154A-8BD7-15562DE90746}"/>
                </a:ext>
              </a:extLst>
            </p:cNvPr>
            <p:cNvSpPr/>
            <p:nvPr/>
          </p:nvSpPr>
          <p:spPr>
            <a:xfrm>
              <a:off x="5858756" y="3710301"/>
              <a:ext cx="3011" cy="2906"/>
            </a:xfrm>
            <a:custGeom>
              <a:avLst/>
              <a:gdLst>
                <a:gd name="connsiteX0" fmla="*/ 0 w 3011"/>
                <a:gd name="connsiteY0" fmla="*/ 0 h 2906"/>
                <a:gd name="connsiteX1" fmla="*/ 0 w 3011"/>
                <a:gd name="connsiteY1" fmla="*/ 2906 h 2906"/>
                <a:gd name="connsiteX2" fmla="*/ 3012 w 3011"/>
                <a:gd name="connsiteY2" fmla="*/ 0 h 2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11" h="2906">
                  <a:moveTo>
                    <a:pt x="0" y="0"/>
                  </a:moveTo>
                  <a:lnTo>
                    <a:pt x="0" y="2906"/>
                  </a:lnTo>
                  <a:cubicBezTo>
                    <a:pt x="758" y="1713"/>
                    <a:pt x="1797" y="716"/>
                    <a:pt x="3012" y="0"/>
                  </a:cubicBezTo>
                  <a:close/>
                </a:path>
              </a:pathLst>
            </a:custGeom>
            <a:noFill/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6" name="Freeform 505">
              <a:extLst>
                <a:ext uri="{FF2B5EF4-FFF2-40B4-BE49-F238E27FC236}">
                  <a16:creationId xmlns:a16="http://schemas.microsoft.com/office/drawing/2014/main" id="{D8F954A2-7AD4-3B4D-AC99-13F03091D90C}"/>
                </a:ext>
              </a:extLst>
            </p:cNvPr>
            <p:cNvSpPr/>
            <p:nvPr/>
          </p:nvSpPr>
          <p:spPr>
            <a:xfrm>
              <a:off x="5974661" y="3927021"/>
              <a:ext cx="75192" cy="121957"/>
            </a:xfrm>
            <a:custGeom>
              <a:avLst/>
              <a:gdLst>
                <a:gd name="connsiteX0" fmla="*/ 46528 w 75192"/>
                <a:gd name="connsiteY0" fmla="*/ 121957 h 121957"/>
                <a:gd name="connsiteX1" fmla="*/ 75193 w 75192"/>
                <a:gd name="connsiteY1" fmla="*/ 121957 h 121957"/>
                <a:gd name="connsiteX2" fmla="*/ 75193 w 75192"/>
                <a:gd name="connsiteY2" fmla="*/ 0 h 121957"/>
                <a:gd name="connsiteX3" fmla="*/ 0 w 75192"/>
                <a:gd name="connsiteY3" fmla="*/ 0 h 121957"/>
                <a:gd name="connsiteX4" fmla="*/ 34065 w 75192"/>
                <a:gd name="connsiteY4" fmla="*/ 78364 h 121957"/>
                <a:gd name="connsiteX5" fmla="*/ 46528 w 75192"/>
                <a:gd name="connsiteY5" fmla="*/ 121957 h 121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5192" h="121957">
                  <a:moveTo>
                    <a:pt x="46528" y="121957"/>
                  </a:moveTo>
                  <a:lnTo>
                    <a:pt x="75193" y="121957"/>
                  </a:lnTo>
                  <a:lnTo>
                    <a:pt x="75193" y="0"/>
                  </a:lnTo>
                  <a:lnTo>
                    <a:pt x="0" y="0"/>
                  </a:lnTo>
                  <a:cubicBezTo>
                    <a:pt x="13688" y="25045"/>
                    <a:pt x="25082" y="51274"/>
                    <a:pt x="34065" y="78364"/>
                  </a:cubicBezTo>
                  <a:cubicBezTo>
                    <a:pt x="39050" y="93206"/>
                    <a:pt x="43101" y="107737"/>
                    <a:pt x="46528" y="121957"/>
                  </a:cubicBezTo>
                  <a:close/>
                </a:path>
              </a:pathLst>
            </a:custGeom>
            <a:noFill/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7" name="Freeform 506">
              <a:extLst>
                <a:ext uri="{FF2B5EF4-FFF2-40B4-BE49-F238E27FC236}">
                  <a16:creationId xmlns:a16="http://schemas.microsoft.com/office/drawing/2014/main" id="{3B3C479D-9BFC-F542-A130-90FB5721C956}"/>
                </a:ext>
              </a:extLst>
            </p:cNvPr>
            <p:cNvSpPr/>
            <p:nvPr/>
          </p:nvSpPr>
          <p:spPr>
            <a:xfrm>
              <a:off x="5451115" y="3477493"/>
              <a:ext cx="626053" cy="399709"/>
            </a:xfrm>
            <a:custGeom>
              <a:avLst/>
              <a:gdLst>
                <a:gd name="connsiteX0" fmla="*/ 26899 w 626053"/>
                <a:gd name="connsiteY0" fmla="*/ 372411 h 399709"/>
                <a:gd name="connsiteX1" fmla="*/ 26899 w 626053"/>
                <a:gd name="connsiteY1" fmla="*/ 250972 h 399709"/>
                <a:gd name="connsiteX2" fmla="*/ 200549 w 626053"/>
                <a:gd name="connsiteY2" fmla="*/ 250972 h 399709"/>
                <a:gd name="connsiteX3" fmla="*/ 200549 w 626053"/>
                <a:gd name="connsiteY3" fmla="*/ 254190 h 399709"/>
                <a:gd name="connsiteX4" fmla="*/ 235860 w 626053"/>
                <a:gd name="connsiteY4" fmla="*/ 289479 h 399709"/>
                <a:gd name="connsiteX5" fmla="*/ 235964 w 626053"/>
                <a:gd name="connsiteY5" fmla="*/ 289479 h 399709"/>
                <a:gd name="connsiteX6" fmla="*/ 390193 w 626053"/>
                <a:gd name="connsiteY6" fmla="*/ 289479 h 399709"/>
                <a:gd name="connsiteX7" fmla="*/ 425504 w 626053"/>
                <a:gd name="connsiteY7" fmla="*/ 254190 h 399709"/>
                <a:gd name="connsiteX8" fmla="*/ 425504 w 626053"/>
                <a:gd name="connsiteY8" fmla="*/ 250972 h 399709"/>
                <a:gd name="connsiteX9" fmla="*/ 598946 w 626053"/>
                <a:gd name="connsiteY9" fmla="*/ 250972 h 399709"/>
                <a:gd name="connsiteX10" fmla="*/ 598946 w 626053"/>
                <a:gd name="connsiteY10" fmla="*/ 372411 h 399709"/>
                <a:gd name="connsiteX11" fmla="*/ 472240 w 626053"/>
                <a:gd name="connsiteY11" fmla="*/ 372411 h 399709"/>
                <a:gd name="connsiteX12" fmla="*/ 490519 w 626053"/>
                <a:gd name="connsiteY12" fmla="*/ 399708 h 399709"/>
                <a:gd name="connsiteX13" fmla="*/ 621276 w 626053"/>
                <a:gd name="connsiteY13" fmla="*/ 399708 h 399709"/>
                <a:gd name="connsiteX14" fmla="*/ 626053 w 626053"/>
                <a:gd name="connsiteY14" fmla="*/ 395141 h 399709"/>
                <a:gd name="connsiteX15" fmla="*/ 626053 w 626053"/>
                <a:gd name="connsiteY15" fmla="*/ 394934 h 399709"/>
                <a:gd name="connsiteX16" fmla="*/ 626053 w 626053"/>
                <a:gd name="connsiteY16" fmla="*/ 227930 h 399709"/>
                <a:gd name="connsiteX17" fmla="*/ 621276 w 626053"/>
                <a:gd name="connsiteY17" fmla="*/ 223156 h 399709"/>
                <a:gd name="connsiteX18" fmla="*/ 616810 w 626053"/>
                <a:gd name="connsiteY18" fmla="*/ 223156 h 399709"/>
                <a:gd name="connsiteX19" fmla="*/ 501320 w 626053"/>
                <a:gd name="connsiteY19" fmla="*/ 5190 h 399709"/>
                <a:gd name="connsiteX20" fmla="*/ 492700 w 626053"/>
                <a:gd name="connsiteY20" fmla="*/ 104 h 399709"/>
                <a:gd name="connsiteX21" fmla="*/ 467047 w 626053"/>
                <a:gd name="connsiteY21" fmla="*/ 104 h 399709"/>
                <a:gd name="connsiteX22" fmla="*/ 457388 w 626053"/>
                <a:gd name="connsiteY22" fmla="*/ 9757 h 399709"/>
                <a:gd name="connsiteX23" fmla="*/ 467047 w 626053"/>
                <a:gd name="connsiteY23" fmla="*/ 19409 h 399709"/>
                <a:gd name="connsiteX24" fmla="*/ 486884 w 626053"/>
                <a:gd name="connsiteY24" fmla="*/ 19409 h 399709"/>
                <a:gd name="connsiteX25" fmla="*/ 595207 w 626053"/>
                <a:gd name="connsiteY25" fmla="*/ 223156 h 399709"/>
                <a:gd name="connsiteX26" fmla="*/ 403071 w 626053"/>
                <a:gd name="connsiteY26" fmla="*/ 223156 h 399709"/>
                <a:gd name="connsiteX27" fmla="*/ 398293 w 626053"/>
                <a:gd name="connsiteY27" fmla="*/ 227930 h 399709"/>
                <a:gd name="connsiteX28" fmla="*/ 398293 w 626053"/>
                <a:gd name="connsiteY28" fmla="*/ 253671 h 399709"/>
                <a:gd name="connsiteX29" fmla="*/ 395905 w 626053"/>
                <a:gd name="connsiteY29" fmla="*/ 259276 h 399709"/>
                <a:gd name="connsiteX30" fmla="*/ 390297 w 626053"/>
                <a:gd name="connsiteY30" fmla="*/ 261663 h 399709"/>
                <a:gd name="connsiteX31" fmla="*/ 235757 w 626053"/>
                <a:gd name="connsiteY31" fmla="*/ 261663 h 399709"/>
                <a:gd name="connsiteX32" fmla="*/ 230044 w 626053"/>
                <a:gd name="connsiteY32" fmla="*/ 259276 h 399709"/>
                <a:gd name="connsiteX33" fmla="*/ 227656 w 626053"/>
                <a:gd name="connsiteY33" fmla="*/ 253671 h 399709"/>
                <a:gd name="connsiteX34" fmla="*/ 227656 w 626053"/>
                <a:gd name="connsiteY34" fmla="*/ 227930 h 399709"/>
                <a:gd name="connsiteX35" fmla="*/ 222878 w 626053"/>
                <a:gd name="connsiteY35" fmla="*/ 223156 h 399709"/>
                <a:gd name="connsiteX36" fmla="*/ 30742 w 626053"/>
                <a:gd name="connsiteY36" fmla="*/ 223156 h 399709"/>
                <a:gd name="connsiteX37" fmla="*/ 138754 w 626053"/>
                <a:gd name="connsiteY37" fmla="*/ 19306 h 399709"/>
                <a:gd name="connsiteX38" fmla="*/ 159006 w 626053"/>
                <a:gd name="connsiteY38" fmla="*/ 19306 h 399709"/>
                <a:gd name="connsiteX39" fmla="*/ 168665 w 626053"/>
                <a:gd name="connsiteY39" fmla="*/ 9653 h 399709"/>
                <a:gd name="connsiteX40" fmla="*/ 159006 w 626053"/>
                <a:gd name="connsiteY40" fmla="*/ 0 h 399709"/>
                <a:gd name="connsiteX41" fmla="*/ 133353 w 626053"/>
                <a:gd name="connsiteY41" fmla="*/ 0 h 399709"/>
                <a:gd name="connsiteX42" fmla="*/ 124837 w 626053"/>
                <a:gd name="connsiteY42" fmla="*/ 5086 h 399709"/>
                <a:gd name="connsiteX43" fmla="*/ 9347 w 626053"/>
                <a:gd name="connsiteY43" fmla="*/ 223052 h 399709"/>
                <a:gd name="connsiteX44" fmla="*/ 4881 w 626053"/>
                <a:gd name="connsiteY44" fmla="*/ 223052 h 399709"/>
                <a:gd name="connsiteX45" fmla="*/ 0 w 626053"/>
                <a:gd name="connsiteY45" fmla="*/ 227826 h 399709"/>
                <a:gd name="connsiteX46" fmla="*/ 0 w 626053"/>
                <a:gd name="connsiteY46" fmla="*/ 394830 h 399709"/>
                <a:gd name="connsiteX47" fmla="*/ 4777 w 626053"/>
                <a:gd name="connsiteY47" fmla="*/ 399604 h 399709"/>
                <a:gd name="connsiteX48" fmla="*/ 4881 w 626053"/>
                <a:gd name="connsiteY48" fmla="*/ 399604 h 399709"/>
                <a:gd name="connsiteX49" fmla="*/ 389569 w 626053"/>
                <a:gd name="connsiteY49" fmla="*/ 399604 h 399709"/>
                <a:gd name="connsiteX50" fmla="*/ 406810 w 626053"/>
                <a:gd name="connsiteY50" fmla="*/ 372307 h 399709"/>
                <a:gd name="connsiteX51" fmla="*/ 615979 w 626053"/>
                <a:gd name="connsiteY51" fmla="*/ 387149 h 399709"/>
                <a:gd name="connsiteX52" fmla="*/ 615979 w 626053"/>
                <a:gd name="connsiteY52" fmla="*/ 390159 h 399709"/>
                <a:gd name="connsiteX53" fmla="*/ 613071 w 626053"/>
                <a:gd name="connsiteY53" fmla="*/ 390159 h 399709"/>
                <a:gd name="connsiteX54" fmla="*/ 615979 w 626053"/>
                <a:gd name="connsiteY54" fmla="*/ 387149 h 399709"/>
                <a:gd name="connsiteX55" fmla="*/ 407225 w 626053"/>
                <a:gd name="connsiteY55" fmla="*/ 232808 h 399709"/>
                <a:gd name="connsiteX56" fmla="*/ 410237 w 626053"/>
                <a:gd name="connsiteY56" fmla="*/ 232808 h 399709"/>
                <a:gd name="connsiteX57" fmla="*/ 407225 w 626053"/>
                <a:gd name="connsiteY57" fmla="*/ 235715 h 399709"/>
                <a:gd name="connsiteX58" fmla="*/ 217685 w 626053"/>
                <a:gd name="connsiteY58" fmla="*/ 232808 h 399709"/>
                <a:gd name="connsiteX59" fmla="*/ 217685 w 626053"/>
                <a:gd name="connsiteY59" fmla="*/ 235715 h 399709"/>
                <a:gd name="connsiteX60" fmla="*/ 214673 w 626053"/>
                <a:gd name="connsiteY60" fmla="*/ 232808 h 399709"/>
                <a:gd name="connsiteX61" fmla="*/ 8828 w 626053"/>
                <a:gd name="connsiteY61" fmla="*/ 390159 h 399709"/>
                <a:gd name="connsiteX62" fmla="*/ 8828 w 626053"/>
                <a:gd name="connsiteY62" fmla="*/ 387149 h 399709"/>
                <a:gd name="connsiteX63" fmla="*/ 11840 w 626053"/>
                <a:gd name="connsiteY63" fmla="*/ 390159 h 399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626053" h="399709">
                  <a:moveTo>
                    <a:pt x="26899" y="372411"/>
                  </a:moveTo>
                  <a:lnTo>
                    <a:pt x="26899" y="250972"/>
                  </a:lnTo>
                  <a:lnTo>
                    <a:pt x="200549" y="250972"/>
                  </a:lnTo>
                  <a:lnTo>
                    <a:pt x="200549" y="254190"/>
                  </a:lnTo>
                  <a:cubicBezTo>
                    <a:pt x="200549" y="273682"/>
                    <a:pt x="216356" y="289479"/>
                    <a:pt x="235860" y="289479"/>
                  </a:cubicBezTo>
                  <a:cubicBezTo>
                    <a:pt x="235892" y="289479"/>
                    <a:pt x="235933" y="289479"/>
                    <a:pt x="235964" y="289479"/>
                  </a:cubicBezTo>
                  <a:lnTo>
                    <a:pt x="390193" y="289479"/>
                  </a:lnTo>
                  <a:cubicBezTo>
                    <a:pt x="409697" y="289479"/>
                    <a:pt x="425504" y="273682"/>
                    <a:pt x="425504" y="254190"/>
                  </a:cubicBezTo>
                  <a:lnTo>
                    <a:pt x="425504" y="250972"/>
                  </a:lnTo>
                  <a:lnTo>
                    <a:pt x="598946" y="250972"/>
                  </a:lnTo>
                  <a:lnTo>
                    <a:pt x="598946" y="372411"/>
                  </a:lnTo>
                  <a:lnTo>
                    <a:pt x="472240" y="372411"/>
                  </a:lnTo>
                  <a:cubicBezTo>
                    <a:pt x="479842" y="380403"/>
                    <a:pt x="486032" y="389630"/>
                    <a:pt x="490519" y="399708"/>
                  </a:cubicBezTo>
                  <a:lnTo>
                    <a:pt x="621276" y="399708"/>
                  </a:lnTo>
                  <a:cubicBezTo>
                    <a:pt x="623851" y="399770"/>
                    <a:pt x="625991" y="397726"/>
                    <a:pt x="626053" y="395141"/>
                  </a:cubicBezTo>
                  <a:cubicBezTo>
                    <a:pt x="626053" y="395068"/>
                    <a:pt x="626053" y="395006"/>
                    <a:pt x="626053" y="394934"/>
                  </a:cubicBezTo>
                  <a:lnTo>
                    <a:pt x="626053" y="227930"/>
                  </a:lnTo>
                  <a:cubicBezTo>
                    <a:pt x="626053" y="225294"/>
                    <a:pt x="623914" y="223156"/>
                    <a:pt x="621276" y="223156"/>
                  </a:cubicBezTo>
                  <a:lnTo>
                    <a:pt x="616810" y="223156"/>
                  </a:lnTo>
                  <a:lnTo>
                    <a:pt x="501320" y="5190"/>
                  </a:lnTo>
                  <a:cubicBezTo>
                    <a:pt x="499607" y="2035"/>
                    <a:pt x="496293" y="83"/>
                    <a:pt x="492700" y="104"/>
                  </a:cubicBezTo>
                  <a:lnTo>
                    <a:pt x="467047" y="104"/>
                  </a:lnTo>
                  <a:cubicBezTo>
                    <a:pt x="461709" y="104"/>
                    <a:pt x="457388" y="4422"/>
                    <a:pt x="457388" y="9757"/>
                  </a:cubicBezTo>
                  <a:cubicBezTo>
                    <a:pt x="457388" y="15092"/>
                    <a:pt x="461709" y="19409"/>
                    <a:pt x="467047" y="19409"/>
                  </a:cubicBezTo>
                  <a:lnTo>
                    <a:pt x="486884" y="19409"/>
                  </a:lnTo>
                  <a:lnTo>
                    <a:pt x="595207" y="223156"/>
                  </a:lnTo>
                  <a:lnTo>
                    <a:pt x="403071" y="223156"/>
                  </a:lnTo>
                  <a:cubicBezTo>
                    <a:pt x="400454" y="223208"/>
                    <a:pt x="398345" y="225315"/>
                    <a:pt x="398293" y="227930"/>
                  </a:cubicBezTo>
                  <a:lnTo>
                    <a:pt x="398293" y="253671"/>
                  </a:lnTo>
                  <a:cubicBezTo>
                    <a:pt x="398314" y="255788"/>
                    <a:pt x="397452" y="257823"/>
                    <a:pt x="395905" y="259276"/>
                  </a:cubicBezTo>
                  <a:cubicBezTo>
                    <a:pt x="394441" y="260812"/>
                    <a:pt x="392415" y="261673"/>
                    <a:pt x="390297" y="261663"/>
                  </a:cubicBezTo>
                  <a:lnTo>
                    <a:pt x="235757" y="261663"/>
                  </a:lnTo>
                  <a:cubicBezTo>
                    <a:pt x="233607" y="261673"/>
                    <a:pt x="231540" y="260812"/>
                    <a:pt x="230044" y="259276"/>
                  </a:cubicBezTo>
                  <a:cubicBezTo>
                    <a:pt x="228549" y="257792"/>
                    <a:pt x="227687" y="255778"/>
                    <a:pt x="227656" y="253671"/>
                  </a:cubicBezTo>
                  <a:lnTo>
                    <a:pt x="227656" y="227930"/>
                  </a:lnTo>
                  <a:cubicBezTo>
                    <a:pt x="227656" y="225294"/>
                    <a:pt x="225516" y="223156"/>
                    <a:pt x="222878" y="223156"/>
                  </a:cubicBezTo>
                  <a:lnTo>
                    <a:pt x="30742" y="223156"/>
                  </a:lnTo>
                  <a:lnTo>
                    <a:pt x="138754" y="19306"/>
                  </a:lnTo>
                  <a:lnTo>
                    <a:pt x="159006" y="19306"/>
                  </a:lnTo>
                  <a:cubicBezTo>
                    <a:pt x="164344" y="19306"/>
                    <a:pt x="168665" y="14988"/>
                    <a:pt x="168665" y="9653"/>
                  </a:cubicBezTo>
                  <a:cubicBezTo>
                    <a:pt x="168665" y="4318"/>
                    <a:pt x="164344" y="0"/>
                    <a:pt x="159006" y="0"/>
                  </a:cubicBezTo>
                  <a:lnTo>
                    <a:pt x="133353" y="0"/>
                  </a:lnTo>
                  <a:cubicBezTo>
                    <a:pt x="129791" y="-21"/>
                    <a:pt x="126498" y="1931"/>
                    <a:pt x="124837" y="5086"/>
                  </a:cubicBezTo>
                  <a:lnTo>
                    <a:pt x="9347" y="223052"/>
                  </a:lnTo>
                  <a:lnTo>
                    <a:pt x="4881" y="223052"/>
                  </a:lnTo>
                  <a:cubicBezTo>
                    <a:pt x="2223" y="223052"/>
                    <a:pt x="52" y="225169"/>
                    <a:pt x="0" y="227826"/>
                  </a:cubicBezTo>
                  <a:lnTo>
                    <a:pt x="0" y="394830"/>
                  </a:lnTo>
                  <a:cubicBezTo>
                    <a:pt x="0" y="397466"/>
                    <a:pt x="2139" y="399604"/>
                    <a:pt x="4777" y="399604"/>
                  </a:cubicBezTo>
                  <a:cubicBezTo>
                    <a:pt x="4809" y="399604"/>
                    <a:pt x="4850" y="399604"/>
                    <a:pt x="4881" y="399604"/>
                  </a:cubicBezTo>
                  <a:lnTo>
                    <a:pt x="389569" y="399604"/>
                  </a:lnTo>
                  <a:cubicBezTo>
                    <a:pt x="393163" y="389318"/>
                    <a:pt x="399062" y="379977"/>
                    <a:pt x="406810" y="372307"/>
                  </a:cubicBezTo>
                  <a:close/>
                  <a:moveTo>
                    <a:pt x="615979" y="387149"/>
                  </a:moveTo>
                  <a:lnTo>
                    <a:pt x="615979" y="390159"/>
                  </a:lnTo>
                  <a:lnTo>
                    <a:pt x="613071" y="390159"/>
                  </a:lnTo>
                  <a:cubicBezTo>
                    <a:pt x="614234" y="389360"/>
                    <a:pt x="615221" y="388343"/>
                    <a:pt x="615979" y="387149"/>
                  </a:cubicBezTo>
                  <a:close/>
                  <a:moveTo>
                    <a:pt x="407225" y="232808"/>
                  </a:moveTo>
                  <a:lnTo>
                    <a:pt x="410237" y="232808"/>
                  </a:lnTo>
                  <a:cubicBezTo>
                    <a:pt x="409022" y="233525"/>
                    <a:pt x="407984" y="234521"/>
                    <a:pt x="407225" y="235715"/>
                  </a:cubicBezTo>
                  <a:close/>
                  <a:moveTo>
                    <a:pt x="217685" y="232808"/>
                  </a:moveTo>
                  <a:lnTo>
                    <a:pt x="217685" y="235715"/>
                  </a:lnTo>
                  <a:cubicBezTo>
                    <a:pt x="216886" y="234552"/>
                    <a:pt x="215868" y="233566"/>
                    <a:pt x="214673" y="232808"/>
                  </a:cubicBezTo>
                  <a:close/>
                  <a:moveTo>
                    <a:pt x="8828" y="390159"/>
                  </a:moveTo>
                  <a:lnTo>
                    <a:pt x="8828" y="387149"/>
                  </a:lnTo>
                  <a:cubicBezTo>
                    <a:pt x="9586" y="388374"/>
                    <a:pt x="10614" y="389401"/>
                    <a:pt x="11840" y="390159"/>
                  </a:cubicBez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8" name="Freeform 507">
              <a:extLst>
                <a:ext uri="{FF2B5EF4-FFF2-40B4-BE49-F238E27FC236}">
                  <a16:creationId xmlns:a16="http://schemas.microsoft.com/office/drawing/2014/main" id="{C0F1CD71-FECA-734F-9F05-068943270297}"/>
                </a:ext>
              </a:extLst>
            </p:cNvPr>
            <p:cNvSpPr/>
            <p:nvPr/>
          </p:nvSpPr>
          <p:spPr>
            <a:xfrm>
              <a:off x="5956589" y="3907716"/>
              <a:ext cx="125459" cy="173438"/>
            </a:xfrm>
            <a:custGeom>
              <a:avLst/>
              <a:gdLst>
                <a:gd name="connsiteX0" fmla="*/ 115801 w 125459"/>
                <a:gd name="connsiteY0" fmla="*/ 0 h 173438"/>
                <a:gd name="connsiteX1" fmla="*/ 0 w 125459"/>
                <a:gd name="connsiteY1" fmla="*/ 0 h 173438"/>
                <a:gd name="connsiteX2" fmla="*/ 8516 w 125459"/>
                <a:gd name="connsiteY2" fmla="*/ 19306 h 173438"/>
                <a:gd name="connsiteX3" fmla="*/ 93264 w 125459"/>
                <a:gd name="connsiteY3" fmla="*/ 19306 h 173438"/>
                <a:gd name="connsiteX4" fmla="*/ 93264 w 125459"/>
                <a:gd name="connsiteY4" fmla="*/ 141263 h 173438"/>
                <a:gd name="connsiteX5" fmla="*/ 64599 w 125459"/>
                <a:gd name="connsiteY5" fmla="*/ 141263 h 173438"/>
                <a:gd name="connsiteX6" fmla="*/ 71039 w 125459"/>
                <a:gd name="connsiteY6" fmla="*/ 173439 h 173438"/>
                <a:gd name="connsiteX7" fmla="*/ 115801 w 125459"/>
                <a:gd name="connsiteY7" fmla="*/ 173439 h 173438"/>
                <a:gd name="connsiteX8" fmla="*/ 125460 w 125459"/>
                <a:gd name="connsiteY8" fmla="*/ 163786 h 173438"/>
                <a:gd name="connsiteX9" fmla="*/ 125460 w 125459"/>
                <a:gd name="connsiteY9" fmla="*/ 9653 h 173438"/>
                <a:gd name="connsiteX10" fmla="*/ 115801 w 125459"/>
                <a:gd name="connsiteY10" fmla="*/ 0 h 173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5459" h="173438">
                  <a:moveTo>
                    <a:pt x="115801" y="0"/>
                  </a:moveTo>
                  <a:lnTo>
                    <a:pt x="0" y="0"/>
                  </a:lnTo>
                  <a:cubicBezTo>
                    <a:pt x="3427" y="6850"/>
                    <a:pt x="5504" y="12351"/>
                    <a:pt x="8516" y="19306"/>
                  </a:cubicBezTo>
                  <a:lnTo>
                    <a:pt x="93264" y="19306"/>
                  </a:lnTo>
                  <a:lnTo>
                    <a:pt x="93264" y="141263"/>
                  </a:lnTo>
                  <a:lnTo>
                    <a:pt x="64599" y="141263"/>
                  </a:lnTo>
                  <a:cubicBezTo>
                    <a:pt x="67196" y="152265"/>
                    <a:pt x="69377" y="163059"/>
                    <a:pt x="71039" y="173439"/>
                  </a:cubicBezTo>
                  <a:lnTo>
                    <a:pt x="115801" y="173439"/>
                  </a:lnTo>
                  <a:cubicBezTo>
                    <a:pt x="121139" y="173439"/>
                    <a:pt x="125460" y="169121"/>
                    <a:pt x="125460" y="163786"/>
                  </a:cubicBezTo>
                  <a:lnTo>
                    <a:pt x="125460" y="9653"/>
                  </a:lnTo>
                  <a:cubicBezTo>
                    <a:pt x="125460" y="4318"/>
                    <a:pt x="121139" y="0"/>
                    <a:pt x="115801" y="0"/>
                  </a:cubicBez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9" name="Freeform 508">
              <a:extLst>
                <a:ext uri="{FF2B5EF4-FFF2-40B4-BE49-F238E27FC236}">
                  <a16:creationId xmlns:a16="http://schemas.microsoft.com/office/drawing/2014/main" id="{262EFF95-3E87-5742-AD3E-037EB08564F4}"/>
                </a:ext>
              </a:extLst>
            </p:cNvPr>
            <p:cNvSpPr/>
            <p:nvPr/>
          </p:nvSpPr>
          <p:spPr>
            <a:xfrm>
              <a:off x="5446234" y="3907716"/>
              <a:ext cx="414702" cy="173438"/>
            </a:xfrm>
            <a:custGeom>
              <a:avLst/>
              <a:gdLst>
                <a:gd name="connsiteX0" fmla="*/ 402759 w 414702"/>
                <a:gd name="connsiteY0" fmla="*/ 141263 h 173438"/>
                <a:gd name="connsiteX1" fmla="*/ 31780 w 414702"/>
                <a:gd name="connsiteY1" fmla="*/ 141263 h 173438"/>
                <a:gd name="connsiteX2" fmla="*/ 31780 w 414702"/>
                <a:gd name="connsiteY2" fmla="*/ 19306 h 173438"/>
                <a:gd name="connsiteX3" fmla="*/ 205430 w 414702"/>
                <a:gd name="connsiteY3" fmla="*/ 19306 h 173438"/>
                <a:gd name="connsiteX4" fmla="*/ 205430 w 414702"/>
                <a:gd name="connsiteY4" fmla="*/ 22523 h 173438"/>
                <a:gd name="connsiteX5" fmla="*/ 240742 w 414702"/>
                <a:gd name="connsiteY5" fmla="*/ 57813 h 173438"/>
                <a:gd name="connsiteX6" fmla="*/ 240846 w 414702"/>
                <a:gd name="connsiteY6" fmla="*/ 57813 h 173438"/>
                <a:gd name="connsiteX7" fmla="*/ 385104 w 414702"/>
                <a:gd name="connsiteY7" fmla="*/ 57813 h 173438"/>
                <a:gd name="connsiteX8" fmla="*/ 382507 w 414702"/>
                <a:gd name="connsiteY8" fmla="*/ 25741 h 173438"/>
                <a:gd name="connsiteX9" fmla="*/ 240638 w 414702"/>
                <a:gd name="connsiteY9" fmla="*/ 25741 h 173438"/>
                <a:gd name="connsiteX10" fmla="*/ 238353 w 414702"/>
                <a:gd name="connsiteY10" fmla="*/ 24807 h 173438"/>
                <a:gd name="connsiteX11" fmla="*/ 237418 w 414702"/>
                <a:gd name="connsiteY11" fmla="*/ 22523 h 173438"/>
                <a:gd name="connsiteX12" fmla="*/ 237418 w 414702"/>
                <a:gd name="connsiteY12" fmla="*/ 9653 h 173438"/>
                <a:gd name="connsiteX13" fmla="*/ 227759 w 414702"/>
                <a:gd name="connsiteY13" fmla="*/ 0 h 173438"/>
                <a:gd name="connsiteX14" fmla="*/ 9659 w 414702"/>
                <a:gd name="connsiteY14" fmla="*/ 0 h 173438"/>
                <a:gd name="connsiteX15" fmla="*/ 0 w 414702"/>
                <a:gd name="connsiteY15" fmla="*/ 9653 h 173438"/>
                <a:gd name="connsiteX16" fmla="*/ 0 w 414702"/>
                <a:gd name="connsiteY16" fmla="*/ 163786 h 173438"/>
                <a:gd name="connsiteX17" fmla="*/ 9659 w 414702"/>
                <a:gd name="connsiteY17" fmla="*/ 173439 h 173438"/>
                <a:gd name="connsiteX18" fmla="*/ 414703 w 414702"/>
                <a:gd name="connsiteY18" fmla="*/ 173439 h 173438"/>
                <a:gd name="connsiteX19" fmla="*/ 404317 w 414702"/>
                <a:gd name="connsiteY19" fmla="*/ 146764 h 173438"/>
                <a:gd name="connsiteX20" fmla="*/ 402759 w 414702"/>
                <a:gd name="connsiteY20" fmla="*/ 141263 h 173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14702" h="173438">
                  <a:moveTo>
                    <a:pt x="402759" y="141263"/>
                  </a:moveTo>
                  <a:lnTo>
                    <a:pt x="31780" y="141263"/>
                  </a:lnTo>
                  <a:lnTo>
                    <a:pt x="31780" y="19306"/>
                  </a:lnTo>
                  <a:lnTo>
                    <a:pt x="205430" y="19306"/>
                  </a:lnTo>
                  <a:lnTo>
                    <a:pt x="205430" y="22523"/>
                  </a:lnTo>
                  <a:cubicBezTo>
                    <a:pt x="205430" y="42016"/>
                    <a:pt x="221237" y="57813"/>
                    <a:pt x="240742" y="57813"/>
                  </a:cubicBezTo>
                  <a:cubicBezTo>
                    <a:pt x="240773" y="57813"/>
                    <a:pt x="240814" y="57813"/>
                    <a:pt x="240846" y="57813"/>
                  </a:cubicBezTo>
                  <a:lnTo>
                    <a:pt x="385104" y="57813"/>
                  </a:lnTo>
                  <a:cubicBezTo>
                    <a:pt x="383650" y="46603"/>
                    <a:pt x="382819" y="35913"/>
                    <a:pt x="382507" y="25741"/>
                  </a:cubicBezTo>
                  <a:lnTo>
                    <a:pt x="240638" y="25741"/>
                  </a:lnTo>
                  <a:cubicBezTo>
                    <a:pt x="239786" y="25720"/>
                    <a:pt x="238976" y="25388"/>
                    <a:pt x="238353" y="24807"/>
                  </a:cubicBezTo>
                  <a:cubicBezTo>
                    <a:pt x="237740" y="24205"/>
                    <a:pt x="237398" y="23385"/>
                    <a:pt x="237418" y="22523"/>
                  </a:cubicBezTo>
                  <a:lnTo>
                    <a:pt x="237418" y="9653"/>
                  </a:lnTo>
                  <a:cubicBezTo>
                    <a:pt x="237418" y="4318"/>
                    <a:pt x="233098" y="0"/>
                    <a:pt x="227759" y="0"/>
                  </a:cubicBezTo>
                  <a:lnTo>
                    <a:pt x="9659" y="0"/>
                  </a:lnTo>
                  <a:cubicBezTo>
                    <a:pt x="4320" y="0"/>
                    <a:pt x="0" y="4318"/>
                    <a:pt x="0" y="9653"/>
                  </a:cubicBezTo>
                  <a:lnTo>
                    <a:pt x="0" y="163786"/>
                  </a:lnTo>
                  <a:cubicBezTo>
                    <a:pt x="0" y="169121"/>
                    <a:pt x="4320" y="173439"/>
                    <a:pt x="9659" y="173439"/>
                  </a:cubicBezTo>
                  <a:lnTo>
                    <a:pt x="414703" y="173439"/>
                  </a:lnTo>
                  <a:cubicBezTo>
                    <a:pt x="411276" y="164824"/>
                    <a:pt x="407952" y="156001"/>
                    <a:pt x="404317" y="146764"/>
                  </a:cubicBezTo>
                  <a:cubicBezTo>
                    <a:pt x="404213" y="144999"/>
                    <a:pt x="403694" y="143131"/>
                    <a:pt x="402759" y="141263"/>
                  </a:cubicBez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0" name="Freeform 509">
              <a:extLst>
                <a:ext uri="{FF2B5EF4-FFF2-40B4-BE49-F238E27FC236}">
                  <a16:creationId xmlns:a16="http://schemas.microsoft.com/office/drawing/2014/main" id="{52136D02-3A46-4F40-9F1D-1998346E626B}"/>
                </a:ext>
              </a:extLst>
            </p:cNvPr>
            <p:cNvSpPr/>
            <p:nvPr/>
          </p:nvSpPr>
          <p:spPr>
            <a:xfrm>
              <a:off x="5556738" y="3626747"/>
              <a:ext cx="414495" cy="67465"/>
            </a:xfrm>
            <a:custGeom>
              <a:avLst/>
              <a:gdLst>
                <a:gd name="connsiteX0" fmla="*/ 399955 w 414495"/>
                <a:gd name="connsiteY0" fmla="*/ 67466 h 67465"/>
                <a:gd name="connsiteX1" fmla="*/ 414495 w 414495"/>
                <a:gd name="connsiteY1" fmla="*/ 53038 h 67465"/>
                <a:gd name="connsiteX2" fmla="*/ 414495 w 414495"/>
                <a:gd name="connsiteY2" fmla="*/ 14531 h 67465"/>
                <a:gd name="connsiteX3" fmla="*/ 399955 w 414495"/>
                <a:gd name="connsiteY3" fmla="*/ 0 h 67465"/>
                <a:gd name="connsiteX4" fmla="*/ 14436 w 414495"/>
                <a:gd name="connsiteY4" fmla="*/ 0 h 67465"/>
                <a:gd name="connsiteX5" fmla="*/ 0 w 414495"/>
                <a:gd name="connsiteY5" fmla="*/ 14531 h 67465"/>
                <a:gd name="connsiteX6" fmla="*/ 0 w 414495"/>
                <a:gd name="connsiteY6" fmla="*/ 53038 h 67465"/>
                <a:gd name="connsiteX7" fmla="*/ 15714 w 414495"/>
                <a:gd name="connsiteY7" fmla="*/ 66293 h 67465"/>
                <a:gd name="connsiteX8" fmla="*/ 28976 w 414495"/>
                <a:gd name="connsiteY8" fmla="*/ 53038 h 67465"/>
                <a:gd name="connsiteX9" fmla="*/ 28976 w 414495"/>
                <a:gd name="connsiteY9" fmla="*/ 29062 h 67465"/>
                <a:gd name="connsiteX10" fmla="*/ 385727 w 414495"/>
                <a:gd name="connsiteY10" fmla="*/ 29062 h 67465"/>
                <a:gd name="connsiteX11" fmla="*/ 385727 w 414495"/>
                <a:gd name="connsiteY11" fmla="*/ 53142 h 67465"/>
                <a:gd name="connsiteX12" fmla="*/ 399955 w 414495"/>
                <a:gd name="connsiteY12" fmla="*/ 67466 h 67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4495" h="67465">
                  <a:moveTo>
                    <a:pt x="399955" y="67466"/>
                  </a:moveTo>
                  <a:cubicBezTo>
                    <a:pt x="407942" y="67466"/>
                    <a:pt x="414433" y="61020"/>
                    <a:pt x="414495" y="53038"/>
                  </a:cubicBezTo>
                  <a:lnTo>
                    <a:pt x="414495" y="14531"/>
                  </a:lnTo>
                  <a:cubicBezTo>
                    <a:pt x="414495" y="6508"/>
                    <a:pt x="407984" y="0"/>
                    <a:pt x="399955" y="0"/>
                  </a:cubicBezTo>
                  <a:lnTo>
                    <a:pt x="14436" y="0"/>
                  </a:lnTo>
                  <a:cubicBezTo>
                    <a:pt x="6450" y="52"/>
                    <a:pt x="0" y="6549"/>
                    <a:pt x="0" y="14531"/>
                  </a:cubicBezTo>
                  <a:lnTo>
                    <a:pt x="0" y="53038"/>
                  </a:lnTo>
                  <a:cubicBezTo>
                    <a:pt x="675" y="61030"/>
                    <a:pt x="7717" y="66968"/>
                    <a:pt x="15714" y="66293"/>
                  </a:cubicBezTo>
                  <a:cubicBezTo>
                    <a:pt x="22776" y="65691"/>
                    <a:pt x="28374" y="60096"/>
                    <a:pt x="28976" y="53038"/>
                  </a:cubicBezTo>
                  <a:lnTo>
                    <a:pt x="28976" y="29062"/>
                  </a:lnTo>
                  <a:lnTo>
                    <a:pt x="385727" y="29062"/>
                  </a:lnTo>
                  <a:lnTo>
                    <a:pt x="385727" y="53142"/>
                  </a:lnTo>
                  <a:cubicBezTo>
                    <a:pt x="385779" y="60989"/>
                    <a:pt x="392104" y="67351"/>
                    <a:pt x="399955" y="67466"/>
                  </a:cubicBez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1" name="Freeform 510">
              <a:extLst>
                <a:ext uri="{FF2B5EF4-FFF2-40B4-BE49-F238E27FC236}">
                  <a16:creationId xmlns:a16="http://schemas.microsoft.com/office/drawing/2014/main" id="{03183768-90D6-2748-93BB-B2C876613ED9}"/>
                </a:ext>
              </a:extLst>
            </p:cNvPr>
            <p:cNvSpPr/>
            <p:nvPr/>
          </p:nvSpPr>
          <p:spPr>
            <a:xfrm>
              <a:off x="5595685" y="3549723"/>
              <a:ext cx="337329" cy="67475"/>
            </a:xfrm>
            <a:custGeom>
              <a:avLst/>
              <a:gdLst>
                <a:gd name="connsiteX0" fmla="*/ 322478 w 337329"/>
                <a:gd name="connsiteY0" fmla="*/ 10 h 67475"/>
                <a:gd name="connsiteX1" fmla="*/ 14436 w 337329"/>
                <a:gd name="connsiteY1" fmla="*/ 10 h 67475"/>
                <a:gd name="connsiteX2" fmla="*/ 0 w 337329"/>
                <a:gd name="connsiteY2" fmla="*/ 14438 h 67475"/>
                <a:gd name="connsiteX3" fmla="*/ 0 w 337329"/>
                <a:gd name="connsiteY3" fmla="*/ 53049 h 67475"/>
                <a:gd name="connsiteX4" fmla="*/ 15714 w 337329"/>
                <a:gd name="connsiteY4" fmla="*/ 66303 h 67475"/>
                <a:gd name="connsiteX5" fmla="*/ 28976 w 337329"/>
                <a:gd name="connsiteY5" fmla="*/ 53049 h 67475"/>
                <a:gd name="connsiteX6" fmla="*/ 28976 w 337329"/>
                <a:gd name="connsiteY6" fmla="*/ 28969 h 67475"/>
                <a:gd name="connsiteX7" fmla="*/ 308457 w 337329"/>
                <a:gd name="connsiteY7" fmla="*/ 28969 h 67475"/>
                <a:gd name="connsiteX8" fmla="*/ 308457 w 337329"/>
                <a:gd name="connsiteY8" fmla="*/ 53049 h 67475"/>
                <a:gd name="connsiteX9" fmla="*/ 322893 w 337329"/>
                <a:gd name="connsiteY9" fmla="*/ 67476 h 67475"/>
                <a:gd name="connsiteX10" fmla="*/ 337329 w 337329"/>
                <a:gd name="connsiteY10" fmla="*/ 53049 h 67475"/>
                <a:gd name="connsiteX11" fmla="*/ 337329 w 337329"/>
                <a:gd name="connsiteY11" fmla="*/ 14438 h 67475"/>
                <a:gd name="connsiteX12" fmla="*/ 322903 w 337329"/>
                <a:gd name="connsiteY12" fmla="*/ 0 h 67475"/>
                <a:gd name="connsiteX13" fmla="*/ 322478 w 337329"/>
                <a:gd name="connsiteY13" fmla="*/ 10 h 67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329" h="67475">
                  <a:moveTo>
                    <a:pt x="322478" y="10"/>
                  </a:moveTo>
                  <a:lnTo>
                    <a:pt x="14436" y="10"/>
                  </a:lnTo>
                  <a:cubicBezTo>
                    <a:pt x="6460" y="10"/>
                    <a:pt x="0" y="6466"/>
                    <a:pt x="0" y="14438"/>
                  </a:cubicBezTo>
                  <a:lnTo>
                    <a:pt x="0" y="53049"/>
                  </a:lnTo>
                  <a:cubicBezTo>
                    <a:pt x="675" y="61041"/>
                    <a:pt x="7717" y="66978"/>
                    <a:pt x="15714" y="66303"/>
                  </a:cubicBezTo>
                  <a:cubicBezTo>
                    <a:pt x="22776" y="65701"/>
                    <a:pt x="28374" y="60107"/>
                    <a:pt x="28976" y="53049"/>
                  </a:cubicBezTo>
                  <a:lnTo>
                    <a:pt x="28976" y="28969"/>
                  </a:lnTo>
                  <a:lnTo>
                    <a:pt x="308457" y="28969"/>
                  </a:lnTo>
                  <a:lnTo>
                    <a:pt x="308457" y="53049"/>
                  </a:lnTo>
                  <a:cubicBezTo>
                    <a:pt x="308457" y="61020"/>
                    <a:pt x="314917" y="67476"/>
                    <a:pt x="322893" y="67476"/>
                  </a:cubicBezTo>
                  <a:cubicBezTo>
                    <a:pt x="330869" y="67476"/>
                    <a:pt x="337329" y="61020"/>
                    <a:pt x="337329" y="53049"/>
                  </a:cubicBezTo>
                  <a:lnTo>
                    <a:pt x="337329" y="14438"/>
                  </a:lnTo>
                  <a:cubicBezTo>
                    <a:pt x="337329" y="6466"/>
                    <a:pt x="330869" y="10"/>
                    <a:pt x="322903" y="0"/>
                  </a:cubicBezTo>
                  <a:cubicBezTo>
                    <a:pt x="322758" y="0"/>
                    <a:pt x="322623" y="10"/>
                    <a:pt x="322478" y="10"/>
                  </a:cubicBez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2" name="Freeform 511">
              <a:extLst>
                <a:ext uri="{FF2B5EF4-FFF2-40B4-BE49-F238E27FC236}">
                  <a16:creationId xmlns:a16="http://schemas.microsoft.com/office/drawing/2014/main" id="{3D2B9A20-22D3-9E4C-990F-B698C1C9B6F5}"/>
                </a:ext>
              </a:extLst>
            </p:cNvPr>
            <p:cNvSpPr/>
            <p:nvPr/>
          </p:nvSpPr>
          <p:spPr>
            <a:xfrm>
              <a:off x="5633800" y="3472614"/>
              <a:ext cx="260266" cy="67465"/>
            </a:xfrm>
            <a:custGeom>
              <a:avLst/>
              <a:gdLst>
                <a:gd name="connsiteX0" fmla="*/ 14540 w 260266"/>
                <a:gd name="connsiteY0" fmla="*/ 67466 h 67465"/>
                <a:gd name="connsiteX1" fmla="*/ 28976 w 260266"/>
                <a:gd name="connsiteY1" fmla="*/ 53038 h 67465"/>
                <a:gd name="connsiteX2" fmla="*/ 28976 w 260266"/>
                <a:gd name="connsiteY2" fmla="*/ 28958 h 67465"/>
                <a:gd name="connsiteX3" fmla="*/ 231291 w 260266"/>
                <a:gd name="connsiteY3" fmla="*/ 28958 h 67465"/>
                <a:gd name="connsiteX4" fmla="*/ 231291 w 260266"/>
                <a:gd name="connsiteY4" fmla="*/ 53038 h 67465"/>
                <a:gd name="connsiteX5" fmla="*/ 247004 w 260266"/>
                <a:gd name="connsiteY5" fmla="*/ 66293 h 67465"/>
                <a:gd name="connsiteX6" fmla="*/ 260267 w 260266"/>
                <a:gd name="connsiteY6" fmla="*/ 53038 h 67465"/>
                <a:gd name="connsiteX7" fmla="*/ 260267 w 260266"/>
                <a:gd name="connsiteY7" fmla="*/ 14531 h 67465"/>
                <a:gd name="connsiteX8" fmla="*/ 245831 w 260266"/>
                <a:gd name="connsiteY8" fmla="*/ 0 h 67465"/>
                <a:gd name="connsiteX9" fmla="*/ 14540 w 260266"/>
                <a:gd name="connsiteY9" fmla="*/ 0 h 67465"/>
                <a:gd name="connsiteX10" fmla="*/ 0 w 260266"/>
                <a:gd name="connsiteY10" fmla="*/ 14531 h 67465"/>
                <a:gd name="connsiteX11" fmla="*/ 0 w 260266"/>
                <a:gd name="connsiteY11" fmla="*/ 53038 h 67465"/>
                <a:gd name="connsiteX12" fmla="*/ 14540 w 260266"/>
                <a:gd name="connsiteY12" fmla="*/ 67466 h 67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60266" h="67465">
                  <a:moveTo>
                    <a:pt x="14540" y="67466"/>
                  </a:moveTo>
                  <a:cubicBezTo>
                    <a:pt x="22516" y="67466"/>
                    <a:pt x="28976" y="61010"/>
                    <a:pt x="28976" y="53038"/>
                  </a:cubicBezTo>
                  <a:lnTo>
                    <a:pt x="28976" y="28958"/>
                  </a:lnTo>
                  <a:lnTo>
                    <a:pt x="231291" y="28958"/>
                  </a:lnTo>
                  <a:lnTo>
                    <a:pt x="231291" y="53038"/>
                  </a:lnTo>
                  <a:cubicBezTo>
                    <a:pt x="231966" y="61030"/>
                    <a:pt x="239007" y="66967"/>
                    <a:pt x="247004" y="66293"/>
                  </a:cubicBezTo>
                  <a:cubicBezTo>
                    <a:pt x="254067" y="65691"/>
                    <a:pt x="259665" y="60096"/>
                    <a:pt x="260267" y="53038"/>
                  </a:cubicBezTo>
                  <a:lnTo>
                    <a:pt x="260267" y="14531"/>
                  </a:lnTo>
                  <a:cubicBezTo>
                    <a:pt x="260267" y="6549"/>
                    <a:pt x="253817" y="52"/>
                    <a:pt x="245831" y="0"/>
                  </a:cubicBezTo>
                  <a:lnTo>
                    <a:pt x="14540" y="0"/>
                  </a:lnTo>
                  <a:cubicBezTo>
                    <a:pt x="6512" y="0"/>
                    <a:pt x="0" y="6508"/>
                    <a:pt x="0" y="14531"/>
                  </a:cubicBezTo>
                  <a:lnTo>
                    <a:pt x="0" y="53038"/>
                  </a:lnTo>
                  <a:cubicBezTo>
                    <a:pt x="52" y="61020"/>
                    <a:pt x="6553" y="67466"/>
                    <a:pt x="14540" y="67466"/>
                  </a:cubicBez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3" name="Freeform 512">
              <a:extLst>
                <a:ext uri="{FF2B5EF4-FFF2-40B4-BE49-F238E27FC236}">
                  <a16:creationId xmlns:a16="http://schemas.microsoft.com/office/drawing/2014/main" id="{2A2943D3-5D06-5644-B60D-A500848D5E49}"/>
                </a:ext>
              </a:extLst>
            </p:cNvPr>
            <p:cNvSpPr/>
            <p:nvPr/>
          </p:nvSpPr>
          <p:spPr>
            <a:xfrm>
              <a:off x="5393578" y="3711962"/>
              <a:ext cx="55148" cy="149150"/>
            </a:xfrm>
            <a:custGeom>
              <a:avLst/>
              <a:gdLst>
                <a:gd name="connsiteX0" fmla="*/ 38843 w 55148"/>
                <a:gd name="connsiteY0" fmla="*/ 0 h 149150"/>
                <a:gd name="connsiteX1" fmla="*/ 38843 w 55148"/>
                <a:gd name="connsiteY1" fmla="*/ 0 h 149150"/>
                <a:gd name="connsiteX2" fmla="*/ 0 w 55148"/>
                <a:gd name="connsiteY2" fmla="*/ 33318 h 149150"/>
                <a:gd name="connsiteX3" fmla="*/ 55148 w 55148"/>
                <a:gd name="connsiteY3" fmla="*/ 149151 h 149150"/>
                <a:gd name="connsiteX4" fmla="*/ 55148 w 55148"/>
                <a:gd name="connsiteY4" fmla="*/ 9860 h 149150"/>
                <a:gd name="connsiteX5" fmla="*/ 38843 w 55148"/>
                <a:gd name="connsiteY5" fmla="*/ 0 h 1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5148" h="149150">
                  <a:moveTo>
                    <a:pt x="38843" y="0"/>
                  </a:moveTo>
                  <a:lnTo>
                    <a:pt x="38843" y="0"/>
                  </a:lnTo>
                  <a:cubicBezTo>
                    <a:pt x="25030" y="0"/>
                    <a:pt x="8724" y="19617"/>
                    <a:pt x="0" y="33318"/>
                  </a:cubicBezTo>
                  <a:lnTo>
                    <a:pt x="55148" y="149151"/>
                  </a:lnTo>
                  <a:lnTo>
                    <a:pt x="55148" y="9860"/>
                  </a:lnTo>
                  <a:cubicBezTo>
                    <a:pt x="51316" y="4453"/>
                    <a:pt x="45407" y="882"/>
                    <a:pt x="38843" y="0"/>
                  </a:cubicBezTo>
                  <a:close/>
                </a:path>
              </a:pathLst>
            </a:custGeom>
            <a:noFill/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4" name="Freeform 513">
              <a:extLst>
                <a:ext uri="{FF2B5EF4-FFF2-40B4-BE49-F238E27FC236}">
                  <a16:creationId xmlns:a16="http://schemas.microsoft.com/office/drawing/2014/main" id="{B04735B9-AAAB-DD41-9A4A-505A6222804C}"/>
                </a:ext>
              </a:extLst>
            </p:cNvPr>
            <p:cNvSpPr/>
            <p:nvPr/>
          </p:nvSpPr>
          <p:spPr>
            <a:xfrm>
              <a:off x="5671775" y="5737865"/>
              <a:ext cx="60442" cy="60405"/>
            </a:xfrm>
            <a:custGeom>
              <a:avLst/>
              <a:gdLst>
                <a:gd name="connsiteX0" fmla="*/ 37 w 60442"/>
                <a:gd name="connsiteY0" fmla="*/ 31799 h 60405"/>
                <a:gd name="connsiteX1" fmla="*/ 31818 w 60442"/>
                <a:gd name="connsiteY1" fmla="*/ 60363 h 60405"/>
                <a:gd name="connsiteX2" fmla="*/ 60399 w 60442"/>
                <a:gd name="connsiteY2" fmla="*/ 28612 h 60405"/>
                <a:gd name="connsiteX3" fmla="*/ 28702 w 60442"/>
                <a:gd name="connsiteY3" fmla="*/ 38 h 60405"/>
                <a:gd name="connsiteX4" fmla="*/ 37 w 60442"/>
                <a:gd name="connsiteY4" fmla="*/ 31799 h 60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442" h="60405">
                  <a:moveTo>
                    <a:pt x="37" y="31799"/>
                  </a:moveTo>
                  <a:cubicBezTo>
                    <a:pt x="920" y="48458"/>
                    <a:pt x="15149" y="61245"/>
                    <a:pt x="31818" y="60363"/>
                  </a:cubicBezTo>
                  <a:cubicBezTo>
                    <a:pt x="48487" y="59481"/>
                    <a:pt x="61282" y="45271"/>
                    <a:pt x="60399" y="28612"/>
                  </a:cubicBezTo>
                  <a:cubicBezTo>
                    <a:pt x="59517" y="11985"/>
                    <a:pt x="45340" y="-792"/>
                    <a:pt x="28702" y="38"/>
                  </a:cubicBezTo>
                  <a:cubicBezTo>
                    <a:pt x="12022" y="931"/>
                    <a:pt x="-783" y="15130"/>
                    <a:pt x="37" y="31799"/>
                  </a:cubicBez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5" name="Freeform 514">
              <a:extLst>
                <a:ext uri="{FF2B5EF4-FFF2-40B4-BE49-F238E27FC236}">
                  <a16:creationId xmlns:a16="http://schemas.microsoft.com/office/drawing/2014/main" id="{6C5FC676-DCBC-7B47-A729-20B8B576929A}"/>
                </a:ext>
              </a:extLst>
            </p:cNvPr>
            <p:cNvSpPr/>
            <p:nvPr/>
          </p:nvSpPr>
          <p:spPr>
            <a:xfrm>
              <a:off x="5516649" y="5529486"/>
              <a:ext cx="1546853" cy="859096"/>
            </a:xfrm>
            <a:custGeom>
              <a:avLst/>
              <a:gdLst>
                <a:gd name="connsiteX0" fmla="*/ 1523278 w 1546853"/>
                <a:gd name="connsiteY0" fmla="*/ 487414 h 859096"/>
                <a:gd name="connsiteX1" fmla="*/ 1271008 w 1546853"/>
                <a:gd name="connsiteY1" fmla="*/ 822458 h 859096"/>
                <a:gd name="connsiteX2" fmla="*/ 602374 w 1546853"/>
                <a:gd name="connsiteY2" fmla="*/ 671024 h 859096"/>
                <a:gd name="connsiteX3" fmla="*/ 35935 w 1546853"/>
                <a:gd name="connsiteY3" fmla="*/ 462295 h 859096"/>
                <a:gd name="connsiteX4" fmla="*/ 133872 w 1546853"/>
                <a:gd name="connsiteY4" fmla="*/ 141470 h 859096"/>
                <a:gd name="connsiteX5" fmla="*/ 1094866 w 1546853"/>
                <a:gd name="connsiteY5" fmla="*/ 417249 h 859096"/>
                <a:gd name="connsiteX6" fmla="*/ 1396053 w 1546853"/>
                <a:gd name="connsiteY6" fmla="*/ 13182 h 859096"/>
                <a:gd name="connsiteX7" fmla="*/ 1370296 w 1546853"/>
                <a:gd name="connsiteY7" fmla="*/ 0 h 859096"/>
                <a:gd name="connsiteX8" fmla="*/ 1367596 w 1546853"/>
                <a:gd name="connsiteY8" fmla="*/ 5086 h 859096"/>
                <a:gd name="connsiteX9" fmla="*/ 1370712 w 1546853"/>
                <a:gd name="connsiteY9" fmla="*/ 5086 h 859096"/>
                <a:gd name="connsiteX10" fmla="*/ 1374970 w 1546853"/>
                <a:gd name="connsiteY10" fmla="*/ 33733 h 859096"/>
                <a:gd name="connsiteX11" fmla="*/ 1351082 w 1546853"/>
                <a:gd name="connsiteY11" fmla="*/ 37262 h 859096"/>
                <a:gd name="connsiteX12" fmla="*/ 1090504 w 1546853"/>
                <a:gd name="connsiteY12" fmla="*/ 389017 h 859096"/>
                <a:gd name="connsiteX13" fmla="*/ 129926 w 1546853"/>
                <a:gd name="connsiteY13" fmla="*/ 108775 h 859096"/>
                <a:gd name="connsiteX14" fmla="*/ 115490 w 1546853"/>
                <a:gd name="connsiteY14" fmla="*/ 103378 h 859096"/>
                <a:gd name="connsiteX15" fmla="*/ 0 w 1546853"/>
                <a:gd name="connsiteY15" fmla="*/ 479421 h 859096"/>
                <a:gd name="connsiteX16" fmla="*/ 12359 w 1546853"/>
                <a:gd name="connsiteY16" fmla="*/ 484300 h 859096"/>
                <a:gd name="connsiteX17" fmla="*/ 1223234 w 1546853"/>
                <a:gd name="connsiteY17" fmla="*/ 859097 h 859096"/>
                <a:gd name="connsiteX18" fmla="*/ 1285548 w 1546853"/>
                <a:gd name="connsiteY18" fmla="*/ 846953 h 859096"/>
                <a:gd name="connsiteX19" fmla="*/ 1546854 w 1546853"/>
                <a:gd name="connsiteY19" fmla="*/ 502879 h 859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46853" h="859096">
                  <a:moveTo>
                    <a:pt x="1523278" y="487414"/>
                  </a:moveTo>
                  <a:cubicBezTo>
                    <a:pt x="1369985" y="729667"/>
                    <a:pt x="1301542" y="803360"/>
                    <a:pt x="1271008" y="822458"/>
                  </a:cubicBezTo>
                  <a:cubicBezTo>
                    <a:pt x="1240474" y="841556"/>
                    <a:pt x="1115222" y="845812"/>
                    <a:pt x="602374" y="671024"/>
                  </a:cubicBezTo>
                  <a:cubicBezTo>
                    <a:pt x="342730" y="582592"/>
                    <a:pt x="93472" y="485026"/>
                    <a:pt x="35935" y="462295"/>
                  </a:cubicBezTo>
                  <a:lnTo>
                    <a:pt x="133872" y="141470"/>
                  </a:lnTo>
                  <a:cubicBezTo>
                    <a:pt x="247077" y="183922"/>
                    <a:pt x="943961" y="442471"/>
                    <a:pt x="1094866" y="417249"/>
                  </a:cubicBezTo>
                  <a:cubicBezTo>
                    <a:pt x="1163204" y="405936"/>
                    <a:pt x="1261661" y="273807"/>
                    <a:pt x="1396053" y="13182"/>
                  </a:cubicBezTo>
                  <a:lnTo>
                    <a:pt x="1370296" y="0"/>
                  </a:lnTo>
                  <a:lnTo>
                    <a:pt x="1367596" y="5086"/>
                  </a:lnTo>
                  <a:lnTo>
                    <a:pt x="1370712" y="5086"/>
                  </a:lnTo>
                  <a:lnTo>
                    <a:pt x="1374970" y="33733"/>
                  </a:lnTo>
                  <a:lnTo>
                    <a:pt x="1351082" y="37262"/>
                  </a:lnTo>
                  <a:cubicBezTo>
                    <a:pt x="1196335" y="329959"/>
                    <a:pt x="1121661" y="383516"/>
                    <a:pt x="1090504" y="389017"/>
                  </a:cubicBezTo>
                  <a:cubicBezTo>
                    <a:pt x="937730" y="414343"/>
                    <a:pt x="138027" y="112304"/>
                    <a:pt x="129926" y="108775"/>
                  </a:cubicBezTo>
                  <a:lnTo>
                    <a:pt x="115490" y="103378"/>
                  </a:lnTo>
                  <a:lnTo>
                    <a:pt x="0" y="479421"/>
                  </a:lnTo>
                  <a:lnTo>
                    <a:pt x="12359" y="484300"/>
                  </a:lnTo>
                  <a:cubicBezTo>
                    <a:pt x="117047" y="525817"/>
                    <a:pt x="960163" y="859097"/>
                    <a:pt x="1223234" y="859097"/>
                  </a:cubicBezTo>
                  <a:cubicBezTo>
                    <a:pt x="1251275" y="859097"/>
                    <a:pt x="1272774" y="855257"/>
                    <a:pt x="1285548" y="846953"/>
                  </a:cubicBezTo>
                  <a:cubicBezTo>
                    <a:pt x="1334258" y="816438"/>
                    <a:pt x="1419732" y="703926"/>
                    <a:pt x="1546854" y="502879"/>
                  </a:cubicBez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6" name="Freeform 515">
              <a:extLst>
                <a:ext uri="{FF2B5EF4-FFF2-40B4-BE49-F238E27FC236}">
                  <a16:creationId xmlns:a16="http://schemas.microsoft.com/office/drawing/2014/main" id="{3C1500AE-60E8-C54F-9FCA-4FCB076A4080}"/>
                </a:ext>
              </a:extLst>
            </p:cNvPr>
            <p:cNvSpPr/>
            <p:nvPr/>
          </p:nvSpPr>
          <p:spPr>
            <a:xfrm>
              <a:off x="5720106" y="4209547"/>
              <a:ext cx="1163411" cy="1402131"/>
            </a:xfrm>
            <a:custGeom>
              <a:avLst/>
              <a:gdLst>
                <a:gd name="connsiteX0" fmla="*/ 612759 w 1163411"/>
                <a:gd name="connsiteY0" fmla="*/ 1364778 h 1402131"/>
                <a:gd name="connsiteX1" fmla="*/ 394659 w 1163411"/>
                <a:gd name="connsiteY1" fmla="*/ 1024440 h 1402131"/>
                <a:gd name="connsiteX2" fmla="*/ 163783 w 1163411"/>
                <a:gd name="connsiteY2" fmla="*/ 490631 h 1402131"/>
                <a:gd name="connsiteX3" fmla="*/ 37389 w 1163411"/>
                <a:gd name="connsiteY3" fmla="*/ 168872 h 1402131"/>
                <a:gd name="connsiteX4" fmla="*/ 346988 w 1163411"/>
                <a:gd name="connsiteY4" fmla="*/ 37884 h 1402131"/>
                <a:gd name="connsiteX5" fmla="*/ 738427 w 1163411"/>
                <a:gd name="connsiteY5" fmla="*/ 948982 h 1402131"/>
                <a:gd name="connsiteX6" fmla="*/ 932329 w 1163411"/>
                <a:gd name="connsiteY6" fmla="*/ 978044 h 1402131"/>
                <a:gd name="connsiteX7" fmla="*/ 1124258 w 1163411"/>
                <a:gd name="connsiteY7" fmla="*/ 951058 h 1402131"/>
                <a:gd name="connsiteX8" fmla="*/ 1118857 w 1163411"/>
                <a:gd name="connsiteY8" fmla="*/ 922618 h 1402131"/>
                <a:gd name="connsiteX9" fmla="*/ 929317 w 1163411"/>
                <a:gd name="connsiteY9" fmla="*/ 949189 h 1402131"/>
                <a:gd name="connsiteX10" fmla="*/ 927655 w 1163411"/>
                <a:gd name="connsiteY10" fmla="*/ 949189 h 1402131"/>
                <a:gd name="connsiteX11" fmla="*/ 760964 w 1163411"/>
                <a:gd name="connsiteY11" fmla="*/ 930714 h 1402131"/>
                <a:gd name="connsiteX12" fmla="*/ 367760 w 1163411"/>
                <a:gd name="connsiteY12" fmla="*/ 13597 h 1402131"/>
                <a:gd name="connsiteX13" fmla="*/ 362255 w 1163411"/>
                <a:gd name="connsiteY13" fmla="*/ 0 h 1402131"/>
                <a:gd name="connsiteX14" fmla="*/ 320712 w 1163411"/>
                <a:gd name="connsiteY14" fmla="*/ 17541 h 1402131"/>
                <a:gd name="connsiteX15" fmla="*/ 323101 w 1163411"/>
                <a:gd name="connsiteY15" fmla="*/ 29789 h 1402131"/>
                <a:gd name="connsiteX16" fmla="*/ 311573 w 1163411"/>
                <a:gd name="connsiteY16" fmla="*/ 46707 h 1402131"/>
                <a:gd name="connsiteX17" fmla="*/ 308872 w 1163411"/>
                <a:gd name="connsiteY17" fmla="*/ 46707 h 1402131"/>
                <a:gd name="connsiteX18" fmla="*/ 294644 w 1163411"/>
                <a:gd name="connsiteY18" fmla="*/ 34978 h 1402131"/>
                <a:gd name="connsiteX19" fmla="*/ 293501 w 1163411"/>
                <a:gd name="connsiteY19" fmla="*/ 28855 h 1402131"/>
                <a:gd name="connsiteX20" fmla="*/ 69585 w 1163411"/>
                <a:gd name="connsiteY20" fmla="*/ 123306 h 1402131"/>
                <a:gd name="connsiteX21" fmla="*/ 66261 w 1163411"/>
                <a:gd name="connsiteY21" fmla="*/ 136384 h 1402131"/>
                <a:gd name="connsiteX22" fmla="*/ 45874 w 1163411"/>
                <a:gd name="connsiteY22" fmla="*/ 137360 h 1402131"/>
                <a:gd name="connsiteX23" fmla="*/ 45490 w 1163411"/>
                <a:gd name="connsiteY23" fmla="*/ 137007 h 1402131"/>
                <a:gd name="connsiteX24" fmla="*/ 42789 w 1163411"/>
                <a:gd name="connsiteY24" fmla="*/ 134412 h 1402131"/>
                <a:gd name="connsiteX25" fmla="*/ 0 w 1163411"/>
                <a:gd name="connsiteY25" fmla="*/ 152472 h 1402131"/>
                <a:gd name="connsiteX26" fmla="*/ 4881 w 1163411"/>
                <a:gd name="connsiteY26" fmla="*/ 165447 h 1402131"/>
                <a:gd name="connsiteX27" fmla="*/ 136573 w 1163411"/>
                <a:gd name="connsiteY27" fmla="*/ 501529 h 1402131"/>
                <a:gd name="connsiteX28" fmla="*/ 367760 w 1163411"/>
                <a:gd name="connsiteY28" fmla="*/ 1036376 h 1402131"/>
                <a:gd name="connsiteX29" fmla="*/ 603412 w 1163411"/>
                <a:gd name="connsiteY29" fmla="*/ 1392283 h 1402131"/>
                <a:gd name="connsiteX30" fmla="*/ 698026 w 1163411"/>
                <a:gd name="connsiteY30" fmla="*/ 1401832 h 1402131"/>
                <a:gd name="connsiteX31" fmla="*/ 1146898 w 1163411"/>
                <a:gd name="connsiteY31" fmla="*/ 1356786 h 1402131"/>
                <a:gd name="connsiteX32" fmla="*/ 1163412 w 1163411"/>
                <a:gd name="connsiteY32" fmla="*/ 1325025 h 1402131"/>
                <a:gd name="connsiteX33" fmla="*/ 612759 w 1163411"/>
                <a:gd name="connsiteY33" fmla="*/ 1364778 h 1402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163411" h="1402131">
                  <a:moveTo>
                    <a:pt x="612759" y="1364778"/>
                  </a:moveTo>
                  <a:cubicBezTo>
                    <a:pt x="588145" y="1356682"/>
                    <a:pt x="527077" y="1301775"/>
                    <a:pt x="394659" y="1024440"/>
                  </a:cubicBezTo>
                  <a:lnTo>
                    <a:pt x="163783" y="490631"/>
                  </a:lnTo>
                  <a:cubicBezTo>
                    <a:pt x="100742" y="334941"/>
                    <a:pt x="52448" y="208313"/>
                    <a:pt x="37389" y="168872"/>
                  </a:cubicBezTo>
                  <a:lnTo>
                    <a:pt x="346988" y="37884"/>
                  </a:lnTo>
                  <a:cubicBezTo>
                    <a:pt x="402344" y="173750"/>
                    <a:pt x="699065" y="899369"/>
                    <a:pt x="738427" y="948982"/>
                  </a:cubicBezTo>
                  <a:cubicBezTo>
                    <a:pt x="782670" y="1004200"/>
                    <a:pt x="913531" y="981573"/>
                    <a:pt x="932329" y="978044"/>
                  </a:cubicBezTo>
                  <a:cubicBezTo>
                    <a:pt x="996731" y="972377"/>
                    <a:pt x="1060790" y="963378"/>
                    <a:pt x="1124258" y="951058"/>
                  </a:cubicBezTo>
                  <a:lnTo>
                    <a:pt x="1118857" y="922618"/>
                  </a:lnTo>
                  <a:cubicBezTo>
                    <a:pt x="1056190" y="934783"/>
                    <a:pt x="992919" y="943657"/>
                    <a:pt x="929317" y="949189"/>
                  </a:cubicBezTo>
                  <a:lnTo>
                    <a:pt x="927655" y="949189"/>
                  </a:lnTo>
                  <a:cubicBezTo>
                    <a:pt x="891098" y="956351"/>
                    <a:pt x="789940" y="966834"/>
                    <a:pt x="760964" y="930714"/>
                  </a:cubicBezTo>
                  <a:cubicBezTo>
                    <a:pt x="731988" y="894594"/>
                    <a:pt x="510044" y="362550"/>
                    <a:pt x="367760" y="13597"/>
                  </a:cubicBezTo>
                  <a:lnTo>
                    <a:pt x="362255" y="0"/>
                  </a:lnTo>
                  <a:lnTo>
                    <a:pt x="320712" y="17541"/>
                  </a:lnTo>
                  <a:cubicBezTo>
                    <a:pt x="321647" y="22212"/>
                    <a:pt x="322478" y="26467"/>
                    <a:pt x="323101" y="29789"/>
                  </a:cubicBezTo>
                  <a:cubicBezTo>
                    <a:pt x="324555" y="37636"/>
                    <a:pt x="319414" y="45192"/>
                    <a:pt x="311573" y="46707"/>
                  </a:cubicBezTo>
                  <a:lnTo>
                    <a:pt x="308872" y="46707"/>
                  </a:lnTo>
                  <a:cubicBezTo>
                    <a:pt x="301924" y="46728"/>
                    <a:pt x="295942" y="41798"/>
                    <a:pt x="294644" y="34978"/>
                  </a:cubicBezTo>
                  <a:cubicBezTo>
                    <a:pt x="294644" y="32902"/>
                    <a:pt x="293917" y="30930"/>
                    <a:pt x="293501" y="28855"/>
                  </a:cubicBezTo>
                  <a:lnTo>
                    <a:pt x="69585" y="123306"/>
                  </a:lnTo>
                  <a:cubicBezTo>
                    <a:pt x="70789" y="127946"/>
                    <a:pt x="69533" y="132876"/>
                    <a:pt x="66261" y="136384"/>
                  </a:cubicBezTo>
                  <a:cubicBezTo>
                    <a:pt x="60902" y="142280"/>
                    <a:pt x="51773" y="142726"/>
                    <a:pt x="45874" y="137360"/>
                  </a:cubicBezTo>
                  <a:cubicBezTo>
                    <a:pt x="45739" y="137246"/>
                    <a:pt x="45614" y="137132"/>
                    <a:pt x="45490" y="137007"/>
                  </a:cubicBezTo>
                  <a:lnTo>
                    <a:pt x="42789" y="134412"/>
                  </a:lnTo>
                  <a:lnTo>
                    <a:pt x="0" y="152472"/>
                  </a:lnTo>
                  <a:lnTo>
                    <a:pt x="4881" y="165447"/>
                  </a:lnTo>
                  <a:cubicBezTo>
                    <a:pt x="5401" y="166899"/>
                    <a:pt x="60134" y="313041"/>
                    <a:pt x="136573" y="501529"/>
                  </a:cubicBezTo>
                  <a:lnTo>
                    <a:pt x="367760" y="1036376"/>
                  </a:lnTo>
                  <a:cubicBezTo>
                    <a:pt x="525623" y="1366957"/>
                    <a:pt x="584199" y="1385952"/>
                    <a:pt x="603412" y="1392283"/>
                  </a:cubicBezTo>
                  <a:cubicBezTo>
                    <a:pt x="634331" y="1399974"/>
                    <a:pt x="666194" y="1403181"/>
                    <a:pt x="698026" y="1401832"/>
                  </a:cubicBezTo>
                  <a:cubicBezTo>
                    <a:pt x="792433" y="1401832"/>
                    <a:pt x="942611" y="1386782"/>
                    <a:pt x="1146898" y="1356786"/>
                  </a:cubicBezTo>
                  <a:cubicBezTo>
                    <a:pt x="1152299" y="1346479"/>
                    <a:pt x="1157804" y="1335892"/>
                    <a:pt x="1163412" y="1325025"/>
                  </a:cubicBezTo>
                  <a:cubicBezTo>
                    <a:pt x="782462" y="1382008"/>
                    <a:pt x="653575" y="1378063"/>
                    <a:pt x="612759" y="1364778"/>
                  </a:cubicBez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7" name="Freeform 516">
              <a:extLst>
                <a:ext uri="{FF2B5EF4-FFF2-40B4-BE49-F238E27FC236}">
                  <a16:creationId xmlns:a16="http://schemas.microsoft.com/office/drawing/2014/main" id="{D1AA2970-1F02-6146-97F1-B0926917EE20}"/>
                </a:ext>
              </a:extLst>
            </p:cNvPr>
            <p:cNvSpPr/>
            <p:nvPr/>
          </p:nvSpPr>
          <p:spPr>
            <a:xfrm>
              <a:off x="6867939" y="5534468"/>
              <a:ext cx="23887" cy="31760"/>
            </a:xfrm>
            <a:custGeom>
              <a:avLst/>
              <a:gdLst>
                <a:gd name="connsiteX0" fmla="*/ 19629 w 23887"/>
                <a:gd name="connsiteY0" fmla="*/ 0 h 31760"/>
                <a:gd name="connsiteX1" fmla="*/ 16514 w 23887"/>
                <a:gd name="connsiteY1" fmla="*/ 0 h 31760"/>
                <a:gd name="connsiteX2" fmla="*/ 0 w 23887"/>
                <a:gd name="connsiteY2" fmla="*/ 31761 h 31760"/>
                <a:gd name="connsiteX3" fmla="*/ 23887 w 23887"/>
                <a:gd name="connsiteY3" fmla="*/ 28232 h 31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887" h="31760">
                  <a:moveTo>
                    <a:pt x="19629" y="0"/>
                  </a:moveTo>
                  <a:lnTo>
                    <a:pt x="16514" y="0"/>
                  </a:lnTo>
                  <a:cubicBezTo>
                    <a:pt x="10905" y="10930"/>
                    <a:pt x="5401" y="21516"/>
                    <a:pt x="0" y="31761"/>
                  </a:cubicBezTo>
                  <a:lnTo>
                    <a:pt x="23887" y="28232"/>
                  </a:ln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8" name="Freeform 517">
              <a:extLst>
                <a:ext uri="{FF2B5EF4-FFF2-40B4-BE49-F238E27FC236}">
                  <a16:creationId xmlns:a16="http://schemas.microsoft.com/office/drawing/2014/main" id="{5FF16C8A-DCE9-3147-8443-559485403822}"/>
                </a:ext>
              </a:extLst>
            </p:cNvPr>
            <p:cNvSpPr/>
            <p:nvPr/>
          </p:nvSpPr>
          <p:spPr>
            <a:xfrm>
              <a:off x="5763518" y="4333580"/>
              <a:ext cx="26932" cy="17646"/>
            </a:xfrm>
            <a:custGeom>
              <a:avLst/>
              <a:gdLst>
                <a:gd name="connsiteX0" fmla="*/ 12774 w 26932"/>
                <a:gd name="connsiteY0" fmla="*/ 17645 h 17646"/>
                <a:gd name="connsiteX1" fmla="*/ 23160 w 26932"/>
                <a:gd name="connsiteY1" fmla="*/ 13078 h 17646"/>
                <a:gd name="connsiteX2" fmla="*/ 26484 w 26932"/>
                <a:gd name="connsiteY2" fmla="*/ 0 h 17646"/>
                <a:gd name="connsiteX3" fmla="*/ 0 w 26932"/>
                <a:gd name="connsiteY3" fmla="*/ 11106 h 17646"/>
                <a:gd name="connsiteX4" fmla="*/ 2700 w 26932"/>
                <a:gd name="connsiteY4" fmla="*/ 13701 h 17646"/>
                <a:gd name="connsiteX5" fmla="*/ 12774 w 26932"/>
                <a:gd name="connsiteY5" fmla="*/ 17645 h 17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932" h="17646">
                  <a:moveTo>
                    <a:pt x="12774" y="17645"/>
                  </a:moveTo>
                  <a:cubicBezTo>
                    <a:pt x="16721" y="17614"/>
                    <a:pt x="20470" y="15964"/>
                    <a:pt x="23160" y="13078"/>
                  </a:cubicBezTo>
                  <a:cubicBezTo>
                    <a:pt x="26432" y="9570"/>
                    <a:pt x="27688" y="4640"/>
                    <a:pt x="26484" y="0"/>
                  </a:cubicBezTo>
                  <a:lnTo>
                    <a:pt x="0" y="11106"/>
                  </a:lnTo>
                  <a:lnTo>
                    <a:pt x="2700" y="13701"/>
                  </a:lnTo>
                  <a:cubicBezTo>
                    <a:pt x="5411" y="16285"/>
                    <a:pt x="9025" y="17697"/>
                    <a:pt x="12774" y="17645"/>
                  </a:cubicBez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9" name="Freeform 518">
              <a:extLst>
                <a:ext uri="{FF2B5EF4-FFF2-40B4-BE49-F238E27FC236}">
                  <a16:creationId xmlns:a16="http://schemas.microsoft.com/office/drawing/2014/main" id="{87EF5092-EEDD-1F4E-BA5F-B549F3FBB017}"/>
                </a:ext>
              </a:extLst>
            </p:cNvPr>
            <p:cNvSpPr/>
            <p:nvPr/>
          </p:nvSpPr>
          <p:spPr>
            <a:xfrm>
              <a:off x="5523607" y="4086344"/>
              <a:ext cx="266186" cy="258549"/>
            </a:xfrm>
            <a:custGeom>
              <a:avLst/>
              <a:gdLst>
                <a:gd name="connsiteX0" fmla="*/ 262240 w 266186"/>
                <a:gd name="connsiteY0" fmla="*/ 239347 h 258549"/>
                <a:gd name="connsiteX1" fmla="*/ 51929 w 266186"/>
                <a:gd name="connsiteY1" fmla="*/ 42140 h 258549"/>
                <a:gd name="connsiteX2" fmla="*/ 31988 w 266186"/>
                <a:gd name="connsiteY2" fmla="*/ 0 h 258549"/>
                <a:gd name="connsiteX3" fmla="*/ 0 w 266186"/>
                <a:gd name="connsiteY3" fmla="*/ 0 h 258549"/>
                <a:gd name="connsiteX4" fmla="*/ 26899 w 266186"/>
                <a:gd name="connsiteY4" fmla="*/ 57086 h 258549"/>
                <a:gd name="connsiteX5" fmla="*/ 30119 w 266186"/>
                <a:gd name="connsiteY5" fmla="*/ 61342 h 258549"/>
                <a:gd name="connsiteX6" fmla="*/ 239703 w 266186"/>
                <a:gd name="connsiteY6" fmla="*/ 258549 h 258549"/>
                <a:gd name="connsiteX7" fmla="*/ 266187 w 266186"/>
                <a:gd name="connsiteY7" fmla="*/ 247443 h 258549"/>
                <a:gd name="connsiteX8" fmla="*/ 262240 w 266186"/>
                <a:gd name="connsiteY8" fmla="*/ 239347 h 258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6186" h="258549">
                  <a:moveTo>
                    <a:pt x="262240" y="239347"/>
                  </a:moveTo>
                  <a:lnTo>
                    <a:pt x="51929" y="42140"/>
                  </a:lnTo>
                  <a:lnTo>
                    <a:pt x="31988" y="0"/>
                  </a:lnTo>
                  <a:lnTo>
                    <a:pt x="0" y="0"/>
                  </a:lnTo>
                  <a:lnTo>
                    <a:pt x="26899" y="57086"/>
                  </a:lnTo>
                  <a:cubicBezTo>
                    <a:pt x="27699" y="58695"/>
                    <a:pt x="28789" y="60138"/>
                    <a:pt x="30119" y="61342"/>
                  </a:cubicBezTo>
                  <a:lnTo>
                    <a:pt x="239703" y="258549"/>
                  </a:lnTo>
                  <a:lnTo>
                    <a:pt x="266187" y="247443"/>
                  </a:lnTo>
                  <a:cubicBezTo>
                    <a:pt x="265771" y="244392"/>
                    <a:pt x="264390" y="241548"/>
                    <a:pt x="262240" y="239347"/>
                  </a:cubicBez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0" name="Freeform 519">
              <a:extLst>
                <a:ext uri="{FF2B5EF4-FFF2-40B4-BE49-F238E27FC236}">
                  <a16:creationId xmlns:a16="http://schemas.microsoft.com/office/drawing/2014/main" id="{6302AE6B-1ABB-EF4D-B589-B2B6015037B4}"/>
                </a:ext>
              </a:extLst>
            </p:cNvPr>
            <p:cNvSpPr/>
            <p:nvPr/>
          </p:nvSpPr>
          <p:spPr>
            <a:xfrm>
              <a:off x="5356851" y="3683107"/>
              <a:ext cx="89486" cy="245471"/>
            </a:xfrm>
            <a:custGeom>
              <a:avLst/>
              <a:gdLst>
                <a:gd name="connsiteX0" fmla="*/ 30911 w 89486"/>
                <a:gd name="connsiteY0" fmla="*/ 62172 h 245471"/>
                <a:gd name="connsiteX1" fmla="*/ 69753 w 89486"/>
                <a:gd name="connsiteY1" fmla="*/ 28855 h 245471"/>
                <a:gd name="connsiteX2" fmla="*/ 69753 w 89486"/>
                <a:gd name="connsiteY2" fmla="*/ 28855 h 245471"/>
                <a:gd name="connsiteX3" fmla="*/ 89486 w 89486"/>
                <a:gd name="connsiteY3" fmla="*/ 41829 h 245471"/>
                <a:gd name="connsiteX4" fmla="*/ 89486 w 89486"/>
                <a:gd name="connsiteY4" fmla="*/ 6331 h 245471"/>
                <a:gd name="connsiteX5" fmla="*/ 70169 w 89486"/>
                <a:gd name="connsiteY5" fmla="*/ 0 h 245471"/>
                <a:gd name="connsiteX6" fmla="*/ 69546 w 89486"/>
                <a:gd name="connsiteY6" fmla="*/ 0 h 245471"/>
                <a:gd name="connsiteX7" fmla="*/ 1519 w 89486"/>
                <a:gd name="connsiteY7" fmla="*/ 54699 h 245471"/>
                <a:gd name="connsiteX8" fmla="*/ 1519 w 89486"/>
                <a:gd name="connsiteY8" fmla="*/ 67673 h 245471"/>
                <a:gd name="connsiteX9" fmla="*/ 86163 w 89486"/>
                <a:gd name="connsiteY9" fmla="*/ 245471 h 245471"/>
                <a:gd name="connsiteX10" fmla="*/ 86163 w 89486"/>
                <a:gd name="connsiteY10" fmla="*/ 178005 h 245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9486" h="245471">
                  <a:moveTo>
                    <a:pt x="30911" y="62172"/>
                  </a:moveTo>
                  <a:cubicBezTo>
                    <a:pt x="39635" y="48471"/>
                    <a:pt x="55940" y="28855"/>
                    <a:pt x="69753" y="28855"/>
                  </a:cubicBezTo>
                  <a:lnTo>
                    <a:pt x="69753" y="28855"/>
                  </a:lnTo>
                  <a:cubicBezTo>
                    <a:pt x="77574" y="30910"/>
                    <a:pt x="84501" y="35466"/>
                    <a:pt x="89486" y="41829"/>
                  </a:cubicBezTo>
                  <a:lnTo>
                    <a:pt x="89486" y="6331"/>
                  </a:lnTo>
                  <a:cubicBezTo>
                    <a:pt x="83411" y="3238"/>
                    <a:pt x="76899" y="1100"/>
                    <a:pt x="70169" y="0"/>
                  </a:cubicBezTo>
                  <a:lnTo>
                    <a:pt x="69546" y="0"/>
                  </a:lnTo>
                  <a:cubicBezTo>
                    <a:pt x="31949" y="0"/>
                    <a:pt x="4531" y="48990"/>
                    <a:pt x="1519" y="54699"/>
                  </a:cubicBezTo>
                  <a:cubicBezTo>
                    <a:pt x="-506" y="58789"/>
                    <a:pt x="-506" y="63584"/>
                    <a:pt x="1519" y="67673"/>
                  </a:cubicBezTo>
                  <a:lnTo>
                    <a:pt x="86163" y="245471"/>
                  </a:lnTo>
                  <a:lnTo>
                    <a:pt x="86163" y="178005"/>
                  </a:ln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1" name="Freeform 520">
              <a:extLst>
                <a:ext uri="{FF2B5EF4-FFF2-40B4-BE49-F238E27FC236}">
                  <a16:creationId xmlns:a16="http://schemas.microsoft.com/office/drawing/2014/main" id="{B2C39ED7-9991-CF4B-8D15-BD0D3207DF53}"/>
                </a:ext>
              </a:extLst>
            </p:cNvPr>
            <p:cNvSpPr/>
            <p:nvPr/>
          </p:nvSpPr>
          <p:spPr>
            <a:xfrm>
              <a:off x="5835156" y="3840246"/>
              <a:ext cx="205765" cy="398154"/>
            </a:xfrm>
            <a:custGeom>
              <a:avLst/>
              <a:gdLst>
                <a:gd name="connsiteX0" fmla="*/ 72205 w 205765"/>
                <a:gd name="connsiteY0" fmla="*/ 3118 h 398154"/>
                <a:gd name="connsiteX1" fmla="*/ 44163 w 205765"/>
                <a:gd name="connsiteY1" fmla="*/ 3740 h 398154"/>
                <a:gd name="connsiteX2" fmla="*/ 30662 w 205765"/>
                <a:gd name="connsiteY2" fmla="*/ 236030 h 398154"/>
                <a:gd name="connsiteX3" fmla="*/ 49564 w 205765"/>
                <a:gd name="connsiteY3" fmla="*/ 243814 h 398154"/>
                <a:gd name="connsiteX4" fmla="*/ 57353 w 205765"/>
                <a:gd name="connsiteY4" fmla="*/ 224924 h 398154"/>
                <a:gd name="connsiteX5" fmla="*/ 58080 w 205765"/>
                <a:gd name="connsiteY5" fmla="*/ 29066 h 398154"/>
                <a:gd name="connsiteX6" fmla="*/ 59846 w 205765"/>
                <a:gd name="connsiteY6" fmla="*/ 29066 h 398154"/>
                <a:gd name="connsiteX7" fmla="*/ 178555 w 205765"/>
                <a:gd name="connsiteY7" fmla="*/ 398155 h 398154"/>
                <a:gd name="connsiteX8" fmla="*/ 205766 w 205765"/>
                <a:gd name="connsiteY8" fmla="*/ 386634 h 398154"/>
                <a:gd name="connsiteX9" fmla="*/ 72205 w 205765"/>
                <a:gd name="connsiteY9" fmla="*/ 3118 h 398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5765" h="398154">
                  <a:moveTo>
                    <a:pt x="72205" y="3118"/>
                  </a:moveTo>
                  <a:cubicBezTo>
                    <a:pt x="63315" y="-1252"/>
                    <a:pt x="52856" y="-1013"/>
                    <a:pt x="44163" y="3740"/>
                  </a:cubicBezTo>
                  <a:cubicBezTo>
                    <a:pt x="-44739" y="52212"/>
                    <a:pt x="27546" y="228557"/>
                    <a:pt x="30662" y="236030"/>
                  </a:cubicBezTo>
                  <a:cubicBezTo>
                    <a:pt x="33726" y="243399"/>
                    <a:pt x="42190" y="246876"/>
                    <a:pt x="49564" y="243814"/>
                  </a:cubicBezTo>
                  <a:cubicBezTo>
                    <a:pt x="56938" y="240752"/>
                    <a:pt x="60417" y="232293"/>
                    <a:pt x="57353" y="224924"/>
                  </a:cubicBezTo>
                  <a:cubicBezTo>
                    <a:pt x="38971" y="180604"/>
                    <a:pt x="3140" y="58855"/>
                    <a:pt x="58080" y="29066"/>
                  </a:cubicBezTo>
                  <a:cubicBezTo>
                    <a:pt x="58600" y="29066"/>
                    <a:pt x="58704" y="29066"/>
                    <a:pt x="59846" y="29066"/>
                  </a:cubicBezTo>
                  <a:cubicBezTo>
                    <a:pt x="96092" y="46192"/>
                    <a:pt x="150514" y="253052"/>
                    <a:pt x="178555" y="398155"/>
                  </a:cubicBezTo>
                  <a:lnTo>
                    <a:pt x="205766" y="386634"/>
                  </a:lnTo>
                  <a:cubicBezTo>
                    <a:pt x="190395" y="305571"/>
                    <a:pt x="132235" y="31453"/>
                    <a:pt x="72205" y="3118"/>
                  </a:cubicBez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2" name="Freeform 521">
              <a:extLst>
                <a:ext uri="{FF2B5EF4-FFF2-40B4-BE49-F238E27FC236}">
                  <a16:creationId xmlns:a16="http://schemas.microsoft.com/office/drawing/2014/main" id="{749DFE00-4509-AA47-BAAB-AED39700ABE6}"/>
                </a:ext>
              </a:extLst>
            </p:cNvPr>
            <p:cNvSpPr/>
            <p:nvPr/>
          </p:nvSpPr>
          <p:spPr>
            <a:xfrm>
              <a:off x="6013711" y="4227295"/>
              <a:ext cx="29845" cy="29166"/>
            </a:xfrm>
            <a:custGeom>
              <a:avLst/>
              <a:gdLst>
                <a:gd name="connsiteX0" fmla="*/ 15371 w 29845"/>
                <a:gd name="connsiteY0" fmla="*/ 29166 h 29166"/>
                <a:gd name="connsiteX1" fmla="*/ 18071 w 29845"/>
                <a:gd name="connsiteY1" fmla="*/ 29166 h 29166"/>
                <a:gd name="connsiteX2" fmla="*/ 29599 w 29845"/>
                <a:gd name="connsiteY2" fmla="*/ 12248 h 29166"/>
                <a:gd name="connsiteX3" fmla="*/ 27211 w 29845"/>
                <a:gd name="connsiteY3" fmla="*/ 0 h 29166"/>
                <a:gd name="connsiteX4" fmla="*/ 0 w 29845"/>
                <a:gd name="connsiteY4" fmla="*/ 11521 h 29166"/>
                <a:gd name="connsiteX5" fmla="*/ 1142 w 29845"/>
                <a:gd name="connsiteY5" fmla="*/ 17645 h 29166"/>
                <a:gd name="connsiteX6" fmla="*/ 15371 w 29845"/>
                <a:gd name="connsiteY6" fmla="*/ 29166 h 29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845" h="29166">
                  <a:moveTo>
                    <a:pt x="15371" y="29166"/>
                  </a:moveTo>
                  <a:lnTo>
                    <a:pt x="18071" y="29166"/>
                  </a:lnTo>
                  <a:cubicBezTo>
                    <a:pt x="25912" y="27651"/>
                    <a:pt x="31053" y="20094"/>
                    <a:pt x="29599" y="12248"/>
                  </a:cubicBezTo>
                  <a:cubicBezTo>
                    <a:pt x="28976" y="8926"/>
                    <a:pt x="28145" y="4671"/>
                    <a:pt x="27211" y="0"/>
                  </a:cubicBezTo>
                  <a:lnTo>
                    <a:pt x="0" y="11521"/>
                  </a:lnTo>
                  <a:cubicBezTo>
                    <a:pt x="0" y="13597"/>
                    <a:pt x="831" y="15569"/>
                    <a:pt x="1142" y="17645"/>
                  </a:cubicBezTo>
                  <a:cubicBezTo>
                    <a:pt x="2534" y="24381"/>
                    <a:pt x="8485" y="29207"/>
                    <a:pt x="15371" y="29166"/>
                  </a:cubicBez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3" name="Freeform 522">
              <a:extLst>
                <a:ext uri="{FF2B5EF4-FFF2-40B4-BE49-F238E27FC236}">
                  <a16:creationId xmlns:a16="http://schemas.microsoft.com/office/drawing/2014/main" id="{F097E1E7-8CCB-CC4C-BD05-855750EF2207}"/>
                </a:ext>
              </a:extLst>
            </p:cNvPr>
            <p:cNvSpPr/>
            <p:nvPr/>
          </p:nvSpPr>
          <p:spPr>
            <a:xfrm>
              <a:off x="5986916" y="4325484"/>
              <a:ext cx="60445" cy="60407"/>
            </a:xfrm>
            <a:custGeom>
              <a:avLst/>
              <a:gdLst>
                <a:gd name="connsiteX0" fmla="*/ 60445 w 60445"/>
                <a:gd name="connsiteY0" fmla="*/ 30204 h 60407"/>
                <a:gd name="connsiteX1" fmla="*/ 30223 w 60445"/>
                <a:gd name="connsiteY1" fmla="*/ 60408 h 60407"/>
                <a:gd name="connsiteX2" fmla="*/ 0 w 60445"/>
                <a:gd name="connsiteY2" fmla="*/ 30204 h 60407"/>
                <a:gd name="connsiteX3" fmla="*/ 30223 w 60445"/>
                <a:gd name="connsiteY3" fmla="*/ 0 h 60407"/>
                <a:gd name="connsiteX4" fmla="*/ 60445 w 60445"/>
                <a:gd name="connsiteY4" fmla="*/ 30204 h 60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445" h="60407">
                  <a:moveTo>
                    <a:pt x="60445" y="30204"/>
                  </a:moveTo>
                  <a:cubicBezTo>
                    <a:pt x="60445" y="46885"/>
                    <a:pt x="46914" y="60408"/>
                    <a:pt x="30223" y="60408"/>
                  </a:cubicBezTo>
                  <a:cubicBezTo>
                    <a:pt x="13531" y="60408"/>
                    <a:pt x="0" y="46885"/>
                    <a:pt x="0" y="30204"/>
                  </a:cubicBezTo>
                  <a:cubicBezTo>
                    <a:pt x="0" y="13523"/>
                    <a:pt x="13531" y="0"/>
                    <a:pt x="30223" y="0"/>
                  </a:cubicBezTo>
                  <a:cubicBezTo>
                    <a:pt x="46914" y="0"/>
                    <a:pt x="60445" y="13523"/>
                    <a:pt x="60445" y="30204"/>
                  </a:cubicBez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4" name="Freeform 523">
              <a:extLst>
                <a:ext uri="{FF2B5EF4-FFF2-40B4-BE49-F238E27FC236}">
                  <a16:creationId xmlns:a16="http://schemas.microsoft.com/office/drawing/2014/main" id="{B06AF56E-58D6-E84D-896B-2FFA6F7C4050}"/>
                </a:ext>
              </a:extLst>
            </p:cNvPr>
            <p:cNvSpPr/>
            <p:nvPr/>
          </p:nvSpPr>
          <p:spPr>
            <a:xfrm>
              <a:off x="7290327" y="5276434"/>
              <a:ext cx="23677" cy="36759"/>
            </a:xfrm>
            <a:custGeom>
              <a:avLst/>
              <a:gdLst>
                <a:gd name="connsiteX0" fmla="*/ 23576 w 23677"/>
                <a:gd name="connsiteY0" fmla="*/ 522 h 36759"/>
                <a:gd name="connsiteX1" fmla="*/ 23576 w 23677"/>
                <a:gd name="connsiteY1" fmla="*/ 1560 h 36759"/>
                <a:gd name="connsiteX2" fmla="*/ 23576 w 23677"/>
                <a:gd name="connsiteY2" fmla="*/ 35189 h 36759"/>
                <a:gd name="connsiteX3" fmla="*/ 22122 w 23677"/>
                <a:gd name="connsiteY3" fmla="*/ 36643 h 36759"/>
                <a:gd name="connsiteX4" fmla="*/ 21084 w 23677"/>
                <a:gd name="connsiteY4" fmla="*/ 36643 h 36759"/>
                <a:gd name="connsiteX5" fmla="*/ 20565 w 23677"/>
                <a:gd name="connsiteY5" fmla="*/ 35605 h 36759"/>
                <a:gd name="connsiteX6" fmla="*/ 20565 w 23677"/>
                <a:gd name="connsiteY6" fmla="*/ 20866 h 36759"/>
                <a:gd name="connsiteX7" fmla="*/ 16929 w 23677"/>
                <a:gd name="connsiteY7" fmla="*/ 24706 h 36759"/>
                <a:gd name="connsiteX8" fmla="*/ 11529 w 23677"/>
                <a:gd name="connsiteY8" fmla="*/ 26263 h 36759"/>
                <a:gd name="connsiteX9" fmla="*/ 5609 w 23677"/>
                <a:gd name="connsiteY9" fmla="*/ 24499 h 36759"/>
                <a:gd name="connsiteX10" fmla="*/ 1455 w 23677"/>
                <a:gd name="connsiteY10" fmla="*/ 19828 h 36759"/>
                <a:gd name="connsiteX11" fmla="*/ 1 w 23677"/>
                <a:gd name="connsiteY11" fmla="*/ 13081 h 36759"/>
                <a:gd name="connsiteX12" fmla="*/ 1455 w 23677"/>
                <a:gd name="connsiteY12" fmla="*/ 6335 h 36759"/>
                <a:gd name="connsiteX13" fmla="*/ 5609 w 23677"/>
                <a:gd name="connsiteY13" fmla="*/ 1664 h 36759"/>
                <a:gd name="connsiteX14" fmla="*/ 11529 w 23677"/>
                <a:gd name="connsiteY14" fmla="*/ 4 h 36759"/>
                <a:gd name="connsiteX15" fmla="*/ 16825 w 23677"/>
                <a:gd name="connsiteY15" fmla="*/ 1457 h 36759"/>
                <a:gd name="connsiteX16" fmla="*/ 20565 w 23677"/>
                <a:gd name="connsiteY16" fmla="*/ 5193 h 36759"/>
                <a:gd name="connsiteX17" fmla="*/ 20565 w 23677"/>
                <a:gd name="connsiteY17" fmla="*/ 1975 h 36759"/>
                <a:gd name="connsiteX18" fmla="*/ 21084 w 23677"/>
                <a:gd name="connsiteY18" fmla="*/ 938 h 36759"/>
                <a:gd name="connsiteX19" fmla="*/ 22122 w 23677"/>
                <a:gd name="connsiteY19" fmla="*/ 419 h 36759"/>
                <a:gd name="connsiteX20" fmla="*/ 23576 w 23677"/>
                <a:gd name="connsiteY20" fmla="*/ 522 h 36759"/>
                <a:gd name="connsiteX21" fmla="*/ 16825 w 23677"/>
                <a:gd name="connsiteY21" fmla="*/ 21281 h 36759"/>
                <a:gd name="connsiteX22" fmla="*/ 20045 w 23677"/>
                <a:gd name="connsiteY22" fmla="*/ 17544 h 36759"/>
                <a:gd name="connsiteX23" fmla="*/ 20045 w 23677"/>
                <a:gd name="connsiteY23" fmla="*/ 7165 h 36759"/>
                <a:gd name="connsiteX24" fmla="*/ 16825 w 23677"/>
                <a:gd name="connsiteY24" fmla="*/ 3429 h 36759"/>
                <a:gd name="connsiteX25" fmla="*/ 5069 w 23677"/>
                <a:gd name="connsiteY25" fmla="*/ 6044 h 36759"/>
                <a:gd name="connsiteX26" fmla="*/ 4466 w 23677"/>
                <a:gd name="connsiteY26" fmla="*/ 7165 h 36759"/>
                <a:gd name="connsiteX27" fmla="*/ 4466 w 23677"/>
                <a:gd name="connsiteY27" fmla="*/ 17544 h 36759"/>
                <a:gd name="connsiteX28" fmla="*/ 7686 w 23677"/>
                <a:gd name="connsiteY28" fmla="*/ 21281 h 36759"/>
                <a:gd name="connsiteX29" fmla="*/ 16825 w 23677"/>
                <a:gd name="connsiteY29" fmla="*/ 21281 h 36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3677" h="36759">
                  <a:moveTo>
                    <a:pt x="23576" y="522"/>
                  </a:moveTo>
                  <a:cubicBezTo>
                    <a:pt x="23711" y="854"/>
                    <a:pt x="23711" y="1228"/>
                    <a:pt x="23576" y="1560"/>
                  </a:cubicBezTo>
                  <a:lnTo>
                    <a:pt x="23576" y="35189"/>
                  </a:lnTo>
                  <a:cubicBezTo>
                    <a:pt x="23576" y="35989"/>
                    <a:pt x="22922" y="36643"/>
                    <a:pt x="22122" y="36643"/>
                  </a:cubicBezTo>
                  <a:cubicBezTo>
                    <a:pt x="21790" y="36798"/>
                    <a:pt x="21416" y="36798"/>
                    <a:pt x="21084" y="36643"/>
                  </a:cubicBezTo>
                  <a:cubicBezTo>
                    <a:pt x="20772" y="36383"/>
                    <a:pt x="20585" y="36009"/>
                    <a:pt x="20565" y="35605"/>
                  </a:cubicBezTo>
                  <a:lnTo>
                    <a:pt x="20565" y="20866"/>
                  </a:lnTo>
                  <a:cubicBezTo>
                    <a:pt x="19702" y="22433"/>
                    <a:pt x="18456" y="23762"/>
                    <a:pt x="16929" y="24706"/>
                  </a:cubicBezTo>
                  <a:cubicBezTo>
                    <a:pt x="15309" y="25713"/>
                    <a:pt x="13440" y="26253"/>
                    <a:pt x="11529" y="26263"/>
                  </a:cubicBezTo>
                  <a:cubicBezTo>
                    <a:pt x="9421" y="26284"/>
                    <a:pt x="7354" y="25672"/>
                    <a:pt x="5609" y="24499"/>
                  </a:cubicBezTo>
                  <a:cubicBezTo>
                    <a:pt x="3843" y="23326"/>
                    <a:pt x="2410" y="21717"/>
                    <a:pt x="1455" y="19828"/>
                  </a:cubicBezTo>
                  <a:cubicBezTo>
                    <a:pt x="478" y="17711"/>
                    <a:pt x="-20" y="15406"/>
                    <a:pt x="1" y="13081"/>
                  </a:cubicBezTo>
                  <a:cubicBezTo>
                    <a:pt x="-10" y="10756"/>
                    <a:pt x="489" y="8452"/>
                    <a:pt x="1455" y="6335"/>
                  </a:cubicBezTo>
                  <a:cubicBezTo>
                    <a:pt x="2410" y="4446"/>
                    <a:pt x="3843" y="2837"/>
                    <a:pt x="5609" y="1664"/>
                  </a:cubicBezTo>
                  <a:cubicBezTo>
                    <a:pt x="7374" y="522"/>
                    <a:pt x="9431" y="-48"/>
                    <a:pt x="11529" y="4"/>
                  </a:cubicBezTo>
                  <a:cubicBezTo>
                    <a:pt x="13398" y="-48"/>
                    <a:pt x="15247" y="460"/>
                    <a:pt x="16825" y="1457"/>
                  </a:cubicBezTo>
                  <a:cubicBezTo>
                    <a:pt x="18415" y="2308"/>
                    <a:pt x="19713" y="3605"/>
                    <a:pt x="20565" y="5193"/>
                  </a:cubicBezTo>
                  <a:lnTo>
                    <a:pt x="20565" y="1975"/>
                  </a:lnTo>
                  <a:cubicBezTo>
                    <a:pt x="20585" y="1571"/>
                    <a:pt x="20772" y="1197"/>
                    <a:pt x="21084" y="938"/>
                  </a:cubicBezTo>
                  <a:cubicBezTo>
                    <a:pt x="21323" y="605"/>
                    <a:pt x="21707" y="408"/>
                    <a:pt x="22122" y="419"/>
                  </a:cubicBezTo>
                  <a:cubicBezTo>
                    <a:pt x="22589" y="190"/>
                    <a:pt x="23140" y="232"/>
                    <a:pt x="23576" y="522"/>
                  </a:cubicBezTo>
                  <a:close/>
                  <a:moveTo>
                    <a:pt x="16825" y="21281"/>
                  </a:moveTo>
                  <a:cubicBezTo>
                    <a:pt x="18259" y="20399"/>
                    <a:pt x="19380" y="19091"/>
                    <a:pt x="20045" y="17544"/>
                  </a:cubicBezTo>
                  <a:cubicBezTo>
                    <a:pt x="21499" y="14233"/>
                    <a:pt x="21499" y="10476"/>
                    <a:pt x="20045" y="7165"/>
                  </a:cubicBezTo>
                  <a:cubicBezTo>
                    <a:pt x="19328" y="5650"/>
                    <a:pt x="18217" y="4363"/>
                    <a:pt x="16825" y="3429"/>
                  </a:cubicBezTo>
                  <a:cubicBezTo>
                    <a:pt x="12858" y="906"/>
                    <a:pt x="7592" y="2079"/>
                    <a:pt x="5069" y="6044"/>
                  </a:cubicBezTo>
                  <a:cubicBezTo>
                    <a:pt x="4840" y="6397"/>
                    <a:pt x="4643" y="6781"/>
                    <a:pt x="4466" y="7165"/>
                  </a:cubicBezTo>
                  <a:cubicBezTo>
                    <a:pt x="3013" y="10476"/>
                    <a:pt x="3013" y="14244"/>
                    <a:pt x="4466" y="17544"/>
                  </a:cubicBezTo>
                  <a:cubicBezTo>
                    <a:pt x="5152" y="19081"/>
                    <a:pt x="6274" y="20378"/>
                    <a:pt x="7686" y="21281"/>
                  </a:cubicBezTo>
                  <a:cubicBezTo>
                    <a:pt x="10469" y="23077"/>
                    <a:pt x="14042" y="23077"/>
                    <a:pt x="16825" y="21281"/>
                  </a:cubicBez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5" name="Freeform 524">
              <a:extLst>
                <a:ext uri="{FF2B5EF4-FFF2-40B4-BE49-F238E27FC236}">
                  <a16:creationId xmlns:a16="http://schemas.microsoft.com/office/drawing/2014/main" id="{43D68604-2182-FF4E-9842-84781FDBE856}"/>
                </a:ext>
              </a:extLst>
            </p:cNvPr>
            <p:cNvSpPr/>
            <p:nvPr/>
          </p:nvSpPr>
          <p:spPr>
            <a:xfrm>
              <a:off x="7321569" y="5276844"/>
              <a:ext cx="20477" cy="25236"/>
            </a:xfrm>
            <a:custGeom>
              <a:avLst/>
              <a:gdLst>
                <a:gd name="connsiteX0" fmla="*/ 20376 w 20477"/>
                <a:gd name="connsiteY0" fmla="*/ 321 h 25236"/>
                <a:gd name="connsiteX1" fmla="*/ 20376 w 20477"/>
                <a:gd name="connsiteY1" fmla="*/ 1359 h 25236"/>
                <a:gd name="connsiteX2" fmla="*/ 20376 w 20477"/>
                <a:gd name="connsiteY2" fmla="*/ 15267 h 25236"/>
                <a:gd name="connsiteX3" fmla="*/ 17676 w 20477"/>
                <a:gd name="connsiteY3" fmla="*/ 22636 h 25236"/>
                <a:gd name="connsiteX4" fmla="*/ 2720 w 20477"/>
                <a:gd name="connsiteY4" fmla="*/ 22636 h 25236"/>
                <a:gd name="connsiteX5" fmla="*/ 20 w 20477"/>
                <a:gd name="connsiteY5" fmla="*/ 15267 h 25236"/>
                <a:gd name="connsiteX6" fmla="*/ 20 w 20477"/>
                <a:gd name="connsiteY6" fmla="*/ 1359 h 25236"/>
                <a:gd name="connsiteX7" fmla="*/ 539 w 20477"/>
                <a:gd name="connsiteY7" fmla="*/ 321 h 25236"/>
                <a:gd name="connsiteX8" fmla="*/ 1578 w 20477"/>
                <a:gd name="connsiteY8" fmla="*/ 321 h 25236"/>
                <a:gd name="connsiteX9" fmla="*/ 3032 w 20477"/>
                <a:gd name="connsiteY9" fmla="*/ 1774 h 25236"/>
                <a:gd name="connsiteX10" fmla="*/ 3032 w 20477"/>
                <a:gd name="connsiteY10" fmla="*/ 15682 h 25236"/>
                <a:gd name="connsiteX11" fmla="*/ 4902 w 20477"/>
                <a:gd name="connsiteY11" fmla="*/ 21079 h 25236"/>
                <a:gd name="connsiteX12" fmla="*/ 15287 w 20477"/>
                <a:gd name="connsiteY12" fmla="*/ 21079 h 25236"/>
                <a:gd name="connsiteX13" fmla="*/ 17261 w 20477"/>
                <a:gd name="connsiteY13" fmla="*/ 15682 h 25236"/>
                <a:gd name="connsiteX14" fmla="*/ 17261 w 20477"/>
                <a:gd name="connsiteY14" fmla="*/ 1774 h 25236"/>
                <a:gd name="connsiteX15" fmla="*/ 17261 w 20477"/>
                <a:gd name="connsiteY15" fmla="*/ 736 h 25236"/>
                <a:gd name="connsiteX16" fmla="*/ 18299 w 20477"/>
                <a:gd name="connsiteY16" fmla="*/ 736 h 25236"/>
                <a:gd name="connsiteX17" fmla="*/ 20117 w 20477"/>
                <a:gd name="connsiteY17" fmla="*/ 144 h 25236"/>
                <a:gd name="connsiteX18" fmla="*/ 20376 w 20477"/>
                <a:gd name="connsiteY18" fmla="*/ 321 h 25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0477" h="25236">
                  <a:moveTo>
                    <a:pt x="20376" y="321"/>
                  </a:moveTo>
                  <a:cubicBezTo>
                    <a:pt x="20511" y="653"/>
                    <a:pt x="20511" y="1027"/>
                    <a:pt x="20376" y="1359"/>
                  </a:cubicBezTo>
                  <a:lnTo>
                    <a:pt x="20376" y="15267"/>
                  </a:lnTo>
                  <a:cubicBezTo>
                    <a:pt x="20553" y="17997"/>
                    <a:pt x="19566" y="20664"/>
                    <a:pt x="17676" y="22636"/>
                  </a:cubicBezTo>
                  <a:cubicBezTo>
                    <a:pt x="13293" y="26103"/>
                    <a:pt x="7103" y="26103"/>
                    <a:pt x="2720" y="22636"/>
                  </a:cubicBezTo>
                  <a:cubicBezTo>
                    <a:pt x="830" y="20664"/>
                    <a:pt x="-156" y="17997"/>
                    <a:pt x="20" y="15267"/>
                  </a:cubicBezTo>
                  <a:lnTo>
                    <a:pt x="20" y="1359"/>
                  </a:lnTo>
                  <a:cubicBezTo>
                    <a:pt x="41" y="954"/>
                    <a:pt x="228" y="580"/>
                    <a:pt x="539" y="321"/>
                  </a:cubicBezTo>
                  <a:cubicBezTo>
                    <a:pt x="872" y="165"/>
                    <a:pt x="1246" y="165"/>
                    <a:pt x="1578" y="321"/>
                  </a:cubicBezTo>
                  <a:cubicBezTo>
                    <a:pt x="2378" y="321"/>
                    <a:pt x="3032" y="975"/>
                    <a:pt x="3032" y="1774"/>
                  </a:cubicBezTo>
                  <a:lnTo>
                    <a:pt x="3032" y="15682"/>
                  </a:lnTo>
                  <a:cubicBezTo>
                    <a:pt x="2887" y="17665"/>
                    <a:pt x="3572" y="19616"/>
                    <a:pt x="4902" y="21079"/>
                  </a:cubicBezTo>
                  <a:cubicBezTo>
                    <a:pt x="7955" y="23467"/>
                    <a:pt x="12234" y="23467"/>
                    <a:pt x="15287" y="21079"/>
                  </a:cubicBezTo>
                  <a:cubicBezTo>
                    <a:pt x="16658" y="19626"/>
                    <a:pt x="17375" y="17675"/>
                    <a:pt x="17261" y="15682"/>
                  </a:cubicBezTo>
                  <a:lnTo>
                    <a:pt x="17261" y="1774"/>
                  </a:lnTo>
                  <a:cubicBezTo>
                    <a:pt x="17126" y="1442"/>
                    <a:pt x="17126" y="1068"/>
                    <a:pt x="17261" y="736"/>
                  </a:cubicBezTo>
                  <a:cubicBezTo>
                    <a:pt x="17593" y="580"/>
                    <a:pt x="17967" y="580"/>
                    <a:pt x="18299" y="736"/>
                  </a:cubicBezTo>
                  <a:cubicBezTo>
                    <a:pt x="18642" y="72"/>
                    <a:pt x="19452" y="-188"/>
                    <a:pt x="20117" y="144"/>
                  </a:cubicBezTo>
                  <a:cubicBezTo>
                    <a:pt x="20210" y="196"/>
                    <a:pt x="20293" y="248"/>
                    <a:pt x="20376" y="321"/>
                  </a:cubicBez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6" name="Freeform 525">
              <a:extLst>
                <a:ext uri="{FF2B5EF4-FFF2-40B4-BE49-F238E27FC236}">
                  <a16:creationId xmlns:a16="http://schemas.microsoft.com/office/drawing/2014/main" id="{A456E986-DCED-2C4E-B3DF-12C16831D19B}"/>
                </a:ext>
              </a:extLst>
            </p:cNvPr>
            <p:cNvSpPr/>
            <p:nvPr/>
          </p:nvSpPr>
          <p:spPr>
            <a:xfrm>
              <a:off x="7348796" y="5276021"/>
              <a:ext cx="22922" cy="26261"/>
            </a:xfrm>
            <a:custGeom>
              <a:avLst/>
              <a:gdLst>
                <a:gd name="connsiteX0" fmla="*/ 22852 w 22922"/>
                <a:gd name="connsiteY0" fmla="*/ 1039 h 26261"/>
                <a:gd name="connsiteX1" fmla="*/ 22852 w 22922"/>
                <a:gd name="connsiteY1" fmla="*/ 2077 h 26261"/>
                <a:gd name="connsiteX2" fmla="*/ 22852 w 22922"/>
                <a:gd name="connsiteY2" fmla="*/ 24289 h 26261"/>
                <a:gd name="connsiteX3" fmla="*/ 22852 w 22922"/>
                <a:gd name="connsiteY3" fmla="*/ 25327 h 26261"/>
                <a:gd name="connsiteX4" fmla="*/ 21814 w 22922"/>
                <a:gd name="connsiteY4" fmla="*/ 25327 h 26261"/>
                <a:gd name="connsiteX5" fmla="*/ 20671 w 22922"/>
                <a:gd name="connsiteY5" fmla="*/ 25327 h 26261"/>
                <a:gd name="connsiteX6" fmla="*/ 20671 w 22922"/>
                <a:gd name="connsiteY6" fmla="*/ 24289 h 26261"/>
                <a:gd name="connsiteX7" fmla="*/ 20671 w 22922"/>
                <a:gd name="connsiteY7" fmla="*/ 20968 h 26261"/>
                <a:gd name="connsiteX8" fmla="*/ 17036 w 22922"/>
                <a:gd name="connsiteY8" fmla="*/ 24704 h 26261"/>
                <a:gd name="connsiteX9" fmla="*/ 11635 w 22922"/>
                <a:gd name="connsiteY9" fmla="*/ 26261 h 26261"/>
                <a:gd name="connsiteX10" fmla="*/ 5715 w 22922"/>
                <a:gd name="connsiteY10" fmla="*/ 24497 h 26261"/>
                <a:gd name="connsiteX11" fmla="*/ 1561 w 22922"/>
                <a:gd name="connsiteY11" fmla="*/ 19826 h 26261"/>
                <a:gd name="connsiteX12" fmla="*/ 3 w 22922"/>
                <a:gd name="connsiteY12" fmla="*/ 13079 h 26261"/>
                <a:gd name="connsiteX13" fmla="*/ 1561 w 22922"/>
                <a:gd name="connsiteY13" fmla="*/ 6333 h 26261"/>
                <a:gd name="connsiteX14" fmla="*/ 5715 w 22922"/>
                <a:gd name="connsiteY14" fmla="*/ 1662 h 26261"/>
                <a:gd name="connsiteX15" fmla="*/ 11531 w 22922"/>
                <a:gd name="connsiteY15" fmla="*/ 1 h 26261"/>
                <a:gd name="connsiteX16" fmla="*/ 17036 w 22922"/>
                <a:gd name="connsiteY16" fmla="*/ 1351 h 26261"/>
                <a:gd name="connsiteX17" fmla="*/ 20671 w 22922"/>
                <a:gd name="connsiteY17" fmla="*/ 5191 h 26261"/>
                <a:gd name="connsiteX18" fmla="*/ 20671 w 22922"/>
                <a:gd name="connsiteY18" fmla="*/ 2077 h 26261"/>
                <a:gd name="connsiteX19" fmla="*/ 20671 w 22922"/>
                <a:gd name="connsiteY19" fmla="*/ 1039 h 26261"/>
                <a:gd name="connsiteX20" fmla="*/ 21814 w 22922"/>
                <a:gd name="connsiteY20" fmla="*/ 520 h 26261"/>
                <a:gd name="connsiteX21" fmla="*/ 22852 w 22922"/>
                <a:gd name="connsiteY21" fmla="*/ 1039 h 26261"/>
                <a:gd name="connsiteX22" fmla="*/ 16101 w 22922"/>
                <a:gd name="connsiteY22" fmla="*/ 21798 h 26261"/>
                <a:gd name="connsiteX23" fmla="*/ 19321 w 22922"/>
                <a:gd name="connsiteY23" fmla="*/ 18061 h 26261"/>
                <a:gd name="connsiteX24" fmla="*/ 19321 w 22922"/>
                <a:gd name="connsiteY24" fmla="*/ 7682 h 26261"/>
                <a:gd name="connsiteX25" fmla="*/ 16101 w 22922"/>
                <a:gd name="connsiteY25" fmla="*/ 3946 h 26261"/>
                <a:gd name="connsiteX26" fmla="*/ 11531 w 22922"/>
                <a:gd name="connsiteY26" fmla="*/ 2596 h 26261"/>
                <a:gd name="connsiteX27" fmla="*/ 6858 w 22922"/>
                <a:gd name="connsiteY27" fmla="*/ 3946 h 26261"/>
                <a:gd name="connsiteX28" fmla="*/ 3742 w 22922"/>
                <a:gd name="connsiteY28" fmla="*/ 7578 h 26261"/>
                <a:gd name="connsiteX29" fmla="*/ 2496 w 22922"/>
                <a:gd name="connsiteY29" fmla="*/ 12976 h 26261"/>
                <a:gd name="connsiteX30" fmla="*/ 3639 w 22922"/>
                <a:gd name="connsiteY30" fmla="*/ 18269 h 26261"/>
                <a:gd name="connsiteX31" fmla="*/ 6858 w 22922"/>
                <a:gd name="connsiteY31" fmla="*/ 22006 h 26261"/>
                <a:gd name="connsiteX32" fmla="*/ 11531 w 22922"/>
                <a:gd name="connsiteY32" fmla="*/ 23355 h 26261"/>
                <a:gd name="connsiteX33" fmla="*/ 16517 w 22922"/>
                <a:gd name="connsiteY33" fmla="*/ 22110 h 26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2922" h="26261">
                  <a:moveTo>
                    <a:pt x="22852" y="1039"/>
                  </a:moveTo>
                  <a:cubicBezTo>
                    <a:pt x="22945" y="1382"/>
                    <a:pt x="22945" y="1735"/>
                    <a:pt x="22852" y="2077"/>
                  </a:cubicBezTo>
                  <a:lnTo>
                    <a:pt x="22852" y="24289"/>
                  </a:lnTo>
                  <a:cubicBezTo>
                    <a:pt x="22945" y="24631"/>
                    <a:pt x="22945" y="24984"/>
                    <a:pt x="22852" y="25327"/>
                  </a:cubicBezTo>
                  <a:cubicBezTo>
                    <a:pt x="22520" y="25462"/>
                    <a:pt x="22146" y="25462"/>
                    <a:pt x="21814" y="25327"/>
                  </a:cubicBezTo>
                  <a:cubicBezTo>
                    <a:pt x="21450" y="25483"/>
                    <a:pt x="21035" y="25483"/>
                    <a:pt x="20671" y="25327"/>
                  </a:cubicBezTo>
                  <a:cubicBezTo>
                    <a:pt x="20577" y="24984"/>
                    <a:pt x="20577" y="24631"/>
                    <a:pt x="20671" y="24289"/>
                  </a:cubicBezTo>
                  <a:lnTo>
                    <a:pt x="20671" y="20968"/>
                  </a:lnTo>
                  <a:cubicBezTo>
                    <a:pt x="19799" y="22504"/>
                    <a:pt x="18542" y="23791"/>
                    <a:pt x="17036" y="24704"/>
                  </a:cubicBezTo>
                  <a:cubicBezTo>
                    <a:pt x="15416" y="25711"/>
                    <a:pt x="13546" y="26251"/>
                    <a:pt x="11635" y="26261"/>
                  </a:cubicBezTo>
                  <a:cubicBezTo>
                    <a:pt x="9527" y="26282"/>
                    <a:pt x="7460" y="25669"/>
                    <a:pt x="5715" y="24497"/>
                  </a:cubicBezTo>
                  <a:cubicBezTo>
                    <a:pt x="3950" y="23324"/>
                    <a:pt x="2517" y="21715"/>
                    <a:pt x="1561" y="19826"/>
                  </a:cubicBezTo>
                  <a:cubicBezTo>
                    <a:pt x="512" y="17729"/>
                    <a:pt x="-28" y="15415"/>
                    <a:pt x="3" y="13079"/>
                  </a:cubicBezTo>
                  <a:cubicBezTo>
                    <a:pt x="-49" y="10734"/>
                    <a:pt x="492" y="8419"/>
                    <a:pt x="1561" y="6333"/>
                  </a:cubicBezTo>
                  <a:cubicBezTo>
                    <a:pt x="2517" y="4444"/>
                    <a:pt x="3950" y="2825"/>
                    <a:pt x="5715" y="1662"/>
                  </a:cubicBezTo>
                  <a:cubicBezTo>
                    <a:pt x="7450" y="541"/>
                    <a:pt x="9475" y="-30"/>
                    <a:pt x="11531" y="1"/>
                  </a:cubicBezTo>
                  <a:cubicBezTo>
                    <a:pt x="13453" y="-30"/>
                    <a:pt x="15354" y="437"/>
                    <a:pt x="17036" y="1351"/>
                  </a:cubicBezTo>
                  <a:cubicBezTo>
                    <a:pt x="18563" y="2295"/>
                    <a:pt x="19809" y="3613"/>
                    <a:pt x="20671" y="5191"/>
                  </a:cubicBezTo>
                  <a:lnTo>
                    <a:pt x="20671" y="2077"/>
                  </a:lnTo>
                  <a:cubicBezTo>
                    <a:pt x="20577" y="1735"/>
                    <a:pt x="20577" y="1382"/>
                    <a:pt x="20671" y="1039"/>
                  </a:cubicBezTo>
                  <a:cubicBezTo>
                    <a:pt x="20951" y="707"/>
                    <a:pt x="21377" y="510"/>
                    <a:pt x="21814" y="520"/>
                  </a:cubicBezTo>
                  <a:cubicBezTo>
                    <a:pt x="22219" y="541"/>
                    <a:pt x="22592" y="728"/>
                    <a:pt x="22852" y="1039"/>
                  </a:cubicBezTo>
                  <a:close/>
                  <a:moveTo>
                    <a:pt x="16101" y="21798"/>
                  </a:moveTo>
                  <a:cubicBezTo>
                    <a:pt x="17493" y="20864"/>
                    <a:pt x="18604" y="19577"/>
                    <a:pt x="19321" y="18061"/>
                  </a:cubicBezTo>
                  <a:cubicBezTo>
                    <a:pt x="20775" y="14750"/>
                    <a:pt x="20775" y="10993"/>
                    <a:pt x="19321" y="7682"/>
                  </a:cubicBezTo>
                  <a:cubicBezTo>
                    <a:pt x="18604" y="6167"/>
                    <a:pt x="17493" y="4880"/>
                    <a:pt x="16101" y="3946"/>
                  </a:cubicBezTo>
                  <a:cubicBezTo>
                    <a:pt x="14730" y="3084"/>
                    <a:pt x="13152" y="2617"/>
                    <a:pt x="11531" y="2596"/>
                  </a:cubicBezTo>
                  <a:cubicBezTo>
                    <a:pt x="9880" y="2607"/>
                    <a:pt x="8260" y="3074"/>
                    <a:pt x="6858" y="3946"/>
                  </a:cubicBezTo>
                  <a:cubicBezTo>
                    <a:pt x="5508" y="4848"/>
                    <a:pt x="4428" y="6104"/>
                    <a:pt x="3742" y="7578"/>
                  </a:cubicBezTo>
                  <a:cubicBezTo>
                    <a:pt x="2901" y="9249"/>
                    <a:pt x="2475" y="11107"/>
                    <a:pt x="2496" y="12976"/>
                  </a:cubicBezTo>
                  <a:cubicBezTo>
                    <a:pt x="2475" y="14802"/>
                    <a:pt x="2870" y="16608"/>
                    <a:pt x="3639" y="18269"/>
                  </a:cubicBezTo>
                  <a:cubicBezTo>
                    <a:pt x="4397" y="19753"/>
                    <a:pt x="5497" y="21040"/>
                    <a:pt x="6858" y="22006"/>
                  </a:cubicBezTo>
                  <a:cubicBezTo>
                    <a:pt x="8239" y="22929"/>
                    <a:pt x="9870" y="23396"/>
                    <a:pt x="11531" y="23355"/>
                  </a:cubicBezTo>
                  <a:cubicBezTo>
                    <a:pt x="13287" y="23510"/>
                    <a:pt x="15042" y="23064"/>
                    <a:pt x="16517" y="22110"/>
                  </a:cubicBez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7" name="Freeform 526">
              <a:extLst>
                <a:ext uri="{FF2B5EF4-FFF2-40B4-BE49-F238E27FC236}">
                  <a16:creationId xmlns:a16="http://schemas.microsoft.com/office/drawing/2014/main" id="{79B6C3BF-B922-8E44-8839-B537E0B44D88}"/>
                </a:ext>
              </a:extLst>
            </p:cNvPr>
            <p:cNvSpPr/>
            <p:nvPr/>
          </p:nvSpPr>
          <p:spPr>
            <a:xfrm>
              <a:off x="7378085" y="5264089"/>
              <a:ext cx="23682" cy="37986"/>
            </a:xfrm>
            <a:custGeom>
              <a:avLst/>
              <a:gdLst>
                <a:gd name="connsiteX0" fmla="*/ 23162 w 23682"/>
                <a:gd name="connsiteY0" fmla="*/ 516 h 37986"/>
                <a:gd name="connsiteX1" fmla="*/ 23682 w 23682"/>
                <a:gd name="connsiteY1" fmla="*/ 1554 h 37986"/>
                <a:gd name="connsiteX2" fmla="*/ 23682 w 23682"/>
                <a:gd name="connsiteY2" fmla="*/ 36429 h 37986"/>
                <a:gd name="connsiteX3" fmla="*/ 23162 w 23682"/>
                <a:gd name="connsiteY3" fmla="*/ 37467 h 37986"/>
                <a:gd name="connsiteX4" fmla="*/ 22124 w 23682"/>
                <a:gd name="connsiteY4" fmla="*/ 37467 h 37986"/>
                <a:gd name="connsiteX5" fmla="*/ 20670 w 23682"/>
                <a:gd name="connsiteY5" fmla="*/ 36014 h 37986"/>
                <a:gd name="connsiteX6" fmla="*/ 20670 w 23682"/>
                <a:gd name="connsiteY6" fmla="*/ 32589 h 37986"/>
                <a:gd name="connsiteX7" fmla="*/ 17035 w 23682"/>
                <a:gd name="connsiteY7" fmla="*/ 36429 h 37986"/>
                <a:gd name="connsiteX8" fmla="*/ 11634 w 23682"/>
                <a:gd name="connsiteY8" fmla="*/ 37986 h 37986"/>
                <a:gd name="connsiteX9" fmla="*/ 5714 w 23682"/>
                <a:gd name="connsiteY9" fmla="*/ 36221 h 37986"/>
                <a:gd name="connsiteX10" fmla="*/ 1560 w 23682"/>
                <a:gd name="connsiteY10" fmla="*/ 31551 h 37986"/>
                <a:gd name="connsiteX11" fmla="*/ 2 w 23682"/>
                <a:gd name="connsiteY11" fmla="*/ 24804 h 37986"/>
                <a:gd name="connsiteX12" fmla="*/ 1560 w 23682"/>
                <a:gd name="connsiteY12" fmla="*/ 18058 h 37986"/>
                <a:gd name="connsiteX13" fmla="*/ 5714 w 23682"/>
                <a:gd name="connsiteY13" fmla="*/ 13387 h 37986"/>
                <a:gd name="connsiteX14" fmla="*/ 11530 w 23682"/>
                <a:gd name="connsiteY14" fmla="*/ 11726 h 37986"/>
                <a:gd name="connsiteX15" fmla="*/ 16931 w 23682"/>
                <a:gd name="connsiteY15" fmla="*/ 13179 h 37986"/>
                <a:gd name="connsiteX16" fmla="*/ 20670 w 23682"/>
                <a:gd name="connsiteY16" fmla="*/ 16916 h 37986"/>
                <a:gd name="connsiteX17" fmla="*/ 20670 w 23682"/>
                <a:gd name="connsiteY17" fmla="*/ 1139 h 37986"/>
                <a:gd name="connsiteX18" fmla="*/ 20670 w 23682"/>
                <a:gd name="connsiteY18" fmla="*/ 101 h 37986"/>
                <a:gd name="connsiteX19" fmla="*/ 21708 w 23682"/>
                <a:gd name="connsiteY19" fmla="*/ 101 h 37986"/>
                <a:gd name="connsiteX20" fmla="*/ 23162 w 23682"/>
                <a:gd name="connsiteY20" fmla="*/ 516 h 37986"/>
                <a:gd name="connsiteX21" fmla="*/ 16516 w 23682"/>
                <a:gd name="connsiteY21" fmla="*/ 34249 h 37986"/>
                <a:gd name="connsiteX22" fmla="*/ 19735 w 23682"/>
                <a:gd name="connsiteY22" fmla="*/ 30513 h 37986"/>
                <a:gd name="connsiteX23" fmla="*/ 19735 w 23682"/>
                <a:gd name="connsiteY23" fmla="*/ 20134 h 37986"/>
                <a:gd name="connsiteX24" fmla="*/ 16516 w 23682"/>
                <a:gd name="connsiteY24" fmla="*/ 16397 h 37986"/>
                <a:gd name="connsiteX25" fmla="*/ 7272 w 23682"/>
                <a:gd name="connsiteY25" fmla="*/ 16397 h 37986"/>
                <a:gd name="connsiteX26" fmla="*/ 4053 w 23682"/>
                <a:gd name="connsiteY26" fmla="*/ 20134 h 37986"/>
                <a:gd name="connsiteX27" fmla="*/ 4053 w 23682"/>
                <a:gd name="connsiteY27" fmla="*/ 30513 h 37986"/>
                <a:gd name="connsiteX28" fmla="*/ 7272 w 23682"/>
                <a:gd name="connsiteY28" fmla="*/ 34249 h 37986"/>
                <a:gd name="connsiteX29" fmla="*/ 11946 w 23682"/>
                <a:gd name="connsiteY29" fmla="*/ 35599 h 37986"/>
                <a:gd name="connsiteX30" fmla="*/ 16516 w 23682"/>
                <a:gd name="connsiteY30" fmla="*/ 34042 h 379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3682" h="37986">
                  <a:moveTo>
                    <a:pt x="23162" y="516"/>
                  </a:moveTo>
                  <a:cubicBezTo>
                    <a:pt x="23495" y="755"/>
                    <a:pt x="23692" y="1139"/>
                    <a:pt x="23682" y="1554"/>
                  </a:cubicBezTo>
                  <a:lnTo>
                    <a:pt x="23682" y="36429"/>
                  </a:lnTo>
                  <a:cubicBezTo>
                    <a:pt x="23661" y="36834"/>
                    <a:pt x="23474" y="37207"/>
                    <a:pt x="23162" y="37467"/>
                  </a:cubicBezTo>
                  <a:cubicBezTo>
                    <a:pt x="22830" y="37623"/>
                    <a:pt x="22456" y="37623"/>
                    <a:pt x="22124" y="37467"/>
                  </a:cubicBezTo>
                  <a:cubicBezTo>
                    <a:pt x="21324" y="37467"/>
                    <a:pt x="20670" y="36813"/>
                    <a:pt x="20670" y="36014"/>
                  </a:cubicBezTo>
                  <a:lnTo>
                    <a:pt x="20670" y="32589"/>
                  </a:lnTo>
                  <a:cubicBezTo>
                    <a:pt x="19746" y="34114"/>
                    <a:pt x="18499" y="35422"/>
                    <a:pt x="17035" y="36429"/>
                  </a:cubicBezTo>
                  <a:cubicBezTo>
                    <a:pt x="15414" y="37436"/>
                    <a:pt x="13545" y="37976"/>
                    <a:pt x="11634" y="37986"/>
                  </a:cubicBezTo>
                  <a:cubicBezTo>
                    <a:pt x="9526" y="38007"/>
                    <a:pt x="7459" y="37394"/>
                    <a:pt x="5714" y="36221"/>
                  </a:cubicBezTo>
                  <a:cubicBezTo>
                    <a:pt x="3949" y="35048"/>
                    <a:pt x="2515" y="33440"/>
                    <a:pt x="1560" y="31551"/>
                  </a:cubicBezTo>
                  <a:cubicBezTo>
                    <a:pt x="501" y="29464"/>
                    <a:pt x="-39" y="27150"/>
                    <a:pt x="2" y="24804"/>
                  </a:cubicBezTo>
                  <a:cubicBezTo>
                    <a:pt x="-29" y="22459"/>
                    <a:pt x="511" y="20154"/>
                    <a:pt x="1560" y="18058"/>
                  </a:cubicBezTo>
                  <a:cubicBezTo>
                    <a:pt x="2515" y="16168"/>
                    <a:pt x="3949" y="14560"/>
                    <a:pt x="5714" y="13387"/>
                  </a:cubicBezTo>
                  <a:cubicBezTo>
                    <a:pt x="7449" y="12266"/>
                    <a:pt x="9474" y="11695"/>
                    <a:pt x="11530" y="11726"/>
                  </a:cubicBezTo>
                  <a:cubicBezTo>
                    <a:pt x="13431" y="11705"/>
                    <a:pt x="15300" y="12214"/>
                    <a:pt x="16931" y="13179"/>
                  </a:cubicBezTo>
                  <a:cubicBezTo>
                    <a:pt x="18509" y="14030"/>
                    <a:pt x="19818" y="15328"/>
                    <a:pt x="20670" y="16916"/>
                  </a:cubicBezTo>
                  <a:lnTo>
                    <a:pt x="20670" y="1139"/>
                  </a:lnTo>
                  <a:cubicBezTo>
                    <a:pt x="20514" y="807"/>
                    <a:pt x="20514" y="433"/>
                    <a:pt x="20670" y="101"/>
                  </a:cubicBezTo>
                  <a:cubicBezTo>
                    <a:pt x="21002" y="-34"/>
                    <a:pt x="21376" y="-34"/>
                    <a:pt x="21708" y="101"/>
                  </a:cubicBezTo>
                  <a:cubicBezTo>
                    <a:pt x="22228" y="-106"/>
                    <a:pt x="22830" y="70"/>
                    <a:pt x="23162" y="516"/>
                  </a:cubicBezTo>
                  <a:close/>
                  <a:moveTo>
                    <a:pt x="16516" y="34249"/>
                  </a:moveTo>
                  <a:cubicBezTo>
                    <a:pt x="17917" y="33336"/>
                    <a:pt x="19039" y="32038"/>
                    <a:pt x="19735" y="30513"/>
                  </a:cubicBezTo>
                  <a:cubicBezTo>
                    <a:pt x="21189" y="27202"/>
                    <a:pt x="21189" y="23445"/>
                    <a:pt x="19735" y="20134"/>
                  </a:cubicBezTo>
                  <a:cubicBezTo>
                    <a:pt x="18977" y="18649"/>
                    <a:pt x="17876" y="17362"/>
                    <a:pt x="16516" y="16397"/>
                  </a:cubicBezTo>
                  <a:cubicBezTo>
                    <a:pt x="13691" y="14612"/>
                    <a:pt x="10097" y="14612"/>
                    <a:pt x="7272" y="16397"/>
                  </a:cubicBezTo>
                  <a:cubicBezTo>
                    <a:pt x="5912" y="17362"/>
                    <a:pt x="4811" y="18649"/>
                    <a:pt x="4053" y="20134"/>
                  </a:cubicBezTo>
                  <a:cubicBezTo>
                    <a:pt x="2599" y="23445"/>
                    <a:pt x="2599" y="27202"/>
                    <a:pt x="4053" y="30513"/>
                  </a:cubicBezTo>
                  <a:cubicBezTo>
                    <a:pt x="4811" y="31997"/>
                    <a:pt x="5912" y="33284"/>
                    <a:pt x="7272" y="34249"/>
                  </a:cubicBezTo>
                  <a:cubicBezTo>
                    <a:pt x="8653" y="35173"/>
                    <a:pt x="10284" y="35640"/>
                    <a:pt x="11946" y="35599"/>
                  </a:cubicBezTo>
                  <a:cubicBezTo>
                    <a:pt x="13597" y="35568"/>
                    <a:pt x="15196" y="35028"/>
                    <a:pt x="16516" y="34042"/>
                  </a:cubicBez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8" name="Freeform 527">
              <a:extLst>
                <a:ext uri="{FF2B5EF4-FFF2-40B4-BE49-F238E27FC236}">
                  <a16:creationId xmlns:a16="http://schemas.microsoft.com/office/drawing/2014/main" id="{9A14701A-C63E-504A-95C4-5C676CC59295}"/>
                </a:ext>
              </a:extLst>
            </p:cNvPr>
            <p:cNvSpPr/>
            <p:nvPr/>
          </p:nvSpPr>
          <p:spPr>
            <a:xfrm>
              <a:off x="7409247" y="5276049"/>
              <a:ext cx="2715" cy="25408"/>
            </a:xfrm>
            <a:custGeom>
              <a:avLst/>
              <a:gdLst>
                <a:gd name="connsiteX0" fmla="*/ 2698 w 2715"/>
                <a:gd name="connsiteY0" fmla="*/ 25300 h 25408"/>
                <a:gd name="connsiteX1" fmla="*/ 1555 w 2715"/>
                <a:gd name="connsiteY1" fmla="*/ 25300 h 25408"/>
                <a:gd name="connsiteX2" fmla="*/ 101 w 2715"/>
                <a:gd name="connsiteY2" fmla="*/ 23846 h 25408"/>
                <a:gd name="connsiteX3" fmla="*/ 101 w 2715"/>
                <a:gd name="connsiteY3" fmla="*/ 1116 h 25408"/>
                <a:gd name="connsiteX4" fmla="*/ 101 w 2715"/>
                <a:gd name="connsiteY4" fmla="*/ 78 h 25408"/>
                <a:gd name="connsiteX5" fmla="*/ 1140 w 2715"/>
                <a:gd name="connsiteY5" fmla="*/ 78 h 25408"/>
                <a:gd name="connsiteX6" fmla="*/ 2283 w 2715"/>
                <a:gd name="connsiteY6" fmla="*/ 78 h 25408"/>
                <a:gd name="connsiteX7" fmla="*/ 2283 w 2715"/>
                <a:gd name="connsiteY7" fmla="*/ 1116 h 25408"/>
                <a:gd name="connsiteX8" fmla="*/ 2283 w 2715"/>
                <a:gd name="connsiteY8" fmla="*/ 23846 h 25408"/>
                <a:gd name="connsiteX9" fmla="*/ 2698 w 2715"/>
                <a:gd name="connsiteY9" fmla="*/ 25300 h 25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5" h="25408">
                  <a:moveTo>
                    <a:pt x="2698" y="25300"/>
                  </a:moveTo>
                  <a:cubicBezTo>
                    <a:pt x="2334" y="25445"/>
                    <a:pt x="1919" y="25445"/>
                    <a:pt x="1555" y="25300"/>
                  </a:cubicBezTo>
                  <a:cubicBezTo>
                    <a:pt x="756" y="25300"/>
                    <a:pt x="101" y="24646"/>
                    <a:pt x="101" y="23846"/>
                  </a:cubicBezTo>
                  <a:lnTo>
                    <a:pt x="101" y="1116"/>
                  </a:lnTo>
                  <a:cubicBezTo>
                    <a:pt x="-34" y="784"/>
                    <a:pt x="-34" y="410"/>
                    <a:pt x="101" y="78"/>
                  </a:cubicBezTo>
                  <a:cubicBezTo>
                    <a:pt x="444" y="-15"/>
                    <a:pt x="797" y="-15"/>
                    <a:pt x="1140" y="78"/>
                  </a:cubicBezTo>
                  <a:cubicBezTo>
                    <a:pt x="1514" y="-26"/>
                    <a:pt x="1909" y="-26"/>
                    <a:pt x="2283" y="78"/>
                  </a:cubicBezTo>
                  <a:cubicBezTo>
                    <a:pt x="2376" y="420"/>
                    <a:pt x="2376" y="773"/>
                    <a:pt x="2283" y="1116"/>
                  </a:cubicBezTo>
                  <a:lnTo>
                    <a:pt x="2283" y="23846"/>
                  </a:lnTo>
                  <a:cubicBezTo>
                    <a:pt x="2615" y="24251"/>
                    <a:pt x="2771" y="24781"/>
                    <a:pt x="2698" y="25300"/>
                  </a:cubicBezTo>
                  <a:close/>
                </a:path>
              </a:pathLst>
            </a:custGeom>
            <a:solidFill>
              <a:srgbClr val="FF42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9" name="Freeform 528">
              <a:extLst>
                <a:ext uri="{FF2B5EF4-FFF2-40B4-BE49-F238E27FC236}">
                  <a16:creationId xmlns:a16="http://schemas.microsoft.com/office/drawing/2014/main" id="{D353DD76-8E4E-4D48-8101-27B64EA41261}"/>
                </a:ext>
              </a:extLst>
            </p:cNvPr>
            <p:cNvSpPr/>
            <p:nvPr/>
          </p:nvSpPr>
          <p:spPr>
            <a:xfrm>
              <a:off x="7409335" y="5264297"/>
              <a:ext cx="13008" cy="12242"/>
            </a:xfrm>
            <a:custGeom>
              <a:avLst/>
              <a:gdLst>
                <a:gd name="connsiteX0" fmla="*/ 12580 w 13008"/>
                <a:gd name="connsiteY0" fmla="*/ 1139 h 12242"/>
                <a:gd name="connsiteX1" fmla="*/ 12580 w 13008"/>
                <a:gd name="connsiteY1" fmla="*/ 101 h 12242"/>
                <a:gd name="connsiteX2" fmla="*/ 11541 w 13008"/>
                <a:gd name="connsiteY2" fmla="*/ 101 h 12242"/>
                <a:gd name="connsiteX3" fmla="*/ 1156 w 13008"/>
                <a:gd name="connsiteY3" fmla="*/ 101 h 12242"/>
                <a:gd name="connsiteX4" fmla="*/ 117 w 13008"/>
                <a:gd name="connsiteY4" fmla="*/ 101 h 12242"/>
                <a:gd name="connsiteX5" fmla="*/ 117 w 13008"/>
                <a:gd name="connsiteY5" fmla="*/ 1139 h 12242"/>
                <a:gd name="connsiteX6" fmla="*/ 1571 w 13008"/>
                <a:gd name="connsiteY6" fmla="*/ 2592 h 12242"/>
                <a:gd name="connsiteX7" fmla="*/ 10399 w 13008"/>
                <a:gd name="connsiteY7" fmla="*/ 2592 h 12242"/>
                <a:gd name="connsiteX8" fmla="*/ 10399 w 13008"/>
                <a:gd name="connsiteY8" fmla="*/ 10688 h 12242"/>
                <a:gd name="connsiteX9" fmla="*/ 11853 w 13008"/>
                <a:gd name="connsiteY9" fmla="*/ 12141 h 12242"/>
                <a:gd name="connsiteX10" fmla="*/ 12892 w 13008"/>
                <a:gd name="connsiteY10" fmla="*/ 12141 h 12242"/>
                <a:gd name="connsiteX11" fmla="*/ 12892 w 13008"/>
                <a:gd name="connsiteY11" fmla="*/ 11103 h 12242"/>
                <a:gd name="connsiteX12" fmla="*/ 12892 w 13008"/>
                <a:gd name="connsiteY12" fmla="*/ 1243 h 12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008" h="12242">
                  <a:moveTo>
                    <a:pt x="12580" y="1139"/>
                  </a:moveTo>
                  <a:cubicBezTo>
                    <a:pt x="12736" y="807"/>
                    <a:pt x="12736" y="433"/>
                    <a:pt x="12580" y="101"/>
                  </a:cubicBezTo>
                  <a:cubicBezTo>
                    <a:pt x="12248" y="-34"/>
                    <a:pt x="11874" y="-34"/>
                    <a:pt x="11541" y="101"/>
                  </a:cubicBezTo>
                  <a:lnTo>
                    <a:pt x="1156" y="101"/>
                  </a:lnTo>
                  <a:cubicBezTo>
                    <a:pt x="823" y="-34"/>
                    <a:pt x="449" y="-34"/>
                    <a:pt x="117" y="101"/>
                  </a:cubicBezTo>
                  <a:cubicBezTo>
                    <a:pt x="-39" y="433"/>
                    <a:pt x="-39" y="807"/>
                    <a:pt x="117" y="1139"/>
                  </a:cubicBezTo>
                  <a:cubicBezTo>
                    <a:pt x="117" y="1938"/>
                    <a:pt x="771" y="2592"/>
                    <a:pt x="1571" y="2592"/>
                  </a:cubicBezTo>
                  <a:lnTo>
                    <a:pt x="10399" y="2592"/>
                  </a:lnTo>
                  <a:lnTo>
                    <a:pt x="10399" y="10688"/>
                  </a:lnTo>
                  <a:cubicBezTo>
                    <a:pt x="10399" y="11487"/>
                    <a:pt x="11053" y="12141"/>
                    <a:pt x="11853" y="12141"/>
                  </a:cubicBezTo>
                  <a:cubicBezTo>
                    <a:pt x="12185" y="12276"/>
                    <a:pt x="12559" y="12276"/>
                    <a:pt x="12892" y="12141"/>
                  </a:cubicBezTo>
                  <a:cubicBezTo>
                    <a:pt x="13047" y="11809"/>
                    <a:pt x="13047" y="11435"/>
                    <a:pt x="12892" y="11103"/>
                  </a:cubicBezTo>
                  <a:lnTo>
                    <a:pt x="12892" y="1243"/>
                  </a:lnTo>
                  <a:close/>
                </a:path>
              </a:pathLst>
            </a:custGeom>
            <a:solidFill>
              <a:srgbClr val="FF42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0" name="Freeform 529">
              <a:extLst>
                <a:ext uri="{FF2B5EF4-FFF2-40B4-BE49-F238E27FC236}">
                  <a16:creationId xmlns:a16="http://schemas.microsoft.com/office/drawing/2014/main" id="{341ED9AF-7815-654E-AED7-8382E4A6C722}"/>
                </a:ext>
              </a:extLst>
            </p:cNvPr>
            <p:cNvSpPr/>
            <p:nvPr/>
          </p:nvSpPr>
          <p:spPr>
            <a:xfrm>
              <a:off x="7420560" y="5275606"/>
              <a:ext cx="23033" cy="26267"/>
            </a:xfrm>
            <a:custGeom>
              <a:avLst/>
              <a:gdLst>
                <a:gd name="connsiteX0" fmla="*/ 22542 w 23033"/>
                <a:gd name="connsiteY0" fmla="*/ 13080 h 26267"/>
                <a:gd name="connsiteX1" fmla="*/ 21504 w 23033"/>
                <a:gd name="connsiteY1" fmla="*/ 13080 h 26267"/>
                <a:gd name="connsiteX2" fmla="*/ 2809 w 23033"/>
                <a:gd name="connsiteY2" fmla="*/ 13080 h 26267"/>
                <a:gd name="connsiteX3" fmla="*/ 4055 w 23033"/>
                <a:gd name="connsiteY3" fmla="*/ 18373 h 26267"/>
                <a:gd name="connsiteX4" fmla="*/ 7483 w 23033"/>
                <a:gd name="connsiteY4" fmla="*/ 22109 h 26267"/>
                <a:gd name="connsiteX5" fmla="*/ 12779 w 23033"/>
                <a:gd name="connsiteY5" fmla="*/ 23459 h 26267"/>
                <a:gd name="connsiteX6" fmla="*/ 17037 w 23033"/>
                <a:gd name="connsiteY6" fmla="*/ 22525 h 26267"/>
                <a:gd name="connsiteX7" fmla="*/ 20049 w 23033"/>
                <a:gd name="connsiteY7" fmla="*/ 19930 h 26267"/>
                <a:gd name="connsiteX8" fmla="*/ 21088 w 23033"/>
                <a:gd name="connsiteY8" fmla="*/ 19930 h 26267"/>
                <a:gd name="connsiteX9" fmla="*/ 21919 w 23033"/>
                <a:gd name="connsiteY9" fmla="*/ 19930 h 26267"/>
                <a:gd name="connsiteX10" fmla="*/ 21919 w 23033"/>
                <a:gd name="connsiteY10" fmla="*/ 20864 h 26267"/>
                <a:gd name="connsiteX11" fmla="*/ 21919 w 23033"/>
                <a:gd name="connsiteY11" fmla="*/ 21798 h 26267"/>
                <a:gd name="connsiteX12" fmla="*/ 17868 w 23033"/>
                <a:gd name="connsiteY12" fmla="*/ 25016 h 26267"/>
                <a:gd name="connsiteX13" fmla="*/ 12883 w 23033"/>
                <a:gd name="connsiteY13" fmla="*/ 26261 h 26267"/>
                <a:gd name="connsiteX14" fmla="*/ 6132 w 23033"/>
                <a:gd name="connsiteY14" fmla="*/ 24600 h 26267"/>
                <a:gd name="connsiteX15" fmla="*/ 1563 w 23033"/>
                <a:gd name="connsiteY15" fmla="*/ 20033 h 26267"/>
                <a:gd name="connsiteX16" fmla="*/ 5 w 23033"/>
                <a:gd name="connsiteY16" fmla="*/ 13287 h 26267"/>
                <a:gd name="connsiteX17" fmla="*/ 1563 w 23033"/>
                <a:gd name="connsiteY17" fmla="*/ 6229 h 26267"/>
                <a:gd name="connsiteX18" fmla="*/ 5821 w 23033"/>
                <a:gd name="connsiteY18" fmla="*/ 1558 h 26267"/>
                <a:gd name="connsiteX19" fmla="*/ 11533 w 23033"/>
                <a:gd name="connsiteY19" fmla="*/ 1 h 26267"/>
                <a:gd name="connsiteX20" fmla="*/ 17037 w 23033"/>
                <a:gd name="connsiteY20" fmla="*/ 1351 h 26267"/>
                <a:gd name="connsiteX21" fmla="*/ 21296 w 23033"/>
                <a:gd name="connsiteY21" fmla="*/ 5399 h 26267"/>
                <a:gd name="connsiteX22" fmla="*/ 22957 w 23033"/>
                <a:gd name="connsiteY22" fmla="*/ 11730 h 26267"/>
                <a:gd name="connsiteX23" fmla="*/ 22542 w 23033"/>
                <a:gd name="connsiteY23" fmla="*/ 13080 h 26267"/>
                <a:gd name="connsiteX24" fmla="*/ 6236 w 23033"/>
                <a:gd name="connsiteY24" fmla="*/ 5191 h 26267"/>
                <a:gd name="connsiteX25" fmla="*/ 3121 w 23033"/>
                <a:gd name="connsiteY25" fmla="*/ 10900 h 26267"/>
                <a:gd name="connsiteX26" fmla="*/ 19945 w 23033"/>
                <a:gd name="connsiteY26" fmla="*/ 10900 h 26267"/>
                <a:gd name="connsiteX27" fmla="*/ 19945 w 23033"/>
                <a:gd name="connsiteY27" fmla="*/ 10900 h 26267"/>
                <a:gd name="connsiteX28" fmla="*/ 18388 w 23033"/>
                <a:gd name="connsiteY28" fmla="*/ 7059 h 26267"/>
                <a:gd name="connsiteX29" fmla="*/ 15376 w 23033"/>
                <a:gd name="connsiteY29" fmla="*/ 4568 h 26267"/>
                <a:gd name="connsiteX30" fmla="*/ 11533 w 23033"/>
                <a:gd name="connsiteY30" fmla="*/ 3634 h 26267"/>
                <a:gd name="connsiteX31" fmla="*/ 6236 w 23033"/>
                <a:gd name="connsiteY31" fmla="*/ 5191 h 26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3033" h="26267">
                  <a:moveTo>
                    <a:pt x="22542" y="13080"/>
                  </a:moveTo>
                  <a:cubicBezTo>
                    <a:pt x="22210" y="13214"/>
                    <a:pt x="21836" y="13214"/>
                    <a:pt x="21504" y="13080"/>
                  </a:cubicBezTo>
                  <a:lnTo>
                    <a:pt x="2809" y="13080"/>
                  </a:lnTo>
                  <a:cubicBezTo>
                    <a:pt x="2778" y="14917"/>
                    <a:pt x="3204" y="16743"/>
                    <a:pt x="4055" y="18373"/>
                  </a:cubicBezTo>
                  <a:cubicBezTo>
                    <a:pt x="4824" y="19909"/>
                    <a:pt x="6018" y="21206"/>
                    <a:pt x="7483" y="22109"/>
                  </a:cubicBezTo>
                  <a:cubicBezTo>
                    <a:pt x="9092" y="23023"/>
                    <a:pt x="10920" y="23490"/>
                    <a:pt x="12779" y="23459"/>
                  </a:cubicBezTo>
                  <a:cubicBezTo>
                    <a:pt x="14254" y="23479"/>
                    <a:pt x="15708" y="23168"/>
                    <a:pt x="17037" y="22525"/>
                  </a:cubicBezTo>
                  <a:cubicBezTo>
                    <a:pt x="18222" y="21892"/>
                    <a:pt x="19250" y="20999"/>
                    <a:pt x="20049" y="19930"/>
                  </a:cubicBezTo>
                  <a:cubicBezTo>
                    <a:pt x="20392" y="19847"/>
                    <a:pt x="20745" y="19847"/>
                    <a:pt x="21088" y="19930"/>
                  </a:cubicBezTo>
                  <a:cubicBezTo>
                    <a:pt x="21348" y="19795"/>
                    <a:pt x="21659" y="19795"/>
                    <a:pt x="21919" y="19930"/>
                  </a:cubicBezTo>
                  <a:cubicBezTo>
                    <a:pt x="22054" y="20231"/>
                    <a:pt x="22054" y="20563"/>
                    <a:pt x="21919" y="20864"/>
                  </a:cubicBezTo>
                  <a:cubicBezTo>
                    <a:pt x="22043" y="21165"/>
                    <a:pt x="22043" y="21497"/>
                    <a:pt x="21919" y="21798"/>
                  </a:cubicBezTo>
                  <a:cubicBezTo>
                    <a:pt x="20808" y="23147"/>
                    <a:pt x="19426" y="24237"/>
                    <a:pt x="17868" y="25016"/>
                  </a:cubicBezTo>
                  <a:cubicBezTo>
                    <a:pt x="16342" y="25846"/>
                    <a:pt x="14628" y="26272"/>
                    <a:pt x="12883" y="26261"/>
                  </a:cubicBezTo>
                  <a:cubicBezTo>
                    <a:pt x="10526" y="26334"/>
                    <a:pt x="8189" y="25752"/>
                    <a:pt x="6132" y="24600"/>
                  </a:cubicBezTo>
                  <a:cubicBezTo>
                    <a:pt x="4201" y="23552"/>
                    <a:pt x="2612" y="21964"/>
                    <a:pt x="1563" y="20033"/>
                  </a:cubicBezTo>
                  <a:cubicBezTo>
                    <a:pt x="493" y="17947"/>
                    <a:pt x="-47" y="15633"/>
                    <a:pt x="5" y="13287"/>
                  </a:cubicBezTo>
                  <a:cubicBezTo>
                    <a:pt x="-57" y="10848"/>
                    <a:pt x="472" y="8419"/>
                    <a:pt x="1563" y="6229"/>
                  </a:cubicBezTo>
                  <a:cubicBezTo>
                    <a:pt x="2497" y="4288"/>
                    <a:pt x="3972" y="2669"/>
                    <a:pt x="5821" y="1558"/>
                  </a:cubicBezTo>
                  <a:cubicBezTo>
                    <a:pt x="7555" y="541"/>
                    <a:pt x="9529" y="1"/>
                    <a:pt x="11533" y="1"/>
                  </a:cubicBezTo>
                  <a:cubicBezTo>
                    <a:pt x="13454" y="-30"/>
                    <a:pt x="15355" y="437"/>
                    <a:pt x="17037" y="1351"/>
                  </a:cubicBezTo>
                  <a:cubicBezTo>
                    <a:pt x="18793" y="2306"/>
                    <a:pt x="20257" y="3696"/>
                    <a:pt x="21296" y="5399"/>
                  </a:cubicBezTo>
                  <a:cubicBezTo>
                    <a:pt x="22417" y="7319"/>
                    <a:pt x="22988" y="9509"/>
                    <a:pt x="22957" y="11730"/>
                  </a:cubicBezTo>
                  <a:cubicBezTo>
                    <a:pt x="23144" y="12218"/>
                    <a:pt x="22978" y="12778"/>
                    <a:pt x="22542" y="13080"/>
                  </a:cubicBezTo>
                  <a:close/>
                  <a:moveTo>
                    <a:pt x="6236" y="5191"/>
                  </a:moveTo>
                  <a:cubicBezTo>
                    <a:pt x="4512" y="6634"/>
                    <a:pt x="3401" y="8668"/>
                    <a:pt x="3121" y="10900"/>
                  </a:cubicBezTo>
                  <a:lnTo>
                    <a:pt x="19945" y="10900"/>
                  </a:lnTo>
                  <a:lnTo>
                    <a:pt x="19945" y="10900"/>
                  </a:lnTo>
                  <a:cubicBezTo>
                    <a:pt x="19779" y="9499"/>
                    <a:pt x="19239" y="8180"/>
                    <a:pt x="18388" y="7059"/>
                  </a:cubicBezTo>
                  <a:cubicBezTo>
                    <a:pt x="17619" y="5980"/>
                    <a:pt x="16580" y="5119"/>
                    <a:pt x="15376" y="4568"/>
                  </a:cubicBezTo>
                  <a:cubicBezTo>
                    <a:pt x="14181" y="3966"/>
                    <a:pt x="12873" y="3645"/>
                    <a:pt x="11533" y="3634"/>
                  </a:cubicBezTo>
                  <a:cubicBezTo>
                    <a:pt x="9643" y="3530"/>
                    <a:pt x="7773" y="4081"/>
                    <a:pt x="6236" y="5191"/>
                  </a:cubicBez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1" name="Freeform 530">
              <a:extLst>
                <a:ext uri="{FF2B5EF4-FFF2-40B4-BE49-F238E27FC236}">
                  <a16:creationId xmlns:a16="http://schemas.microsoft.com/office/drawing/2014/main" id="{C1D86928-8322-2C4B-A633-9DDEA5E927D5}"/>
                </a:ext>
              </a:extLst>
            </p:cNvPr>
            <p:cNvSpPr/>
            <p:nvPr/>
          </p:nvSpPr>
          <p:spPr>
            <a:xfrm>
              <a:off x="7450060" y="5274777"/>
              <a:ext cx="20377" cy="26687"/>
            </a:xfrm>
            <a:custGeom>
              <a:avLst/>
              <a:gdLst>
                <a:gd name="connsiteX0" fmla="*/ 18175 w 20377"/>
                <a:gd name="connsiteY0" fmla="*/ 3944 h 26687"/>
                <a:gd name="connsiteX1" fmla="*/ 20356 w 20377"/>
                <a:gd name="connsiteY1" fmla="*/ 11002 h 26687"/>
                <a:gd name="connsiteX2" fmla="*/ 20356 w 20377"/>
                <a:gd name="connsiteY2" fmla="*/ 25533 h 26687"/>
                <a:gd name="connsiteX3" fmla="*/ 19837 w 20377"/>
                <a:gd name="connsiteY3" fmla="*/ 26571 h 26687"/>
                <a:gd name="connsiteX4" fmla="*/ 18798 w 20377"/>
                <a:gd name="connsiteY4" fmla="*/ 26571 h 26687"/>
                <a:gd name="connsiteX5" fmla="*/ 17344 w 20377"/>
                <a:gd name="connsiteY5" fmla="*/ 25118 h 26687"/>
                <a:gd name="connsiteX6" fmla="*/ 17344 w 20377"/>
                <a:gd name="connsiteY6" fmla="*/ 10794 h 26687"/>
                <a:gd name="connsiteX7" fmla="*/ 15786 w 20377"/>
                <a:gd name="connsiteY7" fmla="*/ 5605 h 26687"/>
                <a:gd name="connsiteX8" fmla="*/ 10801 w 20377"/>
                <a:gd name="connsiteY8" fmla="*/ 3529 h 26687"/>
                <a:gd name="connsiteX9" fmla="*/ 3739 w 20377"/>
                <a:gd name="connsiteY9" fmla="*/ 7162 h 26687"/>
                <a:gd name="connsiteX10" fmla="*/ 2492 w 20377"/>
                <a:gd name="connsiteY10" fmla="*/ 10794 h 26687"/>
                <a:gd name="connsiteX11" fmla="*/ 2492 w 20377"/>
                <a:gd name="connsiteY11" fmla="*/ 25118 h 26687"/>
                <a:gd name="connsiteX12" fmla="*/ 2492 w 20377"/>
                <a:gd name="connsiteY12" fmla="*/ 26156 h 26687"/>
                <a:gd name="connsiteX13" fmla="*/ 1454 w 20377"/>
                <a:gd name="connsiteY13" fmla="*/ 26156 h 26687"/>
                <a:gd name="connsiteX14" fmla="*/ 0 w 20377"/>
                <a:gd name="connsiteY14" fmla="*/ 24703 h 26687"/>
                <a:gd name="connsiteX15" fmla="*/ 0 w 20377"/>
                <a:gd name="connsiteY15" fmla="*/ 2595 h 26687"/>
                <a:gd name="connsiteX16" fmla="*/ 1454 w 20377"/>
                <a:gd name="connsiteY16" fmla="*/ 1142 h 26687"/>
                <a:gd name="connsiteX17" fmla="*/ 2492 w 20377"/>
                <a:gd name="connsiteY17" fmla="*/ 1142 h 26687"/>
                <a:gd name="connsiteX18" fmla="*/ 2492 w 20377"/>
                <a:gd name="connsiteY18" fmla="*/ 2180 h 26687"/>
                <a:gd name="connsiteX19" fmla="*/ 2492 w 20377"/>
                <a:gd name="connsiteY19" fmla="*/ 4878 h 26687"/>
                <a:gd name="connsiteX20" fmla="*/ 6335 w 20377"/>
                <a:gd name="connsiteY20" fmla="*/ 1349 h 26687"/>
                <a:gd name="connsiteX21" fmla="*/ 11424 w 20377"/>
                <a:gd name="connsiteY21" fmla="*/ 0 h 26687"/>
                <a:gd name="connsiteX22" fmla="*/ 18175 w 20377"/>
                <a:gd name="connsiteY22" fmla="*/ 3944 h 26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0377" h="26687">
                  <a:moveTo>
                    <a:pt x="18175" y="3944"/>
                  </a:moveTo>
                  <a:cubicBezTo>
                    <a:pt x="19743" y="5947"/>
                    <a:pt x="20522" y="8459"/>
                    <a:pt x="20356" y="11002"/>
                  </a:cubicBezTo>
                  <a:lnTo>
                    <a:pt x="20356" y="25533"/>
                  </a:lnTo>
                  <a:cubicBezTo>
                    <a:pt x="20335" y="25938"/>
                    <a:pt x="20148" y="26312"/>
                    <a:pt x="19837" y="26571"/>
                  </a:cubicBezTo>
                  <a:cubicBezTo>
                    <a:pt x="19504" y="26727"/>
                    <a:pt x="19131" y="26727"/>
                    <a:pt x="18798" y="26571"/>
                  </a:cubicBezTo>
                  <a:cubicBezTo>
                    <a:pt x="17999" y="26571"/>
                    <a:pt x="17344" y="25917"/>
                    <a:pt x="17344" y="25118"/>
                  </a:cubicBezTo>
                  <a:lnTo>
                    <a:pt x="17344" y="10794"/>
                  </a:lnTo>
                  <a:cubicBezTo>
                    <a:pt x="17458" y="8937"/>
                    <a:pt x="16897" y="7099"/>
                    <a:pt x="15786" y="5605"/>
                  </a:cubicBezTo>
                  <a:cubicBezTo>
                    <a:pt x="14550" y="4162"/>
                    <a:pt x="12702" y="3394"/>
                    <a:pt x="10801" y="3529"/>
                  </a:cubicBezTo>
                  <a:cubicBezTo>
                    <a:pt x="8007" y="3570"/>
                    <a:pt x="5390" y="4909"/>
                    <a:pt x="3739" y="7162"/>
                  </a:cubicBezTo>
                  <a:cubicBezTo>
                    <a:pt x="2929" y="8199"/>
                    <a:pt x="2492" y="9476"/>
                    <a:pt x="2492" y="10794"/>
                  </a:cubicBezTo>
                  <a:lnTo>
                    <a:pt x="2492" y="25118"/>
                  </a:lnTo>
                  <a:cubicBezTo>
                    <a:pt x="2627" y="25450"/>
                    <a:pt x="2627" y="25824"/>
                    <a:pt x="2492" y="26156"/>
                  </a:cubicBezTo>
                  <a:cubicBezTo>
                    <a:pt x="2160" y="26312"/>
                    <a:pt x="1786" y="26312"/>
                    <a:pt x="1454" y="26156"/>
                  </a:cubicBezTo>
                  <a:cubicBezTo>
                    <a:pt x="654" y="26156"/>
                    <a:pt x="0" y="25502"/>
                    <a:pt x="0" y="24703"/>
                  </a:cubicBezTo>
                  <a:lnTo>
                    <a:pt x="0" y="2595"/>
                  </a:lnTo>
                  <a:cubicBezTo>
                    <a:pt x="0" y="1796"/>
                    <a:pt x="654" y="1142"/>
                    <a:pt x="1454" y="1142"/>
                  </a:cubicBezTo>
                  <a:cubicBezTo>
                    <a:pt x="1786" y="986"/>
                    <a:pt x="2160" y="986"/>
                    <a:pt x="2492" y="1142"/>
                  </a:cubicBezTo>
                  <a:cubicBezTo>
                    <a:pt x="2627" y="1474"/>
                    <a:pt x="2627" y="1847"/>
                    <a:pt x="2492" y="2180"/>
                  </a:cubicBezTo>
                  <a:lnTo>
                    <a:pt x="2492" y="4878"/>
                  </a:lnTo>
                  <a:cubicBezTo>
                    <a:pt x="3490" y="3425"/>
                    <a:pt x="4798" y="2221"/>
                    <a:pt x="6335" y="1349"/>
                  </a:cubicBezTo>
                  <a:cubicBezTo>
                    <a:pt x="7883" y="467"/>
                    <a:pt x="9638" y="10"/>
                    <a:pt x="11424" y="0"/>
                  </a:cubicBezTo>
                  <a:cubicBezTo>
                    <a:pt x="14218" y="31"/>
                    <a:pt x="16783" y="1526"/>
                    <a:pt x="18175" y="3944"/>
                  </a:cubicBez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2" name="Freeform 531">
              <a:extLst>
                <a:ext uri="{FF2B5EF4-FFF2-40B4-BE49-F238E27FC236}">
                  <a16:creationId xmlns:a16="http://schemas.microsoft.com/office/drawing/2014/main" id="{9A55A34D-755F-E242-B568-E4A6FD09DB39}"/>
                </a:ext>
              </a:extLst>
            </p:cNvPr>
            <p:cNvSpPr/>
            <p:nvPr/>
          </p:nvSpPr>
          <p:spPr>
            <a:xfrm>
              <a:off x="7474677" y="5270348"/>
              <a:ext cx="12849" cy="31104"/>
            </a:xfrm>
            <a:custGeom>
              <a:avLst/>
              <a:gdLst>
                <a:gd name="connsiteX0" fmla="*/ 8410 w 12849"/>
                <a:gd name="connsiteY0" fmla="*/ 9100 h 31104"/>
                <a:gd name="connsiteX1" fmla="*/ 8410 w 12849"/>
                <a:gd name="connsiteY1" fmla="*/ 25396 h 31104"/>
                <a:gd name="connsiteX2" fmla="*/ 9033 w 12849"/>
                <a:gd name="connsiteY2" fmla="*/ 27887 h 31104"/>
                <a:gd name="connsiteX3" fmla="*/ 10591 w 12849"/>
                <a:gd name="connsiteY3" fmla="*/ 28613 h 31104"/>
                <a:gd name="connsiteX4" fmla="*/ 11318 w 12849"/>
                <a:gd name="connsiteY4" fmla="*/ 28613 h 31104"/>
                <a:gd name="connsiteX5" fmla="*/ 12045 w 12849"/>
                <a:gd name="connsiteY5" fmla="*/ 28613 h 31104"/>
                <a:gd name="connsiteX6" fmla="*/ 12772 w 12849"/>
                <a:gd name="connsiteY6" fmla="*/ 28613 h 31104"/>
                <a:gd name="connsiteX7" fmla="*/ 12772 w 12849"/>
                <a:gd name="connsiteY7" fmla="*/ 29444 h 31104"/>
                <a:gd name="connsiteX8" fmla="*/ 12045 w 12849"/>
                <a:gd name="connsiteY8" fmla="*/ 30585 h 31104"/>
                <a:gd name="connsiteX9" fmla="*/ 10175 w 12849"/>
                <a:gd name="connsiteY9" fmla="*/ 31104 h 31104"/>
                <a:gd name="connsiteX10" fmla="*/ 8098 w 12849"/>
                <a:gd name="connsiteY10" fmla="*/ 31104 h 31104"/>
                <a:gd name="connsiteX11" fmla="*/ 6021 w 12849"/>
                <a:gd name="connsiteY11" fmla="*/ 29547 h 31104"/>
                <a:gd name="connsiteX12" fmla="*/ 5086 w 12849"/>
                <a:gd name="connsiteY12" fmla="*/ 25603 h 31104"/>
                <a:gd name="connsiteX13" fmla="*/ 5086 w 12849"/>
                <a:gd name="connsiteY13" fmla="*/ 8996 h 31104"/>
                <a:gd name="connsiteX14" fmla="*/ 1451 w 12849"/>
                <a:gd name="connsiteY14" fmla="*/ 8996 h 31104"/>
                <a:gd name="connsiteX15" fmla="*/ 101 w 12849"/>
                <a:gd name="connsiteY15" fmla="*/ 7647 h 31104"/>
                <a:gd name="connsiteX16" fmla="*/ 101 w 12849"/>
                <a:gd name="connsiteY16" fmla="*/ 6609 h 31104"/>
                <a:gd name="connsiteX17" fmla="*/ 1036 w 12849"/>
                <a:gd name="connsiteY17" fmla="*/ 6609 h 31104"/>
                <a:gd name="connsiteX18" fmla="*/ 4671 w 12849"/>
                <a:gd name="connsiteY18" fmla="*/ 6609 h 31104"/>
                <a:gd name="connsiteX19" fmla="*/ 4671 w 12849"/>
                <a:gd name="connsiteY19" fmla="*/ 1212 h 31104"/>
                <a:gd name="connsiteX20" fmla="*/ 4671 w 12849"/>
                <a:gd name="connsiteY20" fmla="*/ 70 h 31104"/>
                <a:gd name="connsiteX21" fmla="*/ 5709 w 12849"/>
                <a:gd name="connsiteY21" fmla="*/ 70 h 31104"/>
                <a:gd name="connsiteX22" fmla="*/ 7267 w 12849"/>
                <a:gd name="connsiteY22" fmla="*/ 1409 h 31104"/>
                <a:gd name="connsiteX23" fmla="*/ 7267 w 12849"/>
                <a:gd name="connsiteY23" fmla="*/ 1627 h 31104"/>
                <a:gd name="connsiteX24" fmla="*/ 7267 w 12849"/>
                <a:gd name="connsiteY24" fmla="*/ 7024 h 31104"/>
                <a:gd name="connsiteX25" fmla="*/ 10591 w 12849"/>
                <a:gd name="connsiteY25" fmla="*/ 7024 h 31104"/>
                <a:gd name="connsiteX26" fmla="*/ 11526 w 12849"/>
                <a:gd name="connsiteY26" fmla="*/ 7024 h 31104"/>
                <a:gd name="connsiteX27" fmla="*/ 11526 w 12849"/>
                <a:gd name="connsiteY27" fmla="*/ 7958 h 31104"/>
                <a:gd name="connsiteX28" fmla="*/ 11526 w 12849"/>
                <a:gd name="connsiteY28" fmla="*/ 8893 h 31104"/>
                <a:gd name="connsiteX29" fmla="*/ 10487 w 12849"/>
                <a:gd name="connsiteY29" fmla="*/ 8893 h 31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2849" h="31104">
                  <a:moveTo>
                    <a:pt x="8410" y="9100"/>
                  </a:moveTo>
                  <a:lnTo>
                    <a:pt x="8410" y="25396"/>
                  </a:lnTo>
                  <a:cubicBezTo>
                    <a:pt x="8306" y="26278"/>
                    <a:pt x="8524" y="27160"/>
                    <a:pt x="9033" y="27887"/>
                  </a:cubicBezTo>
                  <a:cubicBezTo>
                    <a:pt x="9407" y="28364"/>
                    <a:pt x="9988" y="28634"/>
                    <a:pt x="10591" y="28613"/>
                  </a:cubicBezTo>
                  <a:lnTo>
                    <a:pt x="11318" y="28613"/>
                  </a:lnTo>
                  <a:lnTo>
                    <a:pt x="12045" y="28613"/>
                  </a:lnTo>
                  <a:cubicBezTo>
                    <a:pt x="12284" y="28530"/>
                    <a:pt x="12533" y="28530"/>
                    <a:pt x="12772" y="28613"/>
                  </a:cubicBezTo>
                  <a:cubicBezTo>
                    <a:pt x="12876" y="28883"/>
                    <a:pt x="12876" y="29174"/>
                    <a:pt x="12772" y="29444"/>
                  </a:cubicBezTo>
                  <a:cubicBezTo>
                    <a:pt x="12772" y="29932"/>
                    <a:pt x="12491" y="30378"/>
                    <a:pt x="12045" y="30585"/>
                  </a:cubicBezTo>
                  <a:cubicBezTo>
                    <a:pt x="11474" y="30897"/>
                    <a:pt x="10830" y="31073"/>
                    <a:pt x="10175" y="31104"/>
                  </a:cubicBezTo>
                  <a:lnTo>
                    <a:pt x="8098" y="31104"/>
                  </a:lnTo>
                  <a:cubicBezTo>
                    <a:pt x="7267" y="30793"/>
                    <a:pt x="6551" y="30253"/>
                    <a:pt x="6021" y="29547"/>
                  </a:cubicBezTo>
                  <a:cubicBezTo>
                    <a:pt x="5294" y="28364"/>
                    <a:pt x="4962" y="26984"/>
                    <a:pt x="5086" y="25603"/>
                  </a:cubicBezTo>
                  <a:lnTo>
                    <a:pt x="5086" y="8996"/>
                  </a:lnTo>
                  <a:lnTo>
                    <a:pt x="1451" y="8996"/>
                  </a:lnTo>
                  <a:cubicBezTo>
                    <a:pt x="724" y="8945"/>
                    <a:pt x="153" y="8373"/>
                    <a:pt x="101" y="7647"/>
                  </a:cubicBezTo>
                  <a:cubicBezTo>
                    <a:pt x="-34" y="7315"/>
                    <a:pt x="-34" y="6941"/>
                    <a:pt x="101" y="6609"/>
                  </a:cubicBezTo>
                  <a:cubicBezTo>
                    <a:pt x="402" y="6516"/>
                    <a:pt x="735" y="6516"/>
                    <a:pt x="1036" y="6609"/>
                  </a:cubicBezTo>
                  <a:lnTo>
                    <a:pt x="4671" y="6609"/>
                  </a:lnTo>
                  <a:lnTo>
                    <a:pt x="4671" y="1212"/>
                  </a:lnTo>
                  <a:cubicBezTo>
                    <a:pt x="4526" y="849"/>
                    <a:pt x="4526" y="433"/>
                    <a:pt x="4671" y="70"/>
                  </a:cubicBezTo>
                  <a:cubicBezTo>
                    <a:pt x="5014" y="-23"/>
                    <a:pt x="5367" y="-23"/>
                    <a:pt x="5709" y="70"/>
                  </a:cubicBezTo>
                  <a:cubicBezTo>
                    <a:pt x="6509" y="8"/>
                    <a:pt x="7205" y="610"/>
                    <a:pt x="7267" y="1409"/>
                  </a:cubicBezTo>
                  <a:cubicBezTo>
                    <a:pt x="7278" y="1482"/>
                    <a:pt x="7278" y="1554"/>
                    <a:pt x="7267" y="1627"/>
                  </a:cubicBezTo>
                  <a:lnTo>
                    <a:pt x="7267" y="7024"/>
                  </a:lnTo>
                  <a:lnTo>
                    <a:pt x="10591" y="7024"/>
                  </a:lnTo>
                  <a:cubicBezTo>
                    <a:pt x="10892" y="6889"/>
                    <a:pt x="11224" y="6889"/>
                    <a:pt x="11526" y="7024"/>
                  </a:cubicBezTo>
                  <a:cubicBezTo>
                    <a:pt x="11661" y="7325"/>
                    <a:pt x="11661" y="7657"/>
                    <a:pt x="11526" y="7958"/>
                  </a:cubicBezTo>
                  <a:cubicBezTo>
                    <a:pt x="11650" y="8259"/>
                    <a:pt x="11650" y="8592"/>
                    <a:pt x="11526" y="8893"/>
                  </a:cubicBezTo>
                  <a:cubicBezTo>
                    <a:pt x="11193" y="9028"/>
                    <a:pt x="10819" y="9028"/>
                    <a:pt x="10487" y="8893"/>
                  </a:cubicBezTo>
                  <a:close/>
                </a:path>
              </a:pathLst>
            </a:custGeom>
            <a:solidFill>
              <a:srgbClr val="000000"/>
            </a:solidFill>
            <a:ln w="10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4134457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9C6B6B5-2231-3B42-9AB3-D22BBDB83C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PA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80AF7F-16D6-694F-A811-E993F87E6DC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777F85AB-4DEA-994B-8B5A-0A1AE8D3EB3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4982" y="52869"/>
            <a:ext cx="1040384" cy="839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58982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Text Placeholder 210">
            <a:extLst>
              <a:ext uri="{FF2B5EF4-FFF2-40B4-BE49-F238E27FC236}">
                <a16:creationId xmlns:a16="http://schemas.microsoft.com/office/drawing/2014/main" id="{9EAF6233-8CE6-674C-A133-B2A2A85F73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4" name="Picture Placeholder 19" descr="A person reading a book&#10;&#10;Description automatically generated">
            <a:extLst>
              <a:ext uri="{FF2B5EF4-FFF2-40B4-BE49-F238E27FC236}">
                <a16:creationId xmlns:a16="http://schemas.microsoft.com/office/drawing/2014/main" id="{BDC94CF8-84F0-D848-B322-F27753C8247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16811" y="3064162"/>
            <a:ext cx="1652651" cy="1652651"/>
          </a:xfrm>
          <a:prstGeom prst="ellipse">
            <a:avLst/>
          </a:prstGeom>
        </p:spPr>
      </p:pic>
      <p:sp>
        <p:nvSpPr>
          <p:cNvPr id="25" name="Oval 24">
            <a:extLst>
              <a:ext uri="{FF2B5EF4-FFF2-40B4-BE49-F238E27FC236}">
                <a16:creationId xmlns:a16="http://schemas.microsoft.com/office/drawing/2014/main" id="{3ABE70BB-8BD0-E744-B078-31A6ECD6195B}"/>
              </a:ext>
            </a:extLst>
          </p:cNvPr>
          <p:cNvSpPr/>
          <p:nvPr/>
        </p:nvSpPr>
        <p:spPr>
          <a:xfrm rot="16200000">
            <a:off x="1229043" y="3698537"/>
            <a:ext cx="750275" cy="774739"/>
          </a:xfrm>
          <a:prstGeom prst="ellipse">
            <a:avLst/>
          </a:prstGeom>
          <a:gradFill>
            <a:gsLst>
              <a:gs pos="48000">
                <a:schemeClr val="accent1">
                  <a:alpha val="73000"/>
                </a:schemeClr>
              </a:gs>
              <a:gs pos="99000">
                <a:schemeClr val="accent6">
                  <a:alpha val="47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0119256-2634-8240-B34C-56FBF5591D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0453" y="1087879"/>
            <a:ext cx="2936998" cy="975175"/>
          </a:xfrm>
          <a:prstGeom prst="rect">
            <a:avLst/>
          </a:prstGeom>
        </p:spPr>
      </p:pic>
      <p:sp>
        <p:nvSpPr>
          <p:cNvPr id="3" name="Freeform 2">
            <a:extLst>
              <a:ext uri="{FF2B5EF4-FFF2-40B4-BE49-F238E27FC236}">
                <a16:creationId xmlns:a16="http://schemas.microsoft.com/office/drawing/2014/main" id="{1546A5E4-61A2-A34B-A8A5-302B49B49FFA}"/>
              </a:ext>
            </a:extLst>
          </p:cNvPr>
          <p:cNvSpPr/>
          <p:nvPr/>
        </p:nvSpPr>
        <p:spPr>
          <a:xfrm>
            <a:off x="2926755" y="6449176"/>
            <a:ext cx="8948686" cy="85921"/>
          </a:xfrm>
          <a:custGeom>
            <a:avLst/>
            <a:gdLst>
              <a:gd name="connsiteX0" fmla="*/ 8908964 w 8948686"/>
              <a:gd name="connsiteY0" fmla="*/ 85922 h 85921"/>
              <a:gd name="connsiteX1" fmla="*/ 41624 w 8948686"/>
              <a:gd name="connsiteY1" fmla="*/ 85922 h 85921"/>
              <a:gd name="connsiteX2" fmla="*/ 378 w 8948686"/>
              <a:gd name="connsiteY2" fmla="*/ 46887 h 85921"/>
              <a:gd name="connsiteX3" fmla="*/ 35926 w 8948686"/>
              <a:gd name="connsiteY3" fmla="*/ 325 h 85921"/>
              <a:gd name="connsiteX4" fmla="*/ 39601 w 8948686"/>
              <a:gd name="connsiteY4" fmla="*/ 0 h 85921"/>
              <a:gd name="connsiteX5" fmla="*/ 8906941 w 8948686"/>
              <a:gd name="connsiteY5" fmla="*/ 0 h 85921"/>
              <a:gd name="connsiteX6" fmla="*/ 8948670 w 8948686"/>
              <a:gd name="connsiteY6" fmla="*/ 44016 h 85921"/>
              <a:gd name="connsiteX7" fmla="*/ 8908627 w 8948686"/>
              <a:gd name="connsiteY7" fmla="*/ 85586 h 85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948686" h="85921">
                <a:moveTo>
                  <a:pt x="8908964" y="85922"/>
                </a:moveTo>
                <a:lnTo>
                  <a:pt x="41624" y="85922"/>
                </a:lnTo>
                <a:cubicBezTo>
                  <a:pt x="19808" y="85563"/>
                  <a:pt x="1892" y="68614"/>
                  <a:pt x="378" y="46887"/>
                </a:cubicBezTo>
                <a:cubicBezTo>
                  <a:pt x="-2687" y="24229"/>
                  <a:pt x="13229" y="3388"/>
                  <a:pt x="35926" y="325"/>
                </a:cubicBezTo>
                <a:cubicBezTo>
                  <a:pt x="37146" y="168"/>
                  <a:pt x="38372" y="56"/>
                  <a:pt x="39601" y="0"/>
                </a:cubicBezTo>
                <a:lnTo>
                  <a:pt x="8906941" y="0"/>
                </a:lnTo>
                <a:cubicBezTo>
                  <a:pt x="8930643" y="651"/>
                  <a:pt x="8949322" y="20359"/>
                  <a:pt x="8948670" y="44016"/>
                </a:cubicBezTo>
                <a:cubicBezTo>
                  <a:pt x="8948063" y="66102"/>
                  <a:pt x="8930722" y="84105"/>
                  <a:pt x="8908627" y="85586"/>
                </a:cubicBezTo>
                <a:close/>
              </a:path>
            </a:pathLst>
          </a:custGeom>
          <a:solidFill>
            <a:srgbClr val="231F20"/>
          </a:solidFill>
          <a:ln w="1123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49E29ABE-4FD6-C14D-8DA8-7C01B805460E}"/>
              </a:ext>
            </a:extLst>
          </p:cNvPr>
          <p:cNvSpPr/>
          <p:nvPr/>
        </p:nvSpPr>
        <p:spPr>
          <a:xfrm>
            <a:off x="3167059" y="2323418"/>
            <a:ext cx="206412" cy="155659"/>
          </a:xfrm>
          <a:custGeom>
            <a:avLst/>
            <a:gdLst>
              <a:gd name="connsiteX0" fmla="*/ 5116 w 206412"/>
              <a:gd name="connsiteY0" fmla="*/ 74997 h 155659"/>
              <a:gd name="connsiteX1" fmla="*/ 4891 w 206412"/>
              <a:gd name="connsiteY1" fmla="*/ 99114 h 155659"/>
              <a:gd name="connsiteX2" fmla="*/ 5116 w 206412"/>
              <a:gd name="connsiteY2" fmla="*/ 99338 h 155659"/>
              <a:gd name="connsiteX3" fmla="*/ 57151 w 206412"/>
              <a:gd name="connsiteY3" fmla="*/ 150600 h 155659"/>
              <a:gd name="connsiteX4" fmla="*/ 81472 w 206412"/>
              <a:gd name="connsiteY4" fmla="*/ 150667 h 155659"/>
              <a:gd name="connsiteX5" fmla="*/ 81539 w 206412"/>
              <a:gd name="connsiteY5" fmla="*/ 150600 h 155659"/>
              <a:gd name="connsiteX6" fmla="*/ 201456 w 206412"/>
              <a:gd name="connsiteY6" fmla="*/ 29232 h 155659"/>
              <a:gd name="connsiteX7" fmla="*/ 201287 w 206412"/>
              <a:gd name="connsiteY7" fmla="*/ 4947 h 155659"/>
              <a:gd name="connsiteX8" fmla="*/ 176956 w 206412"/>
              <a:gd name="connsiteY8" fmla="*/ 5115 h 155659"/>
              <a:gd name="connsiteX9" fmla="*/ 69176 w 206412"/>
              <a:gd name="connsiteY9" fmla="*/ 114256 h 155659"/>
              <a:gd name="connsiteX10" fmla="*/ 29504 w 206412"/>
              <a:gd name="connsiteY10" fmla="*/ 74997 h 155659"/>
              <a:gd name="connsiteX11" fmla="*/ 5116 w 206412"/>
              <a:gd name="connsiteY11" fmla="*/ 74997 h 155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06412" h="155659">
                <a:moveTo>
                  <a:pt x="5116" y="74997"/>
                </a:moveTo>
                <a:cubicBezTo>
                  <a:pt x="-1616" y="81593"/>
                  <a:pt x="-1717" y="92383"/>
                  <a:pt x="4891" y="99114"/>
                </a:cubicBezTo>
                <a:cubicBezTo>
                  <a:pt x="4958" y="99181"/>
                  <a:pt x="5037" y="99259"/>
                  <a:pt x="5116" y="99338"/>
                </a:cubicBezTo>
                <a:lnTo>
                  <a:pt x="57151" y="150600"/>
                </a:lnTo>
                <a:cubicBezTo>
                  <a:pt x="63849" y="157318"/>
                  <a:pt x="74740" y="157352"/>
                  <a:pt x="81472" y="150667"/>
                </a:cubicBezTo>
                <a:cubicBezTo>
                  <a:pt x="81494" y="150644"/>
                  <a:pt x="81517" y="150622"/>
                  <a:pt x="81539" y="150600"/>
                </a:cubicBezTo>
                <a:lnTo>
                  <a:pt x="201456" y="29232"/>
                </a:lnTo>
                <a:cubicBezTo>
                  <a:pt x="208132" y="22479"/>
                  <a:pt x="208053" y="11610"/>
                  <a:pt x="201287" y="4947"/>
                </a:cubicBezTo>
                <a:cubicBezTo>
                  <a:pt x="194522" y="-1716"/>
                  <a:pt x="183631" y="-1637"/>
                  <a:pt x="176956" y="5115"/>
                </a:cubicBezTo>
                <a:lnTo>
                  <a:pt x="69176" y="114256"/>
                </a:lnTo>
                <a:lnTo>
                  <a:pt x="29504" y="74997"/>
                </a:lnTo>
                <a:cubicBezTo>
                  <a:pt x="22761" y="68312"/>
                  <a:pt x="11859" y="68312"/>
                  <a:pt x="5116" y="74997"/>
                </a:cubicBezTo>
                <a:close/>
              </a:path>
            </a:pathLst>
          </a:custGeom>
          <a:solidFill>
            <a:srgbClr val="040407"/>
          </a:solidFill>
          <a:ln w="1123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5" name="Freeform 34">
            <a:extLst>
              <a:ext uri="{FF2B5EF4-FFF2-40B4-BE49-F238E27FC236}">
                <a16:creationId xmlns:a16="http://schemas.microsoft.com/office/drawing/2014/main" id="{1E471A5D-D542-F84E-B498-D88862814377}"/>
              </a:ext>
            </a:extLst>
          </p:cNvPr>
          <p:cNvSpPr/>
          <p:nvPr/>
        </p:nvSpPr>
        <p:spPr>
          <a:xfrm>
            <a:off x="3007865" y="2800207"/>
            <a:ext cx="239946" cy="124283"/>
          </a:xfrm>
          <a:custGeom>
            <a:avLst/>
            <a:gdLst>
              <a:gd name="connsiteX0" fmla="*/ 181842 w 239946"/>
              <a:gd name="connsiteY0" fmla="*/ 0 h 124283"/>
              <a:gd name="connsiteX1" fmla="*/ 171840 w 239946"/>
              <a:gd name="connsiteY1" fmla="*/ 23219 h 124283"/>
              <a:gd name="connsiteX2" fmla="*/ 214659 w 239946"/>
              <a:gd name="connsiteY2" fmla="*/ 61245 h 124283"/>
              <a:gd name="connsiteX3" fmla="*/ 214659 w 239946"/>
              <a:gd name="connsiteY3" fmla="*/ 99046 h 124283"/>
              <a:gd name="connsiteX4" fmla="*/ 25287 w 239946"/>
              <a:gd name="connsiteY4" fmla="*/ 99046 h 124283"/>
              <a:gd name="connsiteX5" fmla="*/ 25287 w 239946"/>
              <a:gd name="connsiteY5" fmla="*/ 61245 h 124283"/>
              <a:gd name="connsiteX6" fmla="*/ 68219 w 239946"/>
              <a:gd name="connsiteY6" fmla="*/ 23219 h 124283"/>
              <a:gd name="connsiteX7" fmla="*/ 58216 w 239946"/>
              <a:gd name="connsiteY7" fmla="*/ 0 h 124283"/>
              <a:gd name="connsiteX8" fmla="*/ 0 w 239946"/>
              <a:gd name="connsiteY8" fmla="*/ 61245 h 124283"/>
              <a:gd name="connsiteX9" fmla="*/ 0 w 239946"/>
              <a:gd name="connsiteY9" fmla="*/ 124284 h 124283"/>
              <a:gd name="connsiteX10" fmla="*/ 239946 w 239946"/>
              <a:gd name="connsiteY10" fmla="*/ 124284 h 124283"/>
              <a:gd name="connsiteX11" fmla="*/ 239946 w 239946"/>
              <a:gd name="connsiteY11" fmla="*/ 61245 h 124283"/>
              <a:gd name="connsiteX12" fmla="*/ 181842 w 239946"/>
              <a:gd name="connsiteY12" fmla="*/ 0 h 124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39946" h="124283">
                <a:moveTo>
                  <a:pt x="181842" y="0"/>
                </a:moveTo>
                <a:lnTo>
                  <a:pt x="171840" y="23219"/>
                </a:lnTo>
                <a:cubicBezTo>
                  <a:pt x="197464" y="34436"/>
                  <a:pt x="214659" y="49467"/>
                  <a:pt x="214659" y="61245"/>
                </a:cubicBezTo>
                <a:lnTo>
                  <a:pt x="214659" y="99046"/>
                </a:lnTo>
                <a:lnTo>
                  <a:pt x="25287" y="99046"/>
                </a:lnTo>
                <a:lnTo>
                  <a:pt x="25287" y="61245"/>
                </a:lnTo>
                <a:cubicBezTo>
                  <a:pt x="25287" y="49467"/>
                  <a:pt x="42482" y="34212"/>
                  <a:pt x="68219" y="23219"/>
                </a:cubicBezTo>
                <a:lnTo>
                  <a:pt x="58216" y="0"/>
                </a:lnTo>
                <a:cubicBezTo>
                  <a:pt x="21241" y="15928"/>
                  <a:pt x="0" y="38250"/>
                  <a:pt x="0" y="61245"/>
                </a:cubicBezTo>
                <a:lnTo>
                  <a:pt x="0" y="124284"/>
                </a:lnTo>
                <a:lnTo>
                  <a:pt x="239946" y="124284"/>
                </a:lnTo>
                <a:lnTo>
                  <a:pt x="239946" y="61245"/>
                </a:lnTo>
                <a:cubicBezTo>
                  <a:pt x="239946" y="38250"/>
                  <a:pt x="218705" y="15928"/>
                  <a:pt x="181842" y="0"/>
                </a:cubicBezTo>
                <a:close/>
              </a:path>
            </a:pathLst>
          </a:custGeom>
          <a:solidFill>
            <a:srgbClr val="040407"/>
          </a:solidFill>
          <a:ln w="1123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6" name="Freeform 35">
            <a:extLst>
              <a:ext uri="{FF2B5EF4-FFF2-40B4-BE49-F238E27FC236}">
                <a16:creationId xmlns:a16="http://schemas.microsoft.com/office/drawing/2014/main" id="{65BD6B58-6945-524F-8526-0FD5BC19DF9D}"/>
              </a:ext>
            </a:extLst>
          </p:cNvPr>
          <p:cNvSpPr/>
          <p:nvPr/>
        </p:nvSpPr>
        <p:spPr>
          <a:xfrm>
            <a:off x="3058406" y="2649899"/>
            <a:ext cx="138969" cy="161187"/>
          </a:xfrm>
          <a:custGeom>
            <a:avLst/>
            <a:gdLst>
              <a:gd name="connsiteX0" fmla="*/ 69488 w 138969"/>
              <a:gd name="connsiteY0" fmla="*/ 161188 h 161187"/>
              <a:gd name="connsiteX1" fmla="*/ 138966 w 138969"/>
              <a:gd name="connsiteY1" fmla="*/ 90555 h 161187"/>
              <a:gd name="connsiteX2" fmla="*/ 138944 w 138969"/>
              <a:gd name="connsiteY2" fmla="*/ 89175 h 161187"/>
              <a:gd name="connsiteX3" fmla="*/ 138944 w 138969"/>
              <a:gd name="connsiteY3" fmla="*/ 69321 h 161187"/>
              <a:gd name="connsiteX4" fmla="*/ 69488 w 138969"/>
              <a:gd name="connsiteY4" fmla="*/ 0 h 161187"/>
              <a:gd name="connsiteX5" fmla="*/ 33 w 138969"/>
              <a:gd name="connsiteY5" fmla="*/ 69321 h 161187"/>
              <a:gd name="connsiteX6" fmla="*/ 33 w 138969"/>
              <a:gd name="connsiteY6" fmla="*/ 89175 h 161187"/>
              <a:gd name="connsiteX7" fmla="*/ 67881 w 138969"/>
              <a:gd name="connsiteY7" fmla="*/ 161154 h 161187"/>
              <a:gd name="connsiteX8" fmla="*/ 69488 w 138969"/>
              <a:gd name="connsiteY8" fmla="*/ 161188 h 161187"/>
              <a:gd name="connsiteX9" fmla="*/ 25208 w 138969"/>
              <a:gd name="connsiteY9" fmla="*/ 69321 h 161187"/>
              <a:gd name="connsiteX10" fmla="*/ 67207 w 138969"/>
              <a:gd name="connsiteY10" fmla="*/ 22961 h 161187"/>
              <a:gd name="connsiteX11" fmla="*/ 113657 w 138969"/>
              <a:gd name="connsiteY11" fmla="*/ 64868 h 161187"/>
              <a:gd name="connsiteX12" fmla="*/ 113657 w 138969"/>
              <a:gd name="connsiteY12" fmla="*/ 69321 h 161187"/>
              <a:gd name="connsiteX13" fmla="*/ 113657 w 138969"/>
              <a:gd name="connsiteY13" fmla="*/ 89175 h 161187"/>
              <a:gd name="connsiteX14" fmla="*/ 71657 w 138969"/>
              <a:gd name="connsiteY14" fmla="*/ 135535 h 161187"/>
              <a:gd name="connsiteX15" fmla="*/ 25208 w 138969"/>
              <a:gd name="connsiteY15" fmla="*/ 93628 h 161187"/>
              <a:gd name="connsiteX16" fmla="*/ 25208 w 138969"/>
              <a:gd name="connsiteY16" fmla="*/ 89175 h 161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38969" h="161187">
                <a:moveTo>
                  <a:pt x="69488" y="161188"/>
                </a:moveTo>
                <a:cubicBezTo>
                  <a:pt x="108217" y="160829"/>
                  <a:pt x="139326" y="129208"/>
                  <a:pt x="138966" y="90555"/>
                </a:cubicBezTo>
                <a:cubicBezTo>
                  <a:pt x="138966" y="90095"/>
                  <a:pt x="138955" y="89635"/>
                  <a:pt x="138944" y="89175"/>
                </a:cubicBezTo>
                <a:lnTo>
                  <a:pt x="138944" y="69321"/>
                </a:lnTo>
                <a:cubicBezTo>
                  <a:pt x="138944" y="31037"/>
                  <a:pt x="107846" y="0"/>
                  <a:pt x="69488" y="0"/>
                </a:cubicBezTo>
                <a:cubicBezTo>
                  <a:pt x="31131" y="0"/>
                  <a:pt x="33" y="31037"/>
                  <a:pt x="33" y="69321"/>
                </a:cubicBezTo>
                <a:lnTo>
                  <a:pt x="33" y="89175"/>
                </a:lnTo>
                <a:cubicBezTo>
                  <a:pt x="-1147" y="127750"/>
                  <a:pt x="29231" y="159977"/>
                  <a:pt x="67881" y="161154"/>
                </a:cubicBezTo>
                <a:cubicBezTo>
                  <a:pt x="68421" y="161177"/>
                  <a:pt x="68949" y="161188"/>
                  <a:pt x="69488" y="161188"/>
                </a:cubicBezTo>
                <a:close/>
                <a:moveTo>
                  <a:pt x="25208" y="69321"/>
                </a:moveTo>
                <a:cubicBezTo>
                  <a:pt x="23972" y="44946"/>
                  <a:pt x="42774" y="24184"/>
                  <a:pt x="67207" y="22961"/>
                </a:cubicBezTo>
                <a:cubicBezTo>
                  <a:pt x="91629" y="21727"/>
                  <a:pt x="112420" y="40493"/>
                  <a:pt x="113657" y="64868"/>
                </a:cubicBezTo>
                <a:cubicBezTo>
                  <a:pt x="113735" y="66348"/>
                  <a:pt x="113735" y="67840"/>
                  <a:pt x="113657" y="69321"/>
                </a:cubicBezTo>
                <a:lnTo>
                  <a:pt x="113657" y="89175"/>
                </a:lnTo>
                <a:cubicBezTo>
                  <a:pt x="114893" y="113549"/>
                  <a:pt x="96090" y="134312"/>
                  <a:pt x="71657" y="135535"/>
                </a:cubicBezTo>
                <a:cubicBezTo>
                  <a:pt x="47236" y="136769"/>
                  <a:pt x="26444" y="118003"/>
                  <a:pt x="25208" y="93628"/>
                </a:cubicBezTo>
                <a:cubicBezTo>
                  <a:pt x="25129" y="92147"/>
                  <a:pt x="25129" y="90656"/>
                  <a:pt x="25208" y="89175"/>
                </a:cubicBezTo>
                <a:close/>
              </a:path>
            </a:pathLst>
          </a:custGeom>
          <a:solidFill>
            <a:srgbClr val="040407"/>
          </a:solidFill>
          <a:ln w="1123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7" name="Freeform 36">
            <a:extLst>
              <a:ext uri="{FF2B5EF4-FFF2-40B4-BE49-F238E27FC236}">
                <a16:creationId xmlns:a16="http://schemas.microsoft.com/office/drawing/2014/main" id="{90D57279-11D0-F84A-B1F9-2D1DB4F8A904}"/>
              </a:ext>
            </a:extLst>
          </p:cNvPr>
          <p:cNvSpPr/>
          <p:nvPr/>
        </p:nvSpPr>
        <p:spPr>
          <a:xfrm>
            <a:off x="2831192" y="2508566"/>
            <a:ext cx="542829" cy="554566"/>
          </a:xfrm>
          <a:custGeom>
            <a:avLst/>
            <a:gdLst>
              <a:gd name="connsiteX0" fmla="*/ 25175 w 542829"/>
              <a:gd name="connsiteY0" fmla="*/ 554567 h 554566"/>
              <a:gd name="connsiteX1" fmla="*/ 479780 w 542829"/>
              <a:gd name="connsiteY1" fmla="*/ 554567 h 554566"/>
              <a:gd name="connsiteX2" fmla="*/ 479780 w 542829"/>
              <a:gd name="connsiteY2" fmla="*/ 441163 h 554566"/>
              <a:gd name="connsiteX3" fmla="*/ 542830 w 542829"/>
              <a:gd name="connsiteY3" fmla="*/ 441163 h 554566"/>
              <a:gd name="connsiteX4" fmla="*/ 542830 w 542829"/>
              <a:gd name="connsiteY4" fmla="*/ 327311 h 554566"/>
              <a:gd name="connsiteX5" fmla="*/ 479780 w 542829"/>
              <a:gd name="connsiteY5" fmla="*/ 327311 h 554566"/>
              <a:gd name="connsiteX6" fmla="*/ 479780 w 542829"/>
              <a:gd name="connsiteY6" fmla="*/ 302185 h 554566"/>
              <a:gd name="connsiteX7" fmla="*/ 542830 w 542829"/>
              <a:gd name="connsiteY7" fmla="*/ 302185 h 554566"/>
              <a:gd name="connsiteX8" fmla="*/ 542830 w 542829"/>
              <a:gd name="connsiteY8" fmla="*/ 189118 h 554566"/>
              <a:gd name="connsiteX9" fmla="*/ 479780 w 542829"/>
              <a:gd name="connsiteY9" fmla="*/ 189118 h 554566"/>
              <a:gd name="connsiteX10" fmla="*/ 479780 w 542829"/>
              <a:gd name="connsiteY10" fmla="*/ 163880 h 554566"/>
              <a:gd name="connsiteX11" fmla="*/ 542830 w 542829"/>
              <a:gd name="connsiteY11" fmla="*/ 163880 h 554566"/>
              <a:gd name="connsiteX12" fmla="*/ 542830 w 542829"/>
              <a:gd name="connsiteY12" fmla="*/ 50476 h 554566"/>
              <a:gd name="connsiteX13" fmla="*/ 479780 w 542829"/>
              <a:gd name="connsiteY13" fmla="*/ 50476 h 554566"/>
              <a:gd name="connsiteX14" fmla="*/ 479780 w 542829"/>
              <a:gd name="connsiteY14" fmla="*/ 0 h 554566"/>
              <a:gd name="connsiteX15" fmla="*/ 25175 w 542829"/>
              <a:gd name="connsiteY15" fmla="*/ 0 h 554566"/>
              <a:gd name="connsiteX16" fmla="*/ 25175 w 542829"/>
              <a:gd name="connsiteY16" fmla="*/ 75715 h 554566"/>
              <a:gd name="connsiteX17" fmla="*/ 0 w 542829"/>
              <a:gd name="connsiteY17" fmla="*/ 75715 h 554566"/>
              <a:gd name="connsiteX18" fmla="*/ 0 w 542829"/>
              <a:gd name="connsiteY18" fmla="*/ 100840 h 554566"/>
              <a:gd name="connsiteX19" fmla="*/ 25175 w 542829"/>
              <a:gd name="connsiteY19" fmla="*/ 100840 h 554566"/>
              <a:gd name="connsiteX20" fmla="*/ 25175 w 542829"/>
              <a:gd name="connsiteY20" fmla="*/ 151317 h 554566"/>
              <a:gd name="connsiteX21" fmla="*/ 0 w 542829"/>
              <a:gd name="connsiteY21" fmla="*/ 151317 h 554566"/>
              <a:gd name="connsiteX22" fmla="*/ 0 w 542829"/>
              <a:gd name="connsiteY22" fmla="*/ 176443 h 554566"/>
              <a:gd name="connsiteX23" fmla="*/ 25175 w 542829"/>
              <a:gd name="connsiteY23" fmla="*/ 176443 h 554566"/>
              <a:gd name="connsiteX24" fmla="*/ 25175 w 542829"/>
              <a:gd name="connsiteY24" fmla="*/ 226919 h 554566"/>
              <a:gd name="connsiteX25" fmla="*/ 0 w 542829"/>
              <a:gd name="connsiteY25" fmla="*/ 226919 h 554566"/>
              <a:gd name="connsiteX26" fmla="*/ 0 w 542829"/>
              <a:gd name="connsiteY26" fmla="*/ 252045 h 554566"/>
              <a:gd name="connsiteX27" fmla="*/ 25175 w 542829"/>
              <a:gd name="connsiteY27" fmla="*/ 252045 h 554566"/>
              <a:gd name="connsiteX28" fmla="*/ 25175 w 542829"/>
              <a:gd name="connsiteY28" fmla="*/ 302522 h 554566"/>
              <a:gd name="connsiteX29" fmla="*/ 0 w 542829"/>
              <a:gd name="connsiteY29" fmla="*/ 302522 h 554566"/>
              <a:gd name="connsiteX30" fmla="*/ 0 w 542829"/>
              <a:gd name="connsiteY30" fmla="*/ 327311 h 554566"/>
              <a:gd name="connsiteX31" fmla="*/ 25175 w 542829"/>
              <a:gd name="connsiteY31" fmla="*/ 327311 h 554566"/>
              <a:gd name="connsiteX32" fmla="*/ 25175 w 542829"/>
              <a:gd name="connsiteY32" fmla="*/ 377787 h 554566"/>
              <a:gd name="connsiteX33" fmla="*/ 0 w 542829"/>
              <a:gd name="connsiteY33" fmla="*/ 377787 h 554566"/>
              <a:gd name="connsiteX34" fmla="*/ 0 w 542829"/>
              <a:gd name="connsiteY34" fmla="*/ 403026 h 554566"/>
              <a:gd name="connsiteX35" fmla="*/ 25175 w 542829"/>
              <a:gd name="connsiteY35" fmla="*/ 403026 h 554566"/>
              <a:gd name="connsiteX36" fmla="*/ 25175 w 542829"/>
              <a:gd name="connsiteY36" fmla="*/ 453390 h 554566"/>
              <a:gd name="connsiteX37" fmla="*/ 0 w 542829"/>
              <a:gd name="connsiteY37" fmla="*/ 453390 h 554566"/>
              <a:gd name="connsiteX38" fmla="*/ 0 w 542829"/>
              <a:gd name="connsiteY38" fmla="*/ 478628 h 554566"/>
              <a:gd name="connsiteX39" fmla="*/ 25175 w 542829"/>
              <a:gd name="connsiteY39" fmla="*/ 478628 h 554566"/>
              <a:gd name="connsiteX40" fmla="*/ 479780 w 542829"/>
              <a:gd name="connsiteY40" fmla="*/ 75715 h 554566"/>
              <a:gd name="connsiteX41" fmla="*/ 517655 w 542829"/>
              <a:gd name="connsiteY41" fmla="*/ 75715 h 554566"/>
              <a:gd name="connsiteX42" fmla="*/ 517655 w 542829"/>
              <a:gd name="connsiteY42" fmla="*/ 138642 h 554566"/>
              <a:gd name="connsiteX43" fmla="*/ 479780 w 542829"/>
              <a:gd name="connsiteY43" fmla="*/ 138642 h 554566"/>
              <a:gd name="connsiteX44" fmla="*/ 479780 w 542829"/>
              <a:gd name="connsiteY44" fmla="*/ 214244 h 554566"/>
              <a:gd name="connsiteX45" fmla="*/ 517655 w 542829"/>
              <a:gd name="connsiteY45" fmla="*/ 214244 h 554566"/>
              <a:gd name="connsiteX46" fmla="*/ 517655 w 542829"/>
              <a:gd name="connsiteY46" fmla="*/ 277283 h 554566"/>
              <a:gd name="connsiteX47" fmla="*/ 479780 w 542829"/>
              <a:gd name="connsiteY47" fmla="*/ 277283 h 554566"/>
              <a:gd name="connsiteX48" fmla="*/ 479780 w 542829"/>
              <a:gd name="connsiteY48" fmla="*/ 352886 h 554566"/>
              <a:gd name="connsiteX49" fmla="*/ 517655 w 542829"/>
              <a:gd name="connsiteY49" fmla="*/ 352886 h 554566"/>
              <a:gd name="connsiteX50" fmla="*/ 517655 w 542829"/>
              <a:gd name="connsiteY50" fmla="*/ 415925 h 554566"/>
              <a:gd name="connsiteX51" fmla="*/ 479780 w 542829"/>
              <a:gd name="connsiteY51" fmla="*/ 415925 h 554566"/>
              <a:gd name="connsiteX52" fmla="*/ 138798 w 542829"/>
              <a:gd name="connsiteY52" fmla="*/ 25238 h 554566"/>
              <a:gd name="connsiteX53" fmla="*/ 454493 w 542829"/>
              <a:gd name="connsiteY53" fmla="*/ 25238 h 554566"/>
              <a:gd name="connsiteX54" fmla="*/ 454493 w 542829"/>
              <a:gd name="connsiteY54" fmla="*/ 529217 h 554566"/>
              <a:gd name="connsiteX55" fmla="*/ 138798 w 542829"/>
              <a:gd name="connsiteY55" fmla="*/ 529217 h 554566"/>
              <a:gd name="connsiteX56" fmla="*/ 50462 w 542829"/>
              <a:gd name="connsiteY56" fmla="*/ 478965 h 554566"/>
              <a:gd name="connsiteX57" fmla="*/ 63049 w 542829"/>
              <a:gd name="connsiteY57" fmla="*/ 478965 h 554566"/>
              <a:gd name="connsiteX58" fmla="*/ 63049 w 542829"/>
              <a:gd name="connsiteY58" fmla="*/ 453726 h 554566"/>
              <a:gd name="connsiteX59" fmla="*/ 50462 w 542829"/>
              <a:gd name="connsiteY59" fmla="*/ 453726 h 554566"/>
              <a:gd name="connsiteX60" fmla="*/ 50462 w 542829"/>
              <a:gd name="connsiteY60" fmla="*/ 403362 h 554566"/>
              <a:gd name="connsiteX61" fmla="*/ 63049 w 542829"/>
              <a:gd name="connsiteY61" fmla="*/ 403362 h 554566"/>
              <a:gd name="connsiteX62" fmla="*/ 63049 w 542829"/>
              <a:gd name="connsiteY62" fmla="*/ 378124 h 554566"/>
              <a:gd name="connsiteX63" fmla="*/ 50462 w 542829"/>
              <a:gd name="connsiteY63" fmla="*/ 378124 h 554566"/>
              <a:gd name="connsiteX64" fmla="*/ 50462 w 542829"/>
              <a:gd name="connsiteY64" fmla="*/ 327311 h 554566"/>
              <a:gd name="connsiteX65" fmla="*/ 63049 w 542829"/>
              <a:gd name="connsiteY65" fmla="*/ 327311 h 554566"/>
              <a:gd name="connsiteX66" fmla="*/ 63049 w 542829"/>
              <a:gd name="connsiteY66" fmla="*/ 302185 h 554566"/>
              <a:gd name="connsiteX67" fmla="*/ 50462 w 542829"/>
              <a:gd name="connsiteY67" fmla="*/ 302185 h 554566"/>
              <a:gd name="connsiteX68" fmla="*/ 50462 w 542829"/>
              <a:gd name="connsiteY68" fmla="*/ 251709 h 554566"/>
              <a:gd name="connsiteX69" fmla="*/ 63049 w 542829"/>
              <a:gd name="connsiteY69" fmla="*/ 251709 h 554566"/>
              <a:gd name="connsiteX70" fmla="*/ 63049 w 542829"/>
              <a:gd name="connsiteY70" fmla="*/ 226583 h 554566"/>
              <a:gd name="connsiteX71" fmla="*/ 50462 w 542829"/>
              <a:gd name="connsiteY71" fmla="*/ 226583 h 554566"/>
              <a:gd name="connsiteX72" fmla="*/ 50462 w 542829"/>
              <a:gd name="connsiteY72" fmla="*/ 176106 h 554566"/>
              <a:gd name="connsiteX73" fmla="*/ 63049 w 542829"/>
              <a:gd name="connsiteY73" fmla="*/ 176106 h 554566"/>
              <a:gd name="connsiteX74" fmla="*/ 63049 w 542829"/>
              <a:gd name="connsiteY74" fmla="*/ 150980 h 554566"/>
              <a:gd name="connsiteX75" fmla="*/ 50462 w 542829"/>
              <a:gd name="connsiteY75" fmla="*/ 150980 h 554566"/>
              <a:gd name="connsiteX76" fmla="*/ 50462 w 542829"/>
              <a:gd name="connsiteY76" fmla="*/ 100504 h 554566"/>
              <a:gd name="connsiteX77" fmla="*/ 63049 w 542829"/>
              <a:gd name="connsiteY77" fmla="*/ 100504 h 554566"/>
              <a:gd name="connsiteX78" fmla="*/ 63049 w 542829"/>
              <a:gd name="connsiteY78" fmla="*/ 75378 h 554566"/>
              <a:gd name="connsiteX79" fmla="*/ 50462 w 542829"/>
              <a:gd name="connsiteY79" fmla="*/ 75378 h 554566"/>
              <a:gd name="connsiteX80" fmla="*/ 50462 w 542829"/>
              <a:gd name="connsiteY80" fmla="*/ 24902 h 554566"/>
              <a:gd name="connsiteX81" fmla="*/ 113623 w 542829"/>
              <a:gd name="connsiteY81" fmla="*/ 24902 h 554566"/>
              <a:gd name="connsiteX82" fmla="*/ 113623 w 542829"/>
              <a:gd name="connsiteY82" fmla="*/ 529217 h 554566"/>
              <a:gd name="connsiteX83" fmla="*/ 50462 w 542829"/>
              <a:gd name="connsiteY83" fmla="*/ 529217 h 554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</a:cxnLst>
            <a:rect l="l" t="t" r="r" b="b"/>
            <a:pathLst>
              <a:path w="542829" h="554566">
                <a:moveTo>
                  <a:pt x="25175" y="554567"/>
                </a:moveTo>
                <a:lnTo>
                  <a:pt x="479780" y="554567"/>
                </a:lnTo>
                <a:lnTo>
                  <a:pt x="479780" y="441163"/>
                </a:lnTo>
                <a:lnTo>
                  <a:pt x="542830" y="441163"/>
                </a:lnTo>
                <a:lnTo>
                  <a:pt x="542830" y="327311"/>
                </a:lnTo>
                <a:lnTo>
                  <a:pt x="479780" y="327311"/>
                </a:lnTo>
                <a:lnTo>
                  <a:pt x="479780" y="302185"/>
                </a:lnTo>
                <a:lnTo>
                  <a:pt x="542830" y="302185"/>
                </a:lnTo>
                <a:lnTo>
                  <a:pt x="542830" y="189118"/>
                </a:lnTo>
                <a:lnTo>
                  <a:pt x="479780" y="189118"/>
                </a:lnTo>
                <a:lnTo>
                  <a:pt x="479780" y="163880"/>
                </a:lnTo>
                <a:lnTo>
                  <a:pt x="542830" y="163880"/>
                </a:lnTo>
                <a:lnTo>
                  <a:pt x="542830" y="50476"/>
                </a:lnTo>
                <a:lnTo>
                  <a:pt x="479780" y="50476"/>
                </a:lnTo>
                <a:lnTo>
                  <a:pt x="479780" y="0"/>
                </a:lnTo>
                <a:lnTo>
                  <a:pt x="25175" y="0"/>
                </a:lnTo>
                <a:lnTo>
                  <a:pt x="25175" y="75715"/>
                </a:lnTo>
                <a:lnTo>
                  <a:pt x="0" y="75715"/>
                </a:lnTo>
                <a:lnTo>
                  <a:pt x="0" y="100840"/>
                </a:lnTo>
                <a:lnTo>
                  <a:pt x="25175" y="100840"/>
                </a:lnTo>
                <a:lnTo>
                  <a:pt x="25175" y="151317"/>
                </a:lnTo>
                <a:lnTo>
                  <a:pt x="0" y="151317"/>
                </a:lnTo>
                <a:lnTo>
                  <a:pt x="0" y="176443"/>
                </a:lnTo>
                <a:lnTo>
                  <a:pt x="25175" y="176443"/>
                </a:lnTo>
                <a:lnTo>
                  <a:pt x="25175" y="226919"/>
                </a:lnTo>
                <a:lnTo>
                  <a:pt x="0" y="226919"/>
                </a:lnTo>
                <a:lnTo>
                  <a:pt x="0" y="252045"/>
                </a:lnTo>
                <a:lnTo>
                  <a:pt x="25175" y="252045"/>
                </a:lnTo>
                <a:lnTo>
                  <a:pt x="25175" y="302522"/>
                </a:lnTo>
                <a:lnTo>
                  <a:pt x="0" y="302522"/>
                </a:lnTo>
                <a:lnTo>
                  <a:pt x="0" y="327311"/>
                </a:lnTo>
                <a:lnTo>
                  <a:pt x="25175" y="327311"/>
                </a:lnTo>
                <a:lnTo>
                  <a:pt x="25175" y="377787"/>
                </a:lnTo>
                <a:lnTo>
                  <a:pt x="0" y="377787"/>
                </a:lnTo>
                <a:lnTo>
                  <a:pt x="0" y="403026"/>
                </a:lnTo>
                <a:lnTo>
                  <a:pt x="25175" y="403026"/>
                </a:lnTo>
                <a:lnTo>
                  <a:pt x="25175" y="453390"/>
                </a:lnTo>
                <a:lnTo>
                  <a:pt x="0" y="453390"/>
                </a:lnTo>
                <a:lnTo>
                  <a:pt x="0" y="478628"/>
                </a:lnTo>
                <a:lnTo>
                  <a:pt x="25175" y="478628"/>
                </a:lnTo>
                <a:close/>
                <a:moveTo>
                  <a:pt x="479780" y="75715"/>
                </a:moveTo>
                <a:lnTo>
                  <a:pt x="517655" y="75715"/>
                </a:lnTo>
                <a:lnTo>
                  <a:pt x="517655" y="138642"/>
                </a:lnTo>
                <a:lnTo>
                  <a:pt x="479780" y="138642"/>
                </a:lnTo>
                <a:close/>
                <a:moveTo>
                  <a:pt x="479780" y="214244"/>
                </a:moveTo>
                <a:lnTo>
                  <a:pt x="517655" y="214244"/>
                </a:lnTo>
                <a:lnTo>
                  <a:pt x="517655" y="277283"/>
                </a:lnTo>
                <a:lnTo>
                  <a:pt x="479780" y="277283"/>
                </a:lnTo>
                <a:close/>
                <a:moveTo>
                  <a:pt x="479780" y="352886"/>
                </a:moveTo>
                <a:lnTo>
                  <a:pt x="517655" y="352886"/>
                </a:lnTo>
                <a:lnTo>
                  <a:pt x="517655" y="415925"/>
                </a:lnTo>
                <a:lnTo>
                  <a:pt x="479780" y="415925"/>
                </a:lnTo>
                <a:close/>
                <a:moveTo>
                  <a:pt x="138798" y="25238"/>
                </a:moveTo>
                <a:lnTo>
                  <a:pt x="454493" y="25238"/>
                </a:lnTo>
                <a:lnTo>
                  <a:pt x="454493" y="529217"/>
                </a:lnTo>
                <a:lnTo>
                  <a:pt x="138798" y="529217"/>
                </a:lnTo>
                <a:close/>
                <a:moveTo>
                  <a:pt x="50462" y="478965"/>
                </a:moveTo>
                <a:lnTo>
                  <a:pt x="63049" y="478965"/>
                </a:lnTo>
                <a:lnTo>
                  <a:pt x="63049" y="453726"/>
                </a:lnTo>
                <a:lnTo>
                  <a:pt x="50462" y="453726"/>
                </a:lnTo>
                <a:lnTo>
                  <a:pt x="50462" y="403362"/>
                </a:lnTo>
                <a:lnTo>
                  <a:pt x="63049" y="403362"/>
                </a:lnTo>
                <a:lnTo>
                  <a:pt x="63049" y="378124"/>
                </a:lnTo>
                <a:lnTo>
                  <a:pt x="50462" y="378124"/>
                </a:lnTo>
                <a:lnTo>
                  <a:pt x="50462" y="327311"/>
                </a:lnTo>
                <a:lnTo>
                  <a:pt x="63049" y="327311"/>
                </a:lnTo>
                <a:lnTo>
                  <a:pt x="63049" y="302185"/>
                </a:lnTo>
                <a:lnTo>
                  <a:pt x="50462" y="302185"/>
                </a:lnTo>
                <a:lnTo>
                  <a:pt x="50462" y="251709"/>
                </a:lnTo>
                <a:lnTo>
                  <a:pt x="63049" y="251709"/>
                </a:lnTo>
                <a:lnTo>
                  <a:pt x="63049" y="226583"/>
                </a:lnTo>
                <a:lnTo>
                  <a:pt x="50462" y="226583"/>
                </a:lnTo>
                <a:lnTo>
                  <a:pt x="50462" y="176106"/>
                </a:lnTo>
                <a:lnTo>
                  <a:pt x="63049" y="176106"/>
                </a:lnTo>
                <a:lnTo>
                  <a:pt x="63049" y="150980"/>
                </a:lnTo>
                <a:lnTo>
                  <a:pt x="50462" y="150980"/>
                </a:lnTo>
                <a:lnTo>
                  <a:pt x="50462" y="100504"/>
                </a:lnTo>
                <a:lnTo>
                  <a:pt x="63049" y="100504"/>
                </a:lnTo>
                <a:lnTo>
                  <a:pt x="63049" y="75378"/>
                </a:lnTo>
                <a:lnTo>
                  <a:pt x="50462" y="75378"/>
                </a:lnTo>
                <a:lnTo>
                  <a:pt x="50462" y="24902"/>
                </a:lnTo>
                <a:lnTo>
                  <a:pt x="113623" y="24902"/>
                </a:lnTo>
                <a:lnTo>
                  <a:pt x="113623" y="529217"/>
                </a:lnTo>
                <a:lnTo>
                  <a:pt x="50462" y="529217"/>
                </a:lnTo>
                <a:close/>
              </a:path>
            </a:pathLst>
          </a:custGeom>
          <a:solidFill>
            <a:srgbClr val="040407"/>
          </a:solidFill>
          <a:ln w="1123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F1A0B48B-F4A1-1449-A07B-9417C030FEE9}"/>
              </a:ext>
            </a:extLst>
          </p:cNvPr>
          <p:cNvGrpSpPr/>
          <p:nvPr/>
        </p:nvGrpSpPr>
        <p:grpSpPr>
          <a:xfrm>
            <a:off x="4939991" y="722771"/>
            <a:ext cx="6728683" cy="5652059"/>
            <a:chOff x="3799803" y="722771"/>
            <a:chExt cx="6728683" cy="5652059"/>
          </a:xfrm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7B8E4B83-1AC0-BA4A-92B2-2ECE9394B2C0}"/>
                </a:ext>
              </a:extLst>
            </p:cNvPr>
            <p:cNvSpPr/>
            <p:nvPr/>
          </p:nvSpPr>
          <p:spPr>
            <a:xfrm>
              <a:off x="5723187" y="3081819"/>
              <a:ext cx="26644" cy="35603"/>
            </a:xfrm>
            <a:custGeom>
              <a:avLst/>
              <a:gdLst>
                <a:gd name="connsiteX0" fmla="*/ 5456 w 26644"/>
                <a:gd name="connsiteY0" fmla="*/ 831 h 35603"/>
                <a:gd name="connsiteX1" fmla="*/ 848 w 26644"/>
                <a:gd name="connsiteY1" fmla="*/ 13170 h 35603"/>
                <a:gd name="connsiteX2" fmla="*/ 848 w 26644"/>
                <a:gd name="connsiteY2" fmla="*/ 13170 h 35603"/>
                <a:gd name="connsiteX3" fmla="*/ 8828 w 26644"/>
                <a:gd name="connsiteY3" fmla="*/ 30332 h 35603"/>
                <a:gd name="connsiteX4" fmla="*/ 17257 w 26644"/>
                <a:gd name="connsiteY4" fmla="*/ 35604 h 35603"/>
                <a:gd name="connsiteX5" fmla="*/ 21416 w 26644"/>
                <a:gd name="connsiteY5" fmla="*/ 34706 h 35603"/>
                <a:gd name="connsiteX6" fmla="*/ 25686 w 26644"/>
                <a:gd name="connsiteY6" fmla="*/ 22143 h 35603"/>
                <a:gd name="connsiteX7" fmla="*/ 17931 w 26644"/>
                <a:gd name="connsiteY7" fmla="*/ 5542 h 35603"/>
                <a:gd name="connsiteX8" fmla="*/ 5456 w 26644"/>
                <a:gd name="connsiteY8" fmla="*/ 831 h 35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644" h="35603">
                  <a:moveTo>
                    <a:pt x="5456" y="831"/>
                  </a:moveTo>
                  <a:cubicBezTo>
                    <a:pt x="770" y="2962"/>
                    <a:pt x="-1298" y="8492"/>
                    <a:pt x="848" y="13170"/>
                  </a:cubicBezTo>
                  <a:cubicBezTo>
                    <a:pt x="848" y="13170"/>
                    <a:pt x="848" y="13170"/>
                    <a:pt x="848" y="13170"/>
                  </a:cubicBezTo>
                  <a:cubicBezTo>
                    <a:pt x="3434" y="19003"/>
                    <a:pt x="6131" y="24387"/>
                    <a:pt x="8828" y="30332"/>
                  </a:cubicBezTo>
                  <a:cubicBezTo>
                    <a:pt x="10390" y="33562"/>
                    <a:pt x="13661" y="35615"/>
                    <a:pt x="17257" y="35604"/>
                  </a:cubicBezTo>
                  <a:cubicBezTo>
                    <a:pt x="18684" y="35570"/>
                    <a:pt x="20101" y="35267"/>
                    <a:pt x="21416" y="34706"/>
                  </a:cubicBezTo>
                  <a:cubicBezTo>
                    <a:pt x="26057" y="32396"/>
                    <a:pt x="27956" y="26787"/>
                    <a:pt x="25686" y="22143"/>
                  </a:cubicBezTo>
                  <a:cubicBezTo>
                    <a:pt x="23101" y="16759"/>
                    <a:pt x="20404" y="10926"/>
                    <a:pt x="17931" y="5542"/>
                  </a:cubicBezTo>
                  <a:cubicBezTo>
                    <a:pt x="15785" y="809"/>
                    <a:pt x="10199" y="-1300"/>
                    <a:pt x="5456" y="831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02F3D676-4A46-3840-8646-37B8C59C602D}"/>
                </a:ext>
              </a:extLst>
            </p:cNvPr>
            <p:cNvSpPr/>
            <p:nvPr/>
          </p:nvSpPr>
          <p:spPr>
            <a:xfrm>
              <a:off x="5757746" y="3148647"/>
              <a:ext cx="28451" cy="34171"/>
            </a:xfrm>
            <a:custGeom>
              <a:avLst/>
              <a:gdLst>
                <a:gd name="connsiteX0" fmla="*/ 1129 w 28451"/>
                <a:gd name="connsiteY0" fmla="*/ 13868 h 34171"/>
                <a:gd name="connsiteX1" fmla="*/ 11244 w 28451"/>
                <a:gd name="connsiteY1" fmla="*/ 29908 h 34171"/>
                <a:gd name="connsiteX2" fmla="*/ 19111 w 28451"/>
                <a:gd name="connsiteY2" fmla="*/ 34170 h 34171"/>
                <a:gd name="connsiteX3" fmla="*/ 28451 w 28451"/>
                <a:gd name="connsiteY3" fmla="*/ 25096 h 34171"/>
                <a:gd name="connsiteX4" fmla="*/ 26866 w 28451"/>
                <a:gd name="connsiteY4" fmla="*/ 19813 h 34171"/>
                <a:gd name="connsiteX5" fmla="*/ 17088 w 28451"/>
                <a:gd name="connsiteY5" fmla="*/ 4221 h 34171"/>
                <a:gd name="connsiteX6" fmla="*/ 4613 w 28451"/>
                <a:gd name="connsiteY6" fmla="*/ 1305 h 34171"/>
                <a:gd name="connsiteX7" fmla="*/ 1129 w 28451"/>
                <a:gd name="connsiteY7" fmla="*/ 13868 h 34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451" h="34171">
                  <a:moveTo>
                    <a:pt x="1129" y="13868"/>
                  </a:moveTo>
                  <a:cubicBezTo>
                    <a:pt x="4389" y="19364"/>
                    <a:pt x="7760" y="25085"/>
                    <a:pt x="11244" y="29908"/>
                  </a:cubicBezTo>
                  <a:cubicBezTo>
                    <a:pt x="12952" y="32589"/>
                    <a:pt x="15931" y="34204"/>
                    <a:pt x="19111" y="34170"/>
                  </a:cubicBezTo>
                  <a:cubicBezTo>
                    <a:pt x="24202" y="34238"/>
                    <a:pt x="28383" y="30177"/>
                    <a:pt x="28451" y="25096"/>
                  </a:cubicBezTo>
                  <a:cubicBezTo>
                    <a:pt x="28473" y="23212"/>
                    <a:pt x="27922" y="21372"/>
                    <a:pt x="26866" y="19813"/>
                  </a:cubicBezTo>
                  <a:lnTo>
                    <a:pt x="17088" y="4221"/>
                  </a:lnTo>
                  <a:cubicBezTo>
                    <a:pt x="14402" y="48"/>
                    <a:pt x="8884" y="-1242"/>
                    <a:pt x="4613" y="1305"/>
                  </a:cubicBezTo>
                  <a:cubicBezTo>
                    <a:pt x="264" y="3885"/>
                    <a:pt x="-1265" y="9426"/>
                    <a:pt x="1129" y="13868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68832985-0C6E-7D4D-ACC6-4992AEF311AE}"/>
                </a:ext>
              </a:extLst>
            </p:cNvPr>
            <p:cNvSpPr/>
            <p:nvPr/>
          </p:nvSpPr>
          <p:spPr>
            <a:xfrm>
              <a:off x="5695730" y="3012526"/>
              <a:ext cx="24724" cy="35804"/>
            </a:xfrm>
            <a:custGeom>
              <a:avLst/>
              <a:gdLst>
                <a:gd name="connsiteX0" fmla="*/ 6278 w 24724"/>
                <a:gd name="connsiteY0" fmla="*/ 579 h 35804"/>
                <a:gd name="connsiteX1" fmla="*/ 322 w 24724"/>
                <a:gd name="connsiteY1" fmla="*/ 11796 h 35804"/>
                <a:gd name="connsiteX2" fmla="*/ 6615 w 24724"/>
                <a:gd name="connsiteY2" fmla="*/ 29631 h 35804"/>
                <a:gd name="connsiteX3" fmla="*/ 15381 w 24724"/>
                <a:gd name="connsiteY3" fmla="*/ 35801 h 35804"/>
                <a:gd name="connsiteX4" fmla="*/ 18528 w 24724"/>
                <a:gd name="connsiteY4" fmla="*/ 35240 h 35804"/>
                <a:gd name="connsiteX5" fmla="*/ 24215 w 24724"/>
                <a:gd name="connsiteY5" fmla="*/ 23541 h 35804"/>
                <a:gd name="connsiteX6" fmla="*/ 24148 w 24724"/>
                <a:gd name="connsiteY6" fmla="*/ 23350 h 35804"/>
                <a:gd name="connsiteX7" fmla="*/ 18079 w 24724"/>
                <a:gd name="connsiteY7" fmla="*/ 5851 h 35804"/>
                <a:gd name="connsiteX8" fmla="*/ 6278 w 24724"/>
                <a:gd name="connsiteY8" fmla="*/ 579 h 35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724" h="35804">
                  <a:moveTo>
                    <a:pt x="6278" y="579"/>
                  </a:moveTo>
                  <a:cubicBezTo>
                    <a:pt x="1648" y="2183"/>
                    <a:pt x="-948" y="7074"/>
                    <a:pt x="322" y="11796"/>
                  </a:cubicBezTo>
                  <a:cubicBezTo>
                    <a:pt x="2344" y="17853"/>
                    <a:pt x="4480" y="23798"/>
                    <a:pt x="6615" y="29631"/>
                  </a:cubicBezTo>
                  <a:cubicBezTo>
                    <a:pt x="7941" y="33322"/>
                    <a:pt x="11448" y="35789"/>
                    <a:pt x="15381" y="35801"/>
                  </a:cubicBezTo>
                  <a:cubicBezTo>
                    <a:pt x="16460" y="35834"/>
                    <a:pt x="17528" y="35644"/>
                    <a:pt x="18528" y="35240"/>
                  </a:cubicBezTo>
                  <a:cubicBezTo>
                    <a:pt x="23338" y="33580"/>
                    <a:pt x="25878" y="28330"/>
                    <a:pt x="24215" y="23541"/>
                  </a:cubicBezTo>
                  <a:cubicBezTo>
                    <a:pt x="24192" y="23473"/>
                    <a:pt x="24170" y="23406"/>
                    <a:pt x="24148" y="23350"/>
                  </a:cubicBezTo>
                  <a:cubicBezTo>
                    <a:pt x="22125" y="17663"/>
                    <a:pt x="20101" y="11830"/>
                    <a:pt x="18079" y="5851"/>
                  </a:cubicBezTo>
                  <a:cubicBezTo>
                    <a:pt x="16247" y="1174"/>
                    <a:pt x="10998" y="-1170"/>
                    <a:pt x="6278" y="579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8F8D610B-17BC-EE43-ABE7-C970685C6BD3}"/>
                </a:ext>
              </a:extLst>
            </p:cNvPr>
            <p:cNvSpPr/>
            <p:nvPr/>
          </p:nvSpPr>
          <p:spPr>
            <a:xfrm>
              <a:off x="5801481" y="3210792"/>
              <a:ext cx="29543" cy="31811"/>
            </a:xfrm>
            <a:custGeom>
              <a:avLst/>
              <a:gdLst>
                <a:gd name="connsiteX0" fmla="*/ 20219 w 29543"/>
                <a:gd name="connsiteY0" fmla="*/ 31812 h 31811"/>
                <a:gd name="connsiteX1" fmla="*/ 26288 w 29543"/>
                <a:gd name="connsiteY1" fmla="*/ 29456 h 31811"/>
                <a:gd name="connsiteX2" fmla="*/ 27299 w 29543"/>
                <a:gd name="connsiteY2" fmla="*/ 16333 h 31811"/>
                <a:gd name="connsiteX3" fmla="*/ 15498 w 29543"/>
                <a:gd name="connsiteY3" fmla="*/ 2199 h 31811"/>
                <a:gd name="connsiteX4" fmla="*/ 2203 w 29543"/>
                <a:gd name="connsiteY4" fmla="*/ 3377 h 31811"/>
                <a:gd name="connsiteX5" fmla="*/ 888 w 29543"/>
                <a:gd name="connsiteY5" fmla="*/ 13416 h 31811"/>
                <a:gd name="connsiteX6" fmla="*/ 13138 w 29543"/>
                <a:gd name="connsiteY6" fmla="*/ 27998 h 31811"/>
                <a:gd name="connsiteX7" fmla="*/ 20219 w 29543"/>
                <a:gd name="connsiteY7" fmla="*/ 31812 h 31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543" h="31811">
                  <a:moveTo>
                    <a:pt x="20219" y="31812"/>
                  </a:moveTo>
                  <a:cubicBezTo>
                    <a:pt x="22467" y="31812"/>
                    <a:pt x="24636" y="30971"/>
                    <a:pt x="26288" y="29456"/>
                  </a:cubicBezTo>
                  <a:cubicBezTo>
                    <a:pt x="30199" y="26114"/>
                    <a:pt x="30649" y="20236"/>
                    <a:pt x="27299" y="16333"/>
                  </a:cubicBezTo>
                  <a:cubicBezTo>
                    <a:pt x="23332" y="11700"/>
                    <a:pt x="19398" y="6989"/>
                    <a:pt x="15498" y="2199"/>
                  </a:cubicBezTo>
                  <a:cubicBezTo>
                    <a:pt x="11498" y="-1143"/>
                    <a:pt x="5541" y="-616"/>
                    <a:pt x="2203" y="3377"/>
                  </a:cubicBezTo>
                  <a:cubicBezTo>
                    <a:pt x="-157" y="6181"/>
                    <a:pt x="-663" y="10096"/>
                    <a:pt x="888" y="13416"/>
                  </a:cubicBezTo>
                  <a:cubicBezTo>
                    <a:pt x="4934" y="18352"/>
                    <a:pt x="8980" y="23287"/>
                    <a:pt x="13138" y="27998"/>
                  </a:cubicBezTo>
                  <a:cubicBezTo>
                    <a:pt x="14802" y="30275"/>
                    <a:pt x="17398" y="31677"/>
                    <a:pt x="20219" y="31812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51CC8F2-F1C5-4C49-BFD3-3B335E0F414D}"/>
                </a:ext>
              </a:extLst>
            </p:cNvPr>
            <p:cNvSpPr/>
            <p:nvPr/>
          </p:nvSpPr>
          <p:spPr>
            <a:xfrm>
              <a:off x="5851353" y="3264099"/>
              <a:ext cx="32720" cy="31000"/>
            </a:xfrm>
            <a:custGeom>
              <a:avLst/>
              <a:gdLst>
                <a:gd name="connsiteX0" fmla="*/ 23393 w 32720"/>
                <a:gd name="connsiteY0" fmla="*/ 31001 h 31000"/>
                <a:gd name="connsiteX1" fmla="*/ 32721 w 32720"/>
                <a:gd name="connsiteY1" fmla="*/ 21691 h 31000"/>
                <a:gd name="connsiteX2" fmla="*/ 29462 w 32720"/>
                <a:gd name="connsiteY2" fmla="*/ 14624 h 31000"/>
                <a:gd name="connsiteX3" fmla="*/ 15751 w 32720"/>
                <a:gd name="connsiteY3" fmla="*/ 2397 h 31000"/>
                <a:gd name="connsiteX4" fmla="*/ 2489 w 32720"/>
                <a:gd name="connsiteY4" fmla="*/ 3070 h 31000"/>
                <a:gd name="connsiteX5" fmla="*/ 2916 w 32720"/>
                <a:gd name="connsiteY5" fmla="*/ 16071 h 31000"/>
                <a:gd name="connsiteX6" fmla="*/ 3051 w 32720"/>
                <a:gd name="connsiteY6" fmla="*/ 16194 h 31000"/>
                <a:gd name="connsiteX7" fmla="*/ 17324 w 32720"/>
                <a:gd name="connsiteY7" fmla="*/ 28869 h 31000"/>
                <a:gd name="connsiteX8" fmla="*/ 23393 w 32720"/>
                <a:gd name="connsiteY8" fmla="*/ 31001 h 3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720" h="31000">
                  <a:moveTo>
                    <a:pt x="23393" y="31001"/>
                  </a:moveTo>
                  <a:cubicBezTo>
                    <a:pt x="28540" y="31001"/>
                    <a:pt x="32721" y="26828"/>
                    <a:pt x="32721" y="21691"/>
                  </a:cubicBezTo>
                  <a:cubicBezTo>
                    <a:pt x="32710" y="18976"/>
                    <a:pt x="31530" y="16396"/>
                    <a:pt x="29462" y="14624"/>
                  </a:cubicBezTo>
                  <a:cubicBezTo>
                    <a:pt x="24854" y="10698"/>
                    <a:pt x="20359" y="6660"/>
                    <a:pt x="15751" y="2397"/>
                  </a:cubicBezTo>
                  <a:cubicBezTo>
                    <a:pt x="11896" y="-1046"/>
                    <a:pt x="5973" y="-743"/>
                    <a:pt x="2489" y="3070"/>
                  </a:cubicBezTo>
                  <a:cubicBezTo>
                    <a:pt x="-995" y="6783"/>
                    <a:pt x="-793" y="12594"/>
                    <a:pt x="2916" y="16071"/>
                  </a:cubicBezTo>
                  <a:cubicBezTo>
                    <a:pt x="2961" y="16116"/>
                    <a:pt x="3006" y="16149"/>
                    <a:pt x="3051" y="16194"/>
                  </a:cubicBezTo>
                  <a:cubicBezTo>
                    <a:pt x="7771" y="20569"/>
                    <a:pt x="12604" y="24719"/>
                    <a:pt x="17324" y="28869"/>
                  </a:cubicBezTo>
                  <a:cubicBezTo>
                    <a:pt x="19044" y="30260"/>
                    <a:pt x="21179" y="31012"/>
                    <a:pt x="23393" y="31001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1D59CE44-65A4-0D4E-8EF6-D71E00974835}"/>
                </a:ext>
              </a:extLst>
            </p:cNvPr>
            <p:cNvSpPr/>
            <p:nvPr/>
          </p:nvSpPr>
          <p:spPr>
            <a:xfrm>
              <a:off x="4813700" y="4936927"/>
              <a:ext cx="37312" cy="37240"/>
            </a:xfrm>
            <a:custGeom>
              <a:avLst/>
              <a:gdLst>
                <a:gd name="connsiteX0" fmla="*/ 18656 w 37312"/>
                <a:gd name="connsiteY0" fmla="*/ 37240 h 37240"/>
                <a:gd name="connsiteX1" fmla="*/ 37313 w 37312"/>
                <a:gd name="connsiteY1" fmla="*/ 18620 h 37240"/>
                <a:gd name="connsiteX2" fmla="*/ 18656 w 37312"/>
                <a:gd name="connsiteY2" fmla="*/ 0 h 37240"/>
                <a:gd name="connsiteX3" fmla="*/ 0 w 37312"/>
                <a:gd name="connsiteY3" fmla="*/ 18620 h 37240"/>
                <a:gd name="connsiteX4" fmla="*/ 0 w 37312"/>
                <a:gd name="connsiteY4" fmla="*/ 18732 h 37240"/>
                <a:gd name="connsiteX5" fmla="*/ 18544 w 37312"/>
                <a:gd name="connsiteY5" fmla="*/ 37240 h 37240"/>
                <a:gd name="connsiteX6" fmla="*/ 18656 w 37312"/>
                <a:gd name="connsiteY6" fmla="*/ 37240 h 37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312" h="37240">
                  <a:moveTo>
                    <a:pt x="18656" y="37240"/>
                  </a:moveTo>
                  <a:cubicBezTo>
                    <a:pt x="28962" y="37240"/>
                    <a:pt x="37313" y="28906"/>
                    <a:pt x="37313" y="18620"/>
                  </a:cubicBezTo>
                  <a:cubicBezTo>
                    <a:pt x="37313" y="8334"/>
                    <a:pt x="28962" y="0"/>
                    <a:pt x="18656" y="0"/>
                  </a:cubicBezTo>
                  <a:cubicBezTo>
                    <a:pt x="8350" y="0"/>
                    <a:pt x="0" y="8334"/>
                    <a:pt x="0" y="18620"/>
                  </a:cubicBezTo>
                  <a:cubicBezTo>
                    <a:pt x="0" y="18654"/>
                    <a:pt x="0" y="18699"/>
                    <a:pt x="0" y="18732"/>
                  </a:cubicBezTo>
                  <a:cubicBezTo>
                    <a:pt x="0" y="28951"/>
                    <a:pt x="8306" y="37240"/>
                    <a:pt x="18544" y="37240"/>
                  </a:cubicBezTo>
                  <a:cubicBezTo>
                    <a:pt x="18578" y="37240"/>
                    <a:pt x="18623" y="37240"/>
                    <a:pt x="18656" y="37240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60940B19-6369-6E40-B7CF-0EC0288BC4BA}"/>
                </a:ext>
              </a:extLst>
            </p:cNvPr>
            <p:cNvSpPr/>
            <p:nvPr/>
          </p:nvSpPr>
          <p:spPr>
            <a:xfrm>
              <a:off x="5629181" y="3701378"/>
              <a:ext cx="33716" cy="86034"/>
            </a:xfrm>
            <a:custGeom>
              <a:avLst/>
              <a:gdLst>
                <a:gd name="connsiteX0" fmla="*/ 16858 w 33716"/>
                <a:gd name="connsiteY0" fmla="*/ 86034 h 86034"/>
                <a:gd name="connsiteX1" fmla="*/ 33716 w 33716"/>
                <a:gd name="connsiteY1" fmla="*/ 69433 h 86034"/>
                <a:gd name="connsiteX2" fmla="*/ 33716 w 33716"/>
                <a:gd name="connsiteY2" fmla="*/ 69321 h 86034"/>
                <a:gd name="connsiteX3" fmla="*/ 33716 w 33716"/>
                <a:gd name="connsiteY3" fmla="*/ 16825 h 86034"/>
                <a:gd name="connsiteX4" fmla="*/ 16858 w 33716"/>
                <a:gd name="connsiteY4" fmla="*/ 0 h 86034"/>
                <a:gd name="connsiteX5" fmla="*/ 0 w 33716"/>
                <a:gd name="connsiteY5" fmla="*/ 16825 h 86034"/>
                <a:gd name="connsiteX6" fmla="*/ 0 w 33716"/>
                <a:gd name="connsiteY6" fmla="*/ 69433 h 86034"/>
                <a:gd name="connsiteX7" fmla="*/ 16858 w 33716"/>
                <a:gd name="connsiteY7" fmla="*/ 86034 h 86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716" h="86034">
                  <a:moveTo>
                    <a:pt x="16858" y="86034"/>
                  </a:moveTo>
                  <a:cubicBezTo>
                    <a:pt x="26107" y="86101"/>
                    <a:pt x="33649" y="78665"/>
                    <a:pt x="33716" y="69433"/>
                  </a:cubicBezTo>
                  <a:cubicBezTo>
                    <a:pt x="33716" y="69399"/>
                    <a:pt x="33716" y="69354"/>
                    <a:pt x="33716" y="69321"/>
                  </a:cubicBezTo>
                  <a:lnTo>
                    <a:pt x="33716" y="16825"/>
                  </a:lnTo>
                  <a:cubicBezTo>
                    <a:pt x="33716" y="7538"/>
                    <a:pt x="26164" y="0"/>
                    <a:pt x="16858" y="0"/>
                  </a:cubicBezTo>
                  <a:cubicBezTo>
                    <a:pt x="7552" y="0"/>
                    <a:pt x="0" y="7538"/>
                    <a:pt x="0" y="16825"/>
                  </a:cubicBezTo>
                  <a:lnTo>
                    <a:pt x="0" y="69433"/>
                  </a:lnTo>
                  <a:cubicBezTo>
                    <a:pt x="124" y="78642"/>
                    <a:pt x="7631" y="86034"/>
                    <a:pt x="16858" y="86034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26C2DA25-DE2E-8248-8325-CB42E614439D}"/>
                </a:ext>
              </a:extLst>
            </p:cNvPr>
            <p:cNvSpPr/>
            <p:nvPr/>
          </p:nvSpPr>
          <p:spPr>
            <a:xfrm>
              <a:off x="5410484" y="3801442"/>
              <a:ext cx="74998" cy="67753"/>
            </a:xfrm>
            <a:custGeom>
              <a:avLst/>
              <a:gdLst>
                <a:gd name="connsiteX0" fmla="*/ 57646 w 74998"/>
                <a:gd name="connsiteY0" fmla="*/ 67742 h 67753"/>
                <a:gd name="connsiteX1" fmla="*/ 74988 w 74998"/>
                <a:gd name="connsiteY1" fmla="*/ 51646 h 67753"/>
                <a:gd name="connsiteX2" fmla="*/ 68885 w 74998"/>
                <a:gd name="connsiteY2" fmla="*/ 38129 h 67753"/>
                <a:gd name="connsiteX3" fmla="*/ 28313 w 74998"/>
                <a:gd name="connsiteY3" fmla="*/ 4479 h 67753"/>
                <a:gd name="connsiteX4" fmla="*/ 4487 w 74998"/>
                <a:gd name="connsiteY4" fmla="*/ 5398 h 67753"/>
                <a:gd name="connsiteX5" fmla="*/ 5409 w 74998"/>
                <a:gd name="connsiteY5" fmla="*/ 29178 h 67753"/>
                <a:gd name="connsiteX6" fmla="*/ 6735 w 74998"/>
                <a:gd name="connsiteY6" fmla="*/ 30277 h 67753"/>
                <a:gd name="connsiteX7" fmla="*/ 47307 w 74998"/>
                <a:gd name="connsiteY7" fmla="*/ 63928 h 67753"/>
                <a:gd name="connsiteX8" fmla="*/ 57646 w 74998"/>
                <a:gd name="connsiteY8" fmla="*/ 67742 h 67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4998" h="67753">
                  <a:moveTo>
                    <a:pt x="57646" y="67742"/>
                  </a:moveTo>
                  <a:cubicBezTo>
                    <a:pt x="66884" y="68079"/>
                    <a:pt x="74650" y="60866"/>
                    <a:pt x="74988" y="51646"/>
                  </a:cubicBezTo>
                  <a:cubicBezTo>
                    <a:pt x="75179" y="46430"/>
                    <a:pt x="72919" y="41438"/>
                    <a:pt x="68885" y="38129"/>
                  </a:cubicBezTo>
                  <a:lnTo>
                    <a:pt x="28313" y="4479"/>
                  </a:lnTo>
                  <a:cubicBezTo>
                    <a:pt x="21480" y="-1837"/>
                    <a:pt x="10815" y="-1422"/>
                    <a:pt x="4487" y="5398"/>
                  </a:cubicBezTo>
                  <a:cubicBezTo>
                    <a:pt x="-1840" y="12218"/>
                    <a:pt x="-1424" y="22863"/>
                    <a:pt x="5409" y="29178"/>
                  </a:cubicBezTo>
                  <a:cubicBezTo>
                    <a:pt x="5836" y="29560"/>
                    <a:pt x="6274" y="29930"/>
                    <a:pt x="6735" y="30277"/>
                  </a:cubicBezTo>
                  <a:lnTo>
                    <a:pt x="47307" y="63928"/>
                  </a:lnTo>
                  <a:cubicBezTo>
                    <a:pt x="50206" y="66363"/>
                    <a:pt x="53859" y="67709"/>
                    <a:pt x="57646" y="67742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D70B9F77-718D-2D4F-9B8F-AE81E1250954}"/>
                </a:ext>
              </a:extLst>
            </p:cNvPr>
            <p:cNvSpPr/>
            <p:nvPr/>
          </p:nvSpPr>
          <p:spPr>
            <a:xfrm>
              <a:off x="5346585" y="4024631"/>
              <a:ext cx="87342" cy="43065"/>
            </a:xfrm>
            <a:custGeom>
              <a:avLst/>
              <a:gdLst>
                <a:gd name="connsiteX0" fmla="*/ 67374 w 87342"/>
                <a:gd name="connsiteY0" fmla="*/ 244 h 43065"/>
                <a:gd name="connsiteX1" fmla="*/ 15564 w 87342"/>
                <a:gd name="connsiteY1" fmla="*/ 9330 h 43065"/>
                <a:gd name="connsiteX2" fmla="*/ 54 w 87342"/>
                <a:gd name="connsiteY2" fmla="*/ 27502 h 43065"/>
                <a:gd name="connsiteX3" fmla="*/ 18261 w 87342"/>
                <a:gd name="connsiteY3" fmla="*/ 42981 h 43065"/>
                <a:gd name="connsiteX4" fmla="*/ 21295 w 87342"/>
                <a:gd name="connsiteY4" fmla="*/ 42981 h 43065"/>
                <a:gd name="connsiteX5" fmla="*/ 73106 w 87342"/>
                <a:gd name="connsiteY5" fmla="*/ 33895 h 43065"/>
                <a:gd name="connsiteX6" fmla="*/ 87098 w 87342"/>
                <a:gd name="connsiteY6" fmla="*/ 14210 h 43065"/>
                <a:gd name="connsiteX7" fmla="*/ 67374 w 87342"/>
                <a:gd name="connsiteY7" fmla="*/ 244 h 43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342" h="43065">
                  <a:moveTo>
                    <a:pt x="67374" y="244"/>
                  </a:moveTo>
                  <a:lnTo>
                    <a:pt x="15564" y="9330"/>
                  </a:lnTo>
                  <a:cubicBezTo>
                    <a:pt x="6258" y="10071"/>
                    <a:pt x="-688" y="18214"/>
                    <a:pt x="54" y="27502"/>
                  </a:cubicBezTo>
                  <a:cubicBezTo>
                    <a:pt x="796" y="36789"/>
                    <a:pt x="8955" y="43721"/>
                    <a:pt x="18261" y="42981"/>
                  </a:cubicBezTo>
                  <a:cubicBezTo>
                    <a:pt x="19272" y="43093"/>
                    <a:pt x="20284" y="43093"/>
                    <a:pt x="21295" y="42981"/>
                  </a:cubicBezTo>
                  <a:lnTo>
                    <a:pt x="73106" y="33895"/>
                  </a:lnTo>
                  <a:cubicBezTo>
                    <a:pt x="82412" y="32314"/>
                    <a:pt x="88683" y="23497"/>
                    <a:pt x="87098" y="14210"/>
                  </a:cubicBezTo>
                  <a:cubicBezTo>
                    <a:pt x="85513" y="4922"/>
                    <a:pt x="76680" y="-1337"/>
                    <a:pt x="67374" y="244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8ABB2BD7-F18D-EE44-803B-B50D9058ACF8}"/>
                </a:ext>
              </a:extLst>
            </p:cNvPr>
            <p:cNvSpPr/>
            <p:nvPr/>
          </p:nvSpPr>
          <p:spPr>
            <a:xfrm>
              <a:off x="5806892" y="3803625"/>
              <a:ext cx="74032" cy="67252"/>
            </a:xfrm>
            <a:custGeom>
              <a:avLst/>
              <a:gdLst>
                <a:gd name="connsiteX0" fmla="*/ 16269 w 74032"/>
                <a:gd name="connsiteY0" fmla="*/ 67242 h 67252"/>
                <a:gd name="connsiteX1" fmla="*/ 27508 w 74032"/>
                <a:gd name="connsiteY1" fmla="*/ 63316 h 67252"/>
                <a:gd name="connsiteX2" fmla="*/ 67967 w 74032"/>
                <a:gd name="connsiteY2" fmla="*/ 29665 h 67252"/>
                <a:gd name="connsiteX3" fmla="*/ 70159 w 74032"/>
                <a:gd name="connsiteY3" fmla="*/ 6053 h 67252"/>
                <a:gd name="connsiteX4" fmla="*/ 46501 w 74032"/>
                <a:gd name="connsiteY4" fmla="*/ 3866 h 67252"/>
                <a:gd name="connsiteX5" fmla="*/ 6042 w 74032"/>
                <a:gd name="connsiteY5" fmla="*/ 37517 h 67252"/>
                <a:gd name="connsiteX6" fmla="*/ 3929 w 74032"/>
                <a:gd name="connsiteY6" fmla="*/ 61218 h 67252"/>
                <a:gd name="connsiteX7" fmla="*/ 17281 w 74032"/>
                <a:gd name="connsiteY7" fmla="*/ 67242 h 67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4032" h="67252">
                  <a:moveTo>
                    <a:pt x="16269" y="67242"/>
                  </a:moveTo>
                  <a:cubicBezTo>
                    <a:pt x="20371" y="67388"/>
                    <a:pt x="24383" y="65985"/>
                    <a:pt x="27508" y="63316"/>
                  </a:cubicBezTo>
                  <a:lnTo>
                    <a:pt x="67967" y="29665"/>
                  </a:lnTo>
                  <a:cubicBezTo>
                    <a:pt x="75104" y="23754"/>
                    <a:pt x="76082" y="13176"/>
                    <a:pt x="70159" y="6053"/>
                  </a:cubicBezTo>
                  <a:cubicBezTo>
                    <a:pt x="64236" y="-1070"/>
                    <a:pt x="53638" y="-2045"/>
                    <a:pt x="46501" y="3866"/>
                  </a:cubicBezTo>
                  <a:lnTo>
                    <a:pt x="6042" y="37517"/>
                  </a:lnTo>
                  <a:cubicBezTo>
                    <a:pt x="-1095" y="43484"/>
                    <a:pt x="-2050" y="54096"/>
                    <a:pt x="3929" y="61218"/>
                  </a:cubicBezTo>
                  <a:cubicBezTo>
                    <a:pt x="7222" y="65156"/>
                    <a:pt x="12145" y="67365"/>
                    <a:pt x="17281" y="67242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374E733C-859A-B740-97E4-EF9678A7A92D}"/>
                </a:ext>
              </a:extLst>
            </p:cNvPr>
            <p:cNvSpPr/>
            <p:nvPr/>
          </p:nvSpPr>
          <p:spPr>
            <a:xfrm>
              <a:off x="5580610" y="3950055"/>
              <a:ext cx="153745" cy="263490"/>
            </a:xfrm>
            <a:custGeom>
              <a:avLst/>
              <a:gdLst>
                <a:gd name="connsiteX0" fmla="*/ 132300 w 153745"/>
                <a:gd name="connsiteY0" fmla="*/ 6622 h 263490"/>
                <a:gd name="connsiteX1" fmla="*/ 101505 w 153745"/>
                <a:gd name="connsiteY1" fmla="*/ 31299 h 263490"/>
                <a:gd name="connsiteX2" fmla="*/ 97909 w 153745"/>
                <a:gd name="connsiteY2" fmla="*/ 47451 h 263490"/>
                <a:gd name="connsiteX3" fmla="*/ 57787 w 153745"/>
                <a:gd name="connsiteY3" fmla="*/ 49246 h 263490"/>
                <a:gd name="connsiteX4" fmla="*/ 35309 w 153745"/>
                <a:gd name="connsiteY4" fmla="*/ 4 h 263490"/>
                <a:gd name="connsiteX5" fmla="*/ 11371 w 153745"/>
                <a:gd name="connsiteY5" fmla="*/ 10099 h 263490"/>
                <a:gd name="connsiteX6" fmla="*/ 132 w 153745"/>
                <a:gd name="connsiteY6" fmla="*/ 38478 h 263490"/>
                <a:gd name="connsiteX7" fmla="*/ 6089 w 153745"/>
                <a:gd name="connsiteY7" fmla="*/ 53172 h 263490"/>
                <a:gd name="connsiteX8" fmla="*/ 43514 w 153745"/>
                <a:gd name="connsiteY8" fmla="*/ 64389 h 263490"/>
                <a:gd name="connsiteX9" fmla="*/ 39243 w 153745"/>
                <a:gd name="connsiteY9" fmla="*/ 232644 h 263490"/>
                <a:gd name="connsiteX10" fmla="*/ 46548 w 153745"/>
                <a:gd name="connsiteY10" fmla="*/ 241393 h 263490"/>
                <a:gd name="connsiteX11" fmla="*/ 55202 w 153745"/>
                <a:gd name="connsiteY11" fmla="*/ 233990 h 263490"/>
                <a:gd name="connsiteX12" fmla="*/ 60596 w 153745"/>
                <a:gd name="connsiteY12" fmla="*/ 121820 h 263490"/>
                <a:gd name="connsiteX13" fmla="*/ 59698 w 153745"/>
                <a:gd name="connsiteY13" fmla="*/ 65062 h 263490"/>
                <a:gd name="connsiteX14" fmla="*/ 96336 w 153745"/>
                <a:gd name="connsiteY14" fmla="*/ 63604 h 263490"/>
                <a:gd name="connsiteX15" fmla="*/ 85097 w 153745"/>
                <a:gd name="connsiteY15" fmla="*/ 255302 h 263490"/>
                <a:gd name="connsiteX16" fmla="*/ 92964 w 153745"/>
                <a:gd name="connsiteY16" fmla="*/ 263490 h 263490"/>
                <a:gd name="connsiteX17" fmla="*/ 94313 w 153745"/>
                <a:gd name="connsiteY17" fmla="*/ 263490 h 263490"/>
                <a:gd name="connsiteX18" fmla="*/ 101168 w 153745"/>
                <a:gd name="connsiteY18" fmla="*/ 255751 h 263490"/>
                <a:gd name="connsiteX19" fmla="*/ 112407 w 153745"/>
                <a:gd name="connsiteY19" fmla="*/ 61585 h 263490"/>
                <a:gd name="connsiteX20" fmla="*/ 136233 w 153745"/>
                <a:gd name="connsiteY20" fmla="*/ 55752 h 263490"/>
                <a:gd name="connsiteX21" fmla="*/ 153428 w 153745"/>
                <a:gd name="connsiteY21" fmla="*/ 40385 h 263490"/>
                <a:gd name="connsiteX22" fmla="*/ 132300 w 153745"/>
                <a:gd name="connsiteY22" fmla="*/ 6622 h 263490"/>
                <a:gd name="connsiteX23" fmla="*/ 15417 w 153745"/>
                <a:gd name="connsiteY23" fmla="*/ 40273 h 263490"/>
                <a:gd name="connsiteX24" fmla="*/ 15417 w 153745"/>
                <a:gd name="connsiteY24" fmla="*/ 38253 h 263490"/>
                <a:gd name="connsiteX25" fmla="*/ 22497 w 153745"/>
                <a:gd name="connsiteY25" fmla="*/ 20980 h 263490"/>
                <a:gd name="connsiteX26" fmla="*/ 32163 w 153745"/>
                <a:gd name="connsiteY26" fmla="*/ 15708 h 263490"/>
                <a:gd name="connsiteX27" fmla="*/ 33399 w 153745"/>
                <a:gd name="connsiteY27" fmla="*/ 15708 h 263490"/>
                <a:gd name="connsiteX28" fmla="*/ 41491 w 153745"/>
                <a:gd name="connsiteY28" fmla="*/ 47788 h 263490"/>
                <a:gd name="connsiteX29" fmla="*/ 15417 w 153745"/>
                <a:gd name="connsiteY29" fmla="*/ 41170 h 263490"/>
                <a:gd name="connsiteX30" fmla="*/ 137245 w 153745"/>
                <a:gd name="connsiteY30" fmla="*/ 36908 h 263490"/>
                <a:gd name="connsiteX31" fmla="*/ 114767 w 153745"/>
                <a:gd name="connsiteY31" fmla="*/ 44535 h 263490"/>
                <a:gd name="connsiteX32" fmla="*/ 116903 w 153745"/>
                <a:gd name="connsiteY32" fmla="*/ 35898 h 263490"/>
                <a:gd name="connsiteX33" fmla="*/ 127130 w 153745"/>
                <a:gd name="connsiteY33" fmla="*/ 21765 h 263490"/>
                <a:gd name="connsiteX34" fmla="*/ 128703 w 153745"/>
                <a:gd name="connsiteY34" fmla="*/ 21765 h 263490"/>
                <a:gd name="connsiteX35" fmla="*/ 136795 w 153745"/>
                <a:gd name="connsiteY35" fmla="*/ 37356 h 263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53745" h="263490">
                  <a:moveTo>
                    <a:pt x="132300" y="6622"/>
                  </a:moveTo>
                  <a:cubicBezTo>
                    <a:pt x="127467" y="5500"/>
                    <a:pt x="110609" y="3705"/>
                    <a:pt x="101505" y="31299"/>
                  </a:cubicBezTo>
                  <a:cubicBezTo>
                    <a:pt x="99954" y="36594"/>
                    <a:pt x="98752" y="41989"/>
                    <a:pt x="97909" y="47451"/>
                  </a:cubicBezTo>
                  <a:cubicBezTo>
                    <a:pt x="84591" y="48977"/>
                    <a:pt x="71183" y="49583"/>
                    <a:pt x="57787" y="49246"/>
                  </a:cubicBezTo>
                  <a:cubicBezTo>
                    <a:pt x="53741" y="8865"/>
                    <a:pt x="44750" y="1013"/>
                    <a:pt x="35309" y="4"/>
                  </a:cubicBezTo>
                  <a:cubicBezTo>
                    <a:pt x="26262" y="-131"/>
                    <a:pt x="17575" y="3537"/>
                    <a:pt x="11371" y="10099"/>
                  </a:cubicBezTo>
                  <a:cubicBezTo>
                    <a:pt x="4021" y="17704"/>
                    <a:pt x="-25" y="27911"/>
                    <a:pt x="132" y="38478"/>
                  </a:cubicBezTo>
                  <a:cubicBezTo>
                    <a:pt x="-587" y="44075"/>
                    <a:pt x="1661" y="49650"/>
                    <a:pt x="6089" y="53172"/>
                  </a:cubicBezTo>
                  <a:cubicBezTo>
                    <a:pt x="17316" y="60228"/>
                    <a:pt x="30252" y="64109"/>
                    <a:pt x="43514" y="64389"/>
                  </a:cubicBezTo>
                  <a:cubicBezTo>
                    <a:pt x="45829" y="120508"/>
                    <a:pt x="44401" y="176716"/>
                    <a:pt x="39243" y="232644"/>
                  </a:cubicBezTo>
                  <a:cubicBezTo>
                    <a:pt x="38850" y="237074"/>
                    <a:pt x="42120" y="240978"/>
                    <a:pt x="46548" y="241393"/>
                  </a:cubicBezTo>
                  <a:cubicBezTo>
                    <a:pt x="50976" y="241718"/>
                    <a:pt x="54842" y="238409"/>
                    <a:pt x="55202" y="233990"/>
                  </a:cubicBezTo>
                  <a:cubicBezTo>
                    <a:pt x="55202" y="233429"/>
                    <a:pt x="59810" y="177905"/>
                    <a:pt x="60596" y="121820"/>
                  </a:cubicBezTo>
                  <a:cubicBezTo>
                    <a:pt x="60596" y="99386"/>
                    <a:pt x="60596" y="80205"/>
                    <a:pt x="59698" y="65062"/>
                  </a:cubicBezTo>
                  <a:cubicBezTo>
                    <a:pt x="71925" y="65309"/>
                    <a:pt x="84164" y="64815"/>
                    <a:pt x="96336" y="63604"/>
                  </a:cubicBezTo>
                  <a:cubicBezTo>
                    <a:pt x="88581" y="127877"/>
                    <a:pt x="85659" y="249020"/>
                    <a:pt x="85097" y="255302"/>
                  </a:cubicBezTo>
                  <a:cubicBezTo>
                    <a:pt x="85030" y="259722"/>
                    <a:pt x="88536" y="263367"/>
                    <a:pt x="92964" y="263490"/>
                  </a:cubicBezTo>
                  <a:lnTo>
                    <a:pt x="94313" y="263490"/>
                  </a:lnTo>
                  <a:cubicBezTo>
                    <a:pt x="98212" y="262986"/>
                    <a:pt x="101146" y="259677"/>
                    <a:pt x="101168" y="255751"/>
                  </a:cubicBezTo>
                  <a:cubicBezTo>
                    <a:pt x="102405" y="204040"/>
                    <a:pt x="106001" y="109930"/>
                    <a:pt x="112407" y="61585"/>
                  </a:cubicBezTo>
                  <a:cubicBezTo>
                    <a:pt x="120521" y="60430"/>
                    <a:pt x="128501" y="58466"/>
                    <a:pt x="136233" y="55752"/>
                  </a:cubicBezTo>
                  <a:cubicBezTo>
                    <a:pt x="140166" y="54406"/>
                    <a:pt x="151967" y="50032"/>
                    <a:pt x="153428" y="40385"/>
                  </a:cubicBezTo>
                  <a:cubicBezTo>
                    <a:pt x="155575" y="25489"/>
                    <a:pt x="146651" y="11232"/>
                    <a:pt x="132300" y="6622"/>
                  </a:cubicBezTo>
                  <a:close/>
                  <a:moveTo>
                    <a:pt x="15417" y="40273"/>
                  </a:moveTo>
                  <a:cubicBezTo>
                    <a:pt x="15529" y="39599"/>
                    <a:pt x="15529" y="38926"/>
                    <a:pt x="15417" y="38253"/>
                  </a:cubicBezTo>
                  <a:cubicBezTo>
                    <a:pt x="15305" y="31770"/>
                    <a:pt x="17867" y="25522"/>
                    <a:pt x="22497" y="20980"/>
                  </a:cubicBezTo>
                  <a:cubicBezTo>
                    <a:pt x="25082" y="18242"/>
                    <a:pt x="28465" y="16403"/>
                    <a:pt x="32163" y="15708"/>
                  </a:cubicBezTo>
                  <a:lnTo>
                    <a:pt x="33399" y="15708"/>
                  </a:lnTo>
                  <a:cubicBezTo>
                    <a:pt x="36770" y="18624"/>
                    <a:pt x="39580" y="29729"/>
                    <a:pt x="41491" y="47788"/>
                  </a:cubicBezTo>
                  <a:cubicBezTo>
                    <a:pt x="22385" y="45993"/>
                    <a:pt x="16091" y="41731"/>
                    <a:pt x="15417" y="41170"/>
                  </a:cubicBezTo>
                  <a:close/>
                  <a:moveTo>
                    <a:pt x="137245" y="36908"/>
                  </a:moveTo>
                  <a:cubicBezTo>
                    <a:pt x="130434" y="41125"/>
                    <a:pt x="122747" y="43727"/>
                    <a:pt x="114767" y="44535"/>
                  </a:cubicBezTo>
                  <a:cubicBezTo>
                    <a:pt x="115329" y="41619"/>
                    <a:pt x="116048" y="38736"/>
                    <a:pt x="116903" y="35898"/>
                  </a:cubicBezTo>
                  <a:cubicBezTo>
                    <a:pt x="119150" y="29168"/>
                    <a:pt x="122859" y="22326"/>
                    <a:pt x="127130" y="21765"/>
                  </a:cubicBezTo>
                  <a:cubicBezTo>
                    <a:pt x="127647" y="21596"/>
                    <a:pt x="128186" y="21596"/>
                    <a:pt x="128703" y="21765"/>
                  </a:cubicBezTo>
                  <a:cubicBezTo>
                    <a:pt x="134581" y="24580"/>
                    <a:pt x="137885" y="30940"/>
                    <a:pt x="136795" y="37356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1D5D78A0-C0A0-834D-8375-90FF694262F4}"/>
                </a:ext>
              </a:extLst>
            </p:cNvPr>
            <p:cNvSpPr/>
            <p:nvPr/>
          </p:nvSpPr>
          <p:spPr>
            <a:xfrm>
              <a:off x="5457341" y="3819686"/>
              <a:ext cx="389312" cy="619855"/>
            </a:xfrm>
            <a:custGeom>
              <a:avLst/>
              <a:gdLst>
                <a:gd name="connsiteX0" fmla="*/ 389309 w 389312"/>
                <a:gd name="connsiteY0" fmla="*/ 190720 h 619855"/>
                <a:gd name="connsiteX1" fmla="*/ 333115 w 389312"/>
                <a:gd name="connsiteY1" fmla="*/ 56116 h 619855"/>
                <a:gd name="connsiteX2" fmla="*/ 191507 w 389312"/>
                <a:gd name="connsiteY2" fmla="*/ 32 h 619855"/>
                <a:gd name="connsiteX3" fmla="*/ 52484 w 389312"/>
                <a:gd name="connsiteY3" fmla="*/ 61164 h 619855"/>
                <a:gd name="connsiteX4" fmla="*/ 112 w 389312"/>
                <a:gd name="connsiteY4" fmla="*/ 198123 h 619855"/>
                <a:gd name="connsiteX5" fmla="*/ 44055 w 389312"/>
                <a:gd name="connsiteY5" fmla="*/ 305582 h 619855"/>
                <a:gd name="connsiteX6" fmla="*/ 95866 w 389312"/>
                <a:gd name="connsiteY6" fmla="*/ 441195 h 619855"/>
                <a:gd name="connsiteX7" fmla="*/ 94068 w 389312"/>
                <a:gd name="connsiteY7" fmla="*/ 483707 h 619855"/>
                <a:gd name="connsiteX8" fmla="*/ 96540 w 389312"/>
                <a:gd name="connsiteY8" fmla="*/ 551009 h 619855"/>
                <a:gd name="connsiteX9" fmla="*/ 197689 w 389312"/>
                <a:gd name="connsiteY9" fmla="*/ 619657 h 619855"/>
                <a:gd name="connsiteX10" fmla="*/ 291307 w 389312"/>
                <a:gd name="connsiteY10" fmla="*/ 549439 h 619855"/>
                <a:gd name="connsiteX11" fmla="*/ 292993 w 389312"/>
                <a:gd name="connsiteY11" fmla="*/ 466209 h 619855"/>
                <a:gd name="connsiteX12" fmla="*/ 291644 w 389312"/>
                <a:gd name="connsiteY12" fmla="*/ 438054 h 619855"/>
                <a:gd name="connsiteX13" fmla="*/ 344017 w 389312"/>
                <a:gd name="connsiteY13" fmla="*/ 300871 h 619855"/>
                <a:gd name="connsiteX14" fmla="*/ 389309 w 389312"/>
                <a:gd name="connsiteY14" fmla="*/ 190720 h 619855"/>
                <a:gd name="connsiteX15" fmla="*/ 267031 w 389312"/>
                <a:gd name="connsiteY15" fmla="*/ 438054 h 619855"/>
                <a:gd name="connsiteX16" fmla="*/ 268492 w 389312"/>
                <a:gd name="connsiteY16" fmla="*/ 466658 h 619855"/>
                <a:gd name="connsiteX17" fmla="*/ 270066 w 389312"/>
                <a:gd name="connsiteY17" fmla="*/ 505244 h 619855"/>
                <a:gd name="connsiteX18" fmla="*/ 186675 w 389312"/>
                <a:gd name="connsiteY18" fmla="*/ 502103 h 619855"/>
                <a:gd name="connsiteX19" fmla="*/ 173110 w 389312"/>
                <a:gd name="connsiteY19" fmla="*/ 512602 h 619855"/>
                <a:gd name="connsiteX20" fmla="*/ 183629 w 389312"/>
                <a:gd name="connsiteY20" fmla="*/ 526141 h 619855"/>
                <a:gd name="connsiteX21" fmla="*/ 185776 w 389312"/>
                <a:gd name="connsiteY21" fmla="*/ 526220 h 619855"/>
                <a:gd name="connsiteX22" fmla="*/ 269954 w 389312"/>
                <a:gd name="connsiteY22" fmla="*/ 529360 h 619855"/>
                <a:gd name="connsiteX23" fmla="*/ 268380 w 389312"/>
                <a:gd name="connsiteY23" fmla="*/ 539904 h 619855"/>
                <a:gd name="connsiteX24" fmla="*/ 193867 w 389312"/>
                <a:gd name="connsiteY24" fmla="*/ 594980 h 619855"/>
                <a:gd name="connsiteX25" fmla="*/ 118006 w 389312"/>
                <a:gd name="connsiteY25" fmla="*/ 540129 h 619855"/>
                <a:gd name="connsiteX26" fmla="*/ 118006 w 389312"/>
                <a:gd name="connsiteY26" fmla="*/ 484717 h 619855"/>
                <a:gd name="connsiteX27" fmla="*/ 119467 w 389312"/>
                <a:gd name="connsiteY27" fmla="*/ 459927 h 619855"/>
                <a:gd name="connsiteX28" fmla="*/ 198138 w 389312"/>
                <a:gd name="connsiteY28" fmla="*/ 461273 h 619855"/>
                <a:gd name="connsiteX29" fmla="*/ 200049 w 389312"/>
                <a:gd name="connsiteY29" fmla="*/ 461273 h 619855"/>
                <a:gd name="connsiteX30" fmla="*/ 210321 w 389312"/>
                <a:gd name="connsiteY30" fmla="*/ 447746 h 619855"/>
                <a:gd name="connsiteX31" fmla="*/ 198475 w 389312"/>
                <a:gd name="connsiteY31" fmla="*/ 437381 h 619855"/>
                <a:gd name="connsiteX32" fmla="*/ 119804 w 389312"/>
                <a:gd name="connsiteY32" fmla="*/ 435923 h 619855"/>
                <a:gd name="connsiteX33" fmla="*/ 64735 w 389312"/>
                <a:gd name="connsiteY33" fmla="*/ 292795 h 619855"/>
                <a:gd name="connsiteX34" fmla="*/ 24275 w 389312"/>
                <a:gd name="connsiteY34" fmla="*/ 196890 h 619855"/>
                <a:gd name="connsiteX35" fmla="*/ 70017 w 389312"/>
                <a:gd name="connsiteY35" fmla="*/ 77204 h 619855"/>
                <a:gd name="connsiteX36" fmla="*/ 191957 w 389312"/>
                <a:gd name="connsiteY36" fmla="*/ 23700 h 619855"/>
                <a:gd name="connsiteX37" fmla="*/ 316257 w 389312"/>
                <a:gd name="connsiteY37" fmla="*/ 73166 h 619855"/>
                <a:gd name="connsiteX38" fmla="*/ 365595 w 389312"/>
                <a:gd name="connsiteY38" fmla="*/ 190608 h 619855"/>
                <a:gd name="connsiteX39" fmla="*/ 323675 w 389312"/>
                <a:gd name="connsiteY39" fmla="*/ 287074 h 619855"/>
                <a:gd name="connsiteX40" fmla="*/ 267031 w 389312"/>
                <a:gd name="connsiteY40" fmla="*/ 438054 h 619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89312" h="619855">
                  <a:moveTo>
                    <a:pt x="389309" y="190720"/>
                  </a:moveTo>
                  <a:cubicBezTo>
                    <a:pt x="389657" y="140098"/>
                    <a:pt x="369371" y="91517"/>
                    <a:pt x="333115" y="56116"/>
                  </a:cubicBezTo>
                  <a:cubicBezTo>
                    <a:pt x="295319" y="19291"/>
                    <a:pt x="244318" y="-911"/>
                    <a:pt x="191507" y="32"/>
                  </a:cubicBezTo>
                  <a:cubicBezTo>
                    <a:pt x="138798" y="839"/>
                    <a:pt x="88650" y="22892"/>
                    <a:pt x="52484" y="61164"/>
                  </a:cubicBezTo>
                  <a:cubicBezTo>
                    <a:pt x="17240" y="97900"/>
                    <a:pt x="-1641" y="147288"/>
                    <a:pt x="112" y="198123"/>
                  </a:cubicBezTo>
                  <a:cubicBezTo>
                    <a:pt x="1461" y="234242"/>
                    <a:pt x="22589" y="268902"/>
                    <a:pt x="44055" y="305582"/>
                  </a:cubicBezTo>
                  <a:cubicBezTo>
                    <a:pt x="69118" y="347533"/>
                    <a:pt x="95079" y="390943"/>
                    <a:pt x="95866" y="441195"/>
                  </a:cubicBezTo>
                  <a:cubicBezTo>
                    <a:pt x="95866" y="453758"/>
                    <a:pt x="95079" y="469013"/>
                    <a:pt x="94068" y="483707"/>
                  </a:cubicBezTo>
                  <a:cubicBezTo>
                    <a:pt x="92045" y="512423"/>
                    <a:pt x="90359" y="537324"/>
                    <a:pt x="96540" y="551009"/>
                  </a:cubicBezTo>
                  <a:cubicBezTo>
                    <a:pt x="105868" y="571200"/>
                    <a:pt x="170154" y="623471"/>
                    <a:pt x="197689" y="619657"/>
                  </a:cubicBezTo>
                  <a:cubicBezTo>
                    <a:pt x="220166" y="616404"/>
                    <a:pt x="283777" y="569181"/>
                    <a:pt x="291307" y="549439"/>
                  </a:cubicBezTo>
                  <a:cubicBezTo>
                    <a:pt x="296252" y="536539"/>
                    <a:pt x="295241" y="509394"/>
                    <a:pt x="292993" y="466209"/>
                  </a:cubicBezTo>
                  <a:cubicBezTo>
                    <a:pt x="292431" y="456338"/>
                    <a:pt x="291981" y="446691"/>
                    <a:pt x="291644" y="438054"/>
                  </a:cubicBezTo>
                  <a:cubicBezTo>
                    <a:pt x="289734" y="385222"/>
                    <a:pt x="317268" y="342261"/>
                    <a:pt x="344017" y="300871"/>
                  </a:cubicBezTo>
                  <a:cubicBezTo>
                    <a:pt x="367056" y="263630"/>
                    <a:pt x="389196" y="229194"/>
                    <a:pt x="389309" y="190720"/>
                  </a:cubicBezTo>
                  <a:close/>
                  <a:moveTo>
                    <a:pt x="267031" y="438054"/>
                  </a:moveTo>
                  <a:cubicBezTo>
                    <a:pt x="267031" y="446916"/>
                    <a:pt x="267931" y="456675"/>
                    <a:pt x="268492" y="466658"/>
                  </a:cubicBezTo>
                  <a:cubicBezTo>
                    <a:pt x="269054" y="476641"/>
                    <a:pt x="269841" y="492344"/>
                    <a:pt x="270066" y="505244"/>
                  </a:cubicBezTo>
                  <a:lnTo>
                    <a:pt x="186675" y="502103"/>
                  </a:lnTo>
                  <a:cubicBezTo>
                    <a:pt x="180021" y="501262"/>
                    <a:pt x="173953" y="505962"/>
                    <a:pt x="173110" y="512602"/>
                  </a:cubicBezTo>
                  <a:cubicBezTo>
                    <a:pt x="172267" y="519232"/>
                    <a:pt x="176976" y="525300"/>
                    <a:pt x="183629" y="526141"/>
                  </a:cubicBezTo>
                  <a:cubicBezTo>
                    <a:pt x="184337" y="526231"/>
                    <a:pt x="185056" y="526253"/>
                    <a:pt x="185776" y="526220"/>
                  </a:cubicBezTo>
                  <a:lnTo>
                    <a:pt x="269954" y="529360"/>
                  </a:lnTo>
                  <a:cubicBezTo>
                    <a:pt x="269920" y="532927"/>
                    <a:pt x="269391" y="536483"/>
                    <a:pt x="268380" y="539904"/>
                  </a:cubicBezTo>
                  <a:cubicBezTo>
                    <a:pt x="263323" y="551121"/>
                    <a:pt x="209826" y="592736"/>
                    <a:pt x="193867" y="594980"/>
                  </a:cubicBezTo>
                  <a:cubicBezTo>
                    <a:pt x="182629" y="596438"/>
                    <a:pt x="126435" y="557515"/>
                    <a:pt x="118006" y="540129"/>
                  </a:cubicBezTo>
                  <a:cubicBezTo>
                    <a:pt x="114410" y="532277"/>
                    <a:pt x="116208" y="505917"/>
                    <a:pt x="118006" y="484717"/>
                  </a:cubicBezTo>
                  <a:cubicBezTo>
                    <a:pt x="118568" y="476529"/>
                    <a:pt x="119130" y="468116"/>
                    <a:pt x="119467" y="459927"/>
                  </a:cubicBezTo>
                  <a:lnTo>
                    <a:pt x="198138" y="461273"/>
                  </a:lnTo>
                  <a:lnTo>
                    <a:pt x="200049" y="461273"/>
                  </a:lnTo>
                  <a:cubicBezTo>
                    <a:pt x="206623" y="460365"/>
                    <a:pt x="211231" y="454319"/>
                    <a:pt x="210321" y="447746"/>
                  </a:cubicBezTo>
                  <a:cubicBezTo>
                    <a:pt x="209512" y="441834"/>
                    <a:pt x="204454" y="437415"/>
                    <a:pt x="198475" y="437381"/>
                  </a:cubicBezTo>
                  <a:lnTo>
                    <a:pt x="119804" y="435923"/>
                  </a:lnTo>
                  <a:cubicBezTo>
                    <a:pt x="117557" y="381184"/>
                    <a:pt x="89572" y="334297"/>
                    <a:pt x="64735" y="292795"/>
                  </a:cubicBezTo>
                  <a:cubicBezTo>
                    <a:pt x="44505" y="259144"/>
                    <a:pt x="25287" y="226727"/>
                    <a:pt x="24275" y="196890"/>
                  </a:cubicBezTo>
                  <a:cubicBezTo>
                    <a:pt x="22702" y="152470"/>
                    <a:pt x="39200" y="109296"/>
                    <a:pt x="70017" y="77204"/>
                  </a:cubicBezTo>
                  <a:cubicBezTo>
                    <a:pt x="101789" y="43711"/>
                    <a:pt x="145755" y="24417"/>
                    <a:pt x="191957" y="23700"/>
                  </a:cubicBezTo>
                  <a:cubicBezTo>
                    <a:pt x="238361" y="22903"/>
                    <a:pt x="283137" y="40727"/>
                    <a:pt x="316257" y="73166"/>
                  </a:cubicBezTo>
                  <a:cubicBezTo>
                    <a:pt x="348006" y="104002"/>
                    <a:pt x="365808" y="146402"/>
                    <a:pt x="365595" y="190608"/>
                  </a:cubicBezTo>
                  <a:cubicBezTo>
                    <a:pt x="365595" y="222015"/>
                    <a:pt x="345253" y="253647"/>
                    <a:pt x="323675" y="287074"/>
                  </a:cubicBezTo>
                  <a:cubicBezTo>
                    <a:pt x="295915" y="329586"/>
                    <a:pt x="264896" y="377707"/>
                    <a:pt x="267031" y="438054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AB4F16AB-6B76-3E48-9C78-501C7FD990D3}"/>
                </a:ext>
              </a:extLst>
            </p:cNvPr>
            <p:cNvSpPr/>
            <p:nvPr/>
          </p:nvSpPr>
          <p:spPr>
            <a:xfrm>
              <a:off x="3878303" y="4408608"/>
              <a:ext cx="273100" cy="272684"/>
            </a:xfrm>
            <a:custGeom>
              <a:avLst/>
              <a:gdLst>
                <a:gd name="connsiteX0" fmla="*/ 259052 w 273100"/>
                <a:gd name="connsiteY0" fmla="*/ 272685 h 272684"/>
                <a:gd name="connsiteX1" fmla="*/ 273101 w 273100"/>
                <a:gd name="connsiteY1" fmla="*/ 258663 h 272684"/>
                <a:gd name="connsiteX2" fmla="*/ 259052 w 273100"/>
                <a:gd name="connsiteY2" fmla="*/ 244642 h 272684"/>
                <a:gd name="connsiteX3" fmla="*/ 28097 w 273100"/>
                <a:gd name="connsiteY3" fmla="*/ 14021 h 272684"/>
                <a:gd name="connsiteX4" fmla="*/ 14048 w 273100"/>
                <a:gd name="connsiteY4" fmla="*/ 0 h 272684"/>
                <a:gd name="connsiteX5" fmla="*/ 0 w 273100"/>
                <a:gd name="connsiteY5" fmla="*/ 14021 h 272684"/>
                <a:gd name="connsiteX6" fmla="*/ 259052 w 273100"/>
                <a:gd name="connsiteY6" fmla="*/ 272685 h 272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3100" h="272684">
                  <a:moveTo>
                    <a:pt x="259052" y="272685"/>
                  </a:moveTo>
                  <a:cubicBezTo>
                    <a:pt x="266807" y="272685"/>
                    <a:pt x="273101" y="266403"/>
                    <a:pt x="273101" y="258663"/>
                  </a:cubicBezTo>
                  <a:cubicBezTo>
                    <a:pt x="273101" y="250924"/>
                    <a:pt x="266807" y="244642"/>
                    <a:pt x="259052" y="244642"/>
                  </a:cubicBezTo>
                  <a:cubicBezTo>
                    <a:pt x="131538" y="244451"/>
                    <a:pt x="28220" y="141289"/>
                    <a:pt x="28097" y="14021"/>
                  </a:cubicBezTo>
                  <a:cubicBezTo>
                    <a:pt x="28097" y="6281"/>
                    <a:pt x="21803" y="0"/>
                    <a:pt x="14048" y="0"/>
                  </a:cubicBezTo>
                  <a:cubicBezTo>
                    <a:pt x="6294" y="0"/>
                    <a:pt x="0" y="6281"/>
                    <a:pt x="0" y="14021"/>
                  </a:cubicBezTo>
                  <a:cubicBezTo>
                    <a:pt x="124" y="156780"/>
                    <a:pt x="116017" y="272494"/>
                    <a:pt x="259052" y="272685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512A63A8-A3BB-2B44-81EB-16B1F9CB0163}"/>
                </a:ext>
              </a:extLst>
            </p:cNvPr>
            <p:cNvSpPr/>
            <p:nvPr/>
          </p:nvSpPr>
          <p:spPr>
            <a:xfrm>
              <a:off x="4053187" y="4417074"/>
              <a:ext cx="312077" cy="37470"/>
            </a:xfrm>
            <a:custGeom>
              <a:avLst/>
              <a:gdLst>
                <a:gd name="connsiteX0" fmla="*/ 20219 w 312077"/>
                <a:gd name="connsiteY0" fmla="*/ 37411 h 37470"/>
                <a:gd name="connsiteX1" fmla="*/ 291859 w 312077"/>
                <a:gd name="connsiteY1" fmla="*/ 37411 h 37470"/>
                <a:gd name="connsiteX2" fmla="*/ 312021 w 312077"/>
                <a:gd name="connsiteY2" fmla="*/ 20182 h 37470"/>
                <a:gd name="connsiteX3" fmla="*/ 294758 w 312077"/>
                <a:gd name="connsiteY3" fmla="*/ 59 h 37470"/>
                <a:gd name="connsiteX4" fmla="*/ 291859 w 312077"/>
                <a:gd name="connsiteY4" fmla="*/ 59 h 37470"/>
                <a:gd name="connsiteX5" fmla="*/ 20219 w 312077"/>
                <a:gd name="connsiteY5" fmla="*/ 59 h 37470"/>
                <a:gd name="connsiteX6" fmla="*/ 57 w 312077"/>
                <a:gd name="connsiteY6" fmla="*/ 17288 h 37470"/>
                <a:gd name="connsiteX7" fmla="*/ 17319 w 312077"/>
                <a:gd name="connsiteY7" fmla="*/ 37411 h 37470"/>
                <a:gd name="connsiteX8" fmla="*/ 20219 w 312077"/>
                <a:gd name="connsiteY8" fmla="*/ 37411 h 37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2077" h="37470">
                  <a:moveTo>
                    <a:pt x="20219" y="37411"/>
                  </a:moveTo>
                  <a:lnTo>
                    <a:pt x="291859" y="37411"/>
                  </a:lnTo>
                  <a:cubicBezTo>
                    <a:pt x="302198" y="38208"/>
                    <a:pt x="311223" y="30502"/>
                    <a:pt x="312021" y="20182"/>
                  </a:cubicBezTo>
                  <a:cubicBezTo>
                    <a:pt x="312819" y="9874"/>
                    <a:pt x="305098" y="855"/>
                    <a:pt x="294758" y="59"/>
                  </a:cubicBezTo>
                  <a:cubicBezTo>
                    <a:pt x="293792" y="-20"/>
                    <a:pt x="292825" y="-20"/>
                    <a:pt x="291859" y="59"/>
                  </a:cubicBezTo>
                  <a:lnTo>
                    <a:pt x="20219" y="59"/>
                  </a:lnTo>
                  <a:cubicBezTo>
                    <a:pt x="9879" y="-738"/>
                    <a:pt x="855" y="6968"/>
                    <a:pt x="57" y="17288"/>
                  </a:cubicBezTo>
                  <a:cubicBezTo>
                    <a:pt x="-741" y="27596"/>
                    <a:pt x="6980" y="36615"/>
                    <a:pt x="17319" y="37411"/>
                  </a:cubicBezTo>
                  <a:cubicBezTo>
                    <a:pt x="18286" y="37490"/>
                    <a:pt x="19252" y="37490"/>
                    <a:pt x="20219" y="37411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426D69B8-7E36-4540-9A83-6947D9F5ED94}"/>
                </a:ext>
              </a:extLst>
            </p:cNvPr>
            <p:cNvSpPr/>
            <p:nvPr/>
          </p:nvSpPr>
          <p:spPr>
            <a:xfrm>
              <a:off x="5586760" y="4648457"/>
              <a:ext cx="171784" cy="151738"/>
            </a:xfrm>
            <a:custGeom>
              <a:avLst/>
              <a:gdLst>
                <a:gd name="connsiteX0" fmla="*/ 163462 w 171784"/>
                <a:gd name="connsiteY0" fmla="*/ 2326 h 151738"/>
                <a:gd name="connsiteX1" fmla="*/ 140085 w 171784"/>
                <a:gd name="connsiteY1" fmla="*/ 7486 h 151738"/>
                <a:gd name="connsiteX2" fmla="*/ 71304 w 171784"/>
                <a:gd name="connsiteY2" fmla="*/ 110233 h 151738"/>
                <a:gd name="connsiteX3" fmla="*/ 29496 w 171784"/>
                <a:gd name="connsiteY3" fmla="*/ 69627 h 151738"/>
                <a:gd name="connsiteX4" fmla="*/ 5558 w 171784"/>
                <a:gd name="connsiteY4" fmla="*/ 68954 h 151738"/>
                <a:gd name="connsiteX5" fmla="*/ 3198 w 171784"/>
                <a:gd name="connsiteY5" fmla="*/ 89605 h 151738"/>
                <a:gd name="connsiteX6" fmla="*/ 4883 w 171784"/>
                <a:gd name="connsiteY6" fmla="*/ 91388 h 151738"/>
                <a:gd name="connsiteX7" fmla="*/ 61864 w 171784"/>
                <a:gd name="connsiteY7" fmla="*/ 146913 h 151738"/>
                <a:gd name="connsiteX8" fmla="*/ 74226 w 171784"/>
                <a:gd name="connsiteY8" fmla="*/ 151736 h 151738"/>
                <a:gd name="connsiteX9" fmla="*/ 75912 w 171784"/>
                <a:gd name="connsiteY9" fmla="*/ 151736 h 151738"/>
                <a:gd name="connsiteX10" fmla="*/ 88612 w 171784"/>
                <a:gd name="connsiteY10" fmla="*/ 144445 h 151738"/>
                <a:gd name="connsiteX11" fmla="*/ 168968 w 171784"/>
                <a:gd name="connsiteY11" fmla="*/ 24311 h 151738"/>
                <a:gd name="connsiteX12" fmla="*/ 165653 w 171784"/>
                <a:gd name="connsiteY12" fmla="*/ 3638 h 151738"/>
                <a:gd name="connsiteX13" fmla="*/ 163462 w 171784"/>
                <a:gd name="connsiteY13" fmla="*/ 2326 h 151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71784" h="151738">
                  <a:moveTo>
                    <a:pt x="163462" y="2326"/>
                  </a:moveTo>
                  <a:cubicBezTo>
                    <a:pt x="155493" y="-2183"/>
                    <a:pt x="145401" y="38"/>
                    <a:pt x="140085" y="7486"/>
                  </a:cubicBezTo>
                  <a:lnTo>
                    <a:pt x="71304" y="110233"/>
                  </a:lnTo>
                  <a:lnTo>
                    <a:pt x="29496" y="69627"/>
                  </a:lnTo>
                  <a:cubicBezTo>
                    <a:pt x="22865" y="63312"/>
                    <a:pt x="12525" y="63021"/>
                    <a:pt x="5558" y="68954"/>
                  </a:cubicBezTo>
                  <a:cubicBezTo>
                    <a:pt x="-804" y="74002"/>
                    <a:pt x="-1860" y="83245"/>
                    <a:pt x="3198" y="89605"/>
                  </a:cubicBezTo>
                  <a:cubicBezTo>
                    <a:pt x="3703" y="90244"/>
                    <a:pt x="4277" y="90839"/>
                    <a:pt x="4883" y="91388"/>
                  </a:cubicBezTo>
                  <a:lnTo>
                    <a:pt x="61864" y="146913"/>
                  </a:lnTo>
                  <a:cubicBezTo>
                    <a:pt x="65190" y="150087"/>
                    <a:pt x="69630" y="151814"/>
                    <a:pt x="74226" y="151736"/>
                  </a:cubicBezTo>
                  <a:lnTo>
                    <a:pt x="75912" y="151736"/>
                  </a:lnTo>
                  <a:cubicBezTo>
                    <a:pt x="81037" y="151377"/>
                    <a:pt x="85723" y="148696"/>
                    <a:pt x="88612" y="144445"/>
                  </a:cubicBezTo>
                  <a:lnTo>
                    <a:pt x="168968" y="24311"/>
                  </a:lnTo>
                  <a:cubicBezTo>
                    <a:pt x="173767" y="17682"/>
                    <a:pt x="172284" y="8428"/>
                    <a:pt x="165653" y="3638"/>
                  </a:cubicBezTo>
                  <a:cubicBezTo>
                    <a:pt x="164956" y="3134"/>
                    <a:pt x="164226" y="2696"/>
                    <a:pt x="163462" y="2326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DA55C9F3-02DC-D449-9A5E-663AF5784DB8}"/>
                </a:ext>
              </a:extLst>
            </p:cNvPr>
            <p:cNvSpPr/>
            <p:nvPr/>
          </p:nvSpPr>
          <p:spPr>
            <a:xfrm>
              <a:off x="5610749" y="4883866"/>
              <a:ext cx="115196" cy="140779"/>
            </a:xfrm>
            <a:custGeom>
              <a:avLst/>
              <a:gdLst>
                <a:gd name="connsiteX0" fmla="*/ 115197 w 115196"/>
                <a:gd name="connsiteY0" fmla="*/ 15933 h 140779"/>
                <a:gd name="connsiteX1" fmla="*/ 110589 w 115196"/>
                <a:gd name="connsiteY1" fmla="*/ 5502 h 140779"/>
                <a:gd name="connsiteX2" fmla="*/ 92832 w 115196"/>
                <a:gd name="connsiteY2" fmla="*/ 2809 h 140779"/>
                <a:gd name="connsiteX3" fmla="*/ 87212 w 115196"/>
                <a:gd name="connsiteY3" fmla="*/ 8081 h 140779"/>
                <a:gd name="connsiteX4" fmla="*/ 58891 w 115196"/>
                <a:gd name="connsiteY4" fmla="*/ 45658 h 140779"/>
                <a:gd name="connsiteX5" fmla="*/ 29783 w 115196"/>
                <a:gd name="connsiteY5" fmla="*/ 7072 h 140779"/>
                <a:gd name="connsiteX6" fmla="*/ 8159 w 115196"/>
                <a:gd name="connsiteY6" fmla="*/ 2540 h 140779"/>
                <a:gd name="connsiteX7" fmla="*/ 5507 w 115196"/>
                <a:gd name="connsiteY7" fmla="*/ 4716 h 140779"/>
                <a:gd name="connsiteX8" fmla="*/ 450 w 115196"/>
                <a:gd name="connsiteY8" fmla="*/ 15933 h 140779"/>
                <a:gd name="connsiteX9" fmla="*/ 3821 w 115196"/>
                <a:gd name="connsiteY9" fmla="*/ 25356 h 140779"/>
                <a:gd name="connsiteX10" fmla="*/ 37537 w 115196"/>
                <a:gd name="connsiteY10" fmla="*/ 70223 h 140779"/>
                <a:gd name="connsiteX11" fmla="*/ 3821 w 115196"/>
                <a:gd name="connsiteY11" fmla="*/ 115764 h 140779"/>
                <a:gd name="connsiteX12" fmla="*/ 0 w 115196"/>
                <a:gd name="connsiteY12" fmla="*/ 126308 h 140779"/>
                <a:gd name="connsiteX13" fmla="*/ 4383 w 115196"/>
                <a:gd name="connsiteY13" fmla="*/ 136516 h 140779"/>
                <a:gd name="connsiteX14" fmla="*/ 26153 w 115196"/>
                <a:gd name="connsiteY14" fmla="*/ 135899 h 140779"/>
                <a:gd name="connsiteX15" fmla="*/ 27872 w 115196"/>
                <a:gd name="connsiteY15" fmla="*/ 133711 h 140779"/>
                <a:gd name="connsiteX16" fmla="*/ 56306 w 115196"/>
                <a:gd name="connsiteY16" fmla="*/ 95125 h 140779"/>
                <a:gd name="connsiteX17" fmla="*/ 85752 w 115196"/>
                <a:gd name="connsiteY17" fmla="*/ 134160 h 140779"/>
                <a:gd name="connsiteX18" fmla="*/ 98564 w 115196"/>
                <a:gd name="connsiteY18" fmla="*/ 140778 h 140779"/>
                <a:gd name="connsiteX19" fmla="*/ 109802 w 115196"/>
                <a:gd name="connsiteY19" fmla="*/ 136516 h 140779"/>
                <a:gd name="connsiteX20" fmla="*/ 114860 w 115196"/>
                <a:gd name="connsiteY20" fmla="*/ 125299 h 140779"/>
                <a:gd name="connsiteX21" fmla="*/ 111713 w 115196"/>
                <a:gd name="connsiteY21" fmla="*/ 115652 h 140779"/>
                <a:gd name="connsiteX22" fmla="*/ 77997 w 115196"/>
                <a:gd name="connsiteY22" fmla="*/ 70784 h 140779"/>
                <a:gd name="connsiteX23" fmla="*/ 111713 w 115196"/>
                <a:gd name="connsiteY23" fmla="*/ 25917 h 140779"/>
                <a:gd name="connsiteX24" fmla="*/ 115197 w 115196"/>
                <a:gd name="connsiteY24" fmla="*/ 15933 h 140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15196" h="140779">
                  <a:moveTo>
                    <a:pt x="115197" y="15933"/>
                  </a:moveTo>
                  <a:cubicBezTo>
                    <a:pt x="115141" y="11974"/>
                    <a:pt x="113477" y="8216"/>
                    <a:pt x="110589" y="5502"/>
                  </a:cubicBezTo>
                  <a:cubicBezTo>
                    <a:pt x="106071" y="499"/>
                    <a:pt x="98642" y="-634"/>
                    <a:pt x="92832" y="2809"/>
                  </a:cubicBezTo>
                  <a:cubicBezTo>
                    <a:pt x="90596" y="4144"/>
                    <a:pt x="88685" y="5939"/>
                    <a:pt x="87212" y="8081"/>
                  </a:cubicBezTo>
                  <a:lnTo>
                    <a:pt x="58891" y="45658"/>
                  </a:lnTo>
                  <a:lnTo>
                    <a:pt x="29783" y="7072"/>
                  </a:lnTo>
                  <a:cubicBezTo>
                    <a:pt x="25062" y="-141"/>
                    <a:pt x="15386" y="-2171"/>
                    <a:pt x="8159" y="2540"/>
                  </a:cubicBezTo>
                  <a:cubicBezTo>
                    <a:pt x="7204" y="3157"/>
                    <a:pt x="6305" y="3898"/>
                    <a:pt x="5507" y="4716"/>
                  </a:cubicBezTo>
                  <a:cubicBezTo>
                    <a:pt x="2293" y="7565"/>
                    <a:pt x="461" y="11649"/>
                    <a:pt x="450" y="15933"/>
                  </a:cubicBezTo>
                  <a:cubicBezTo>
                    <a:pt x="439" y="19366"/>
                    <a:pt x="1630" y="22708"/>
                    <a:pt x="3821" y="25356"/>
                  </a:cubicBezTo>
                  <a:lnTo>
                    <a:pt x="37537" y="70223"/>
                  </a:lnTo>
                  <a:lnTo>
                    <a:pt x="3821" y="115764"/>
                  </a:lnTo>
                  <a:cubicBezTo>
                    <a:pt x="1349" y="118726"/>
                    <a:pt x="0" y="122461"/>
                    <a:pt x="0" y="126308"/>
                  </a:cubicBezTo>
                  <a:cubicBezTo>
                    <a:pt x="-22" y="130167"/>
                    <a:pt x="1562" y="133869"/>
                    <a:pt x="4383" y="136516"/>
                  </a:cubicBezTo>
                  <a:cubicBezTo>
                    <a:pt x="10565" y="142348"/>
                    <a:pt x="20308" y="142068"/>
                    <a:pt x="26153" y="135899"/>
                  </a:cubicBezTo>
                  <a:cubicBezTo>
                    <a:pt x="26793" y="135226"/>
                    <a:pt x="27366" y="134485"/>
                    <a:pt x="27872" y="133711"/>
                  </a:cubicBezTo>
                  <a:lnTo>
                    <a:pt x="56306" y="95125"/>
                  </a:lnTo>
                  <a:lnTo>
                    <a:pt x="85752" y="134160"/>
                  </a:lnTo>
                  <a:cubicBezTo>
                    <a:pt x="88685" y="138322"/>
                    <a:pt x="93472" y="140790"/>
                    <a:pt x="98564" y="140778"/>
                  </a:cubicBezTo>
                  <a:cubicBezTo>
                    <a:pt x="102711" y="140823"/>
                    <a:pt x="106734" y="139309"/>
                    <a:pt x="109802" y="136516"/>
                  </a:cubicBezTo>
                  <a:cubicBezTo>
                    <a:pt x="112983" y="133644"/>
                    <a:pt x="114815" y="129573"/>
                    <a:pt x="114860" y="125299"/>
                  </a:cubicBezTo>
                  <a:cubicBezTo>
                    <a:pt x="114871" y="121833"/>
                    <a:pt x="113770" y="118445"/>
                    <a:pt x="111713" y="115652"/>
                  </a:cubicBezTo>
                  <a:lnTo>
                    <a:pt x="77997" y="70784"/>
                  </a:lnTo>
                  <a:lnTo>
                    <a:pt x="111713" y="25917"/>
                  </a:lnTo>
                  <a:cubicBezTo>
                    <a:pt x="113938" y="23056"/>
                    <a:pt x="115163" y="19556"/>
                    <a:pt x="115197" y="15933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16147854-F960-E547-A73F-B1962B57AD95}"/>
                </a:ext>
              </a:extLst>
            </p:cNvPr>
            <p:cNvSpPr/>
            <p:nvPr/>
          </p:nvSpPr>
          <p:spPr>
            <a:xfrm>
              <a:off x="4032160" y="1815129"/>
              <a:ext cx="640044" cy="516993"/>
            </a:xfrm>
            <a:custGeom>
              <a:avLst/>
              <a:gdLst>
                <a:gd name="connsiteX0" fmla="*/ 15285 w 640044"/>
                <a:gd name="connsiteY0" fmla="*/ 516994 h 516993"/>
                <a:gd name="connsiteX1" fmla="*/ 350423 w 640044"/>
                <a:gd name="connsiteY1" fmla="*/ 516994 h 516993"/>
                <a:gd name="connsiteX2" fmla="*/ 350423 w 640044"/>
                <a:gd name="connsiteY2" fmla="*/ 486596 h 516993"/>
                <a:gd name="connsiteX3" fmla="*/ 30457 w 640044"/>
                <a:gd name="connsiteY3" fmla="*/ 486596 h 516993"/>
                <a:gd name="connsiteX4" fmla="*/ 30457 w 640044"/>
                <a:gd name="connsiteY4" fmla="*/ 30514 h 516993"/>
                <a:gd name="connsiteX5" fmla="*/ 212973 w 640044"/>
                <a:gd name="connsiteY5" fmla="*/ 30514 h 516993"/>
                <a:gd name="connsiteX6" fmla="*/ 212973 w 640044"/>
                <a:gd name="connsiteY6" fmla="*/ 106453 h 516993"/>
                <a:gd name="connsiteX7" fmla="*/ 228033 w 640044"/>
                <a:gd name="connsiteY7" fmla="*/ 121708 h 516993"/>
                <a:gd name="connsiteX8" fmla="*/ 228146 w 640044"/>
                <a:gd name="connsiteY8" fmla="*/ 121708 h 516993"/>
                <a:gd name="connsiteX9" fmla="*/ 395715 w 640044"/>
                <a:gd name="connsiteY9" fmla="*/ 121708 h 516993"/>
                <a:gd name="connsiteX10" fmla="*/ 410999 w 640044"/>
                <a:gd name="connsiteY10" fmla="*/ 106453 h 516993"/>
                <a:gd name="connsiteX11" fmla="*/ 410999 w 640044"/>
                <a:gd name="connsiteY11" fmla="*/ 30514 h 516993"/>
                <a:gd name="connsiteX12" fmla="*/ 609026 w 640044"/>
                <a:gd name="connsiteY12" fmla="*/ 30514 h 516993"/>
                <a:gd name="connsiteX13" fmla="*/ 609026 w 640044"/>
                <a:gd name="connsiteY13" fmla="*/ 243636 h 516993"/>
                <a:gd name="connsiteX14" fmla="*/ 640044 w 640044"/>
                <a:gd name="connsiteY14" fmla="*/ 243636 h 516993"/>
                <a:gd name="connsiteX15" fmla="*/ 640044 w 640044"/>
                <a:gd name="connsiteY15" fmla="*/ 15259 h 516993"/>
                <a:gd name="connsiteX16" fmla="*/ 624985 w 640044"/>
                <a:gd name="connsiteY16" fmla="*/ 0 h 516993"/>
                <a:gd name="connsiteX17" fmla="*/ 624535 w 640044"/>
                <a:gd name="connsiteY17" fmla="*/ 4 h 516993"/>
                <a:gd name="connsiteX18" fmla="*/ 15285 w 640044"/>
                <a:gd name="connsiteY18" fmla="*/ 4 h 516993"/>
                <a:gd name="connsiteX19" fmla="*/ 0 w 640044"/>
                <a:gd name="connsiteY19" fmla="*/ 15034 h 516993"/>
                <a:gd name="connsiteX20" fmla="*/ 0 w 640044"/>
                <a:gd name="connsiteY20" fmla="*/ 15147 h 516993"/>
                <a:gd name="connsiteX21" fmla="*/ 0 w 640044"/>
                <a:gd name="connsiteY21" fmla="*/ 501739 h 516993"/>
                <a:gd name="connsiteX22" fmla="*/ 15285 w 640044"/>
                <a:gd name="connsiteY22" fmla="*/ 516994 h 516993"/>
                <a:gd name="connsiteX23" fmla="*/ 243768 w 640044"/>
                <a:gd name="connsiteY23" fmla="*/ 30514 h 516993"/>
                <a:gd name="connsiteX24" fmla="*/ 380880 w 640044"/>
                <a:gd name="connsiteY24" fmla="*/ 30514 h 516993"/>
                <a:gd name="connsiteX25" fmla="*/ 380880 w 640044"/>
                <a:gd name="connsiteY25" fmla="*/ 91310 h 516993"/>
                <a:gd name="connsiteX26" fmla="*/ 243768 w 640044"/>
                <a:gd name="connsiteY26" fmla="*/ 91310 h 516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40044" h="516993">
                  <a:moveTo>
                    <a:pt x="15285" y="516994"/>
                  </a:moveTo>
                  <a:lnTo>
                    <a:pt x="350423" y="516994"/>
                  </a:lnTo>
                  <a:lnTo>
                    <a:pt x="350423" y="486596"/>
                  </a:lnTo>
                  <a:lnTo>
                    <a:pt x="30457" y="486596"/>
                  </a:lnTo>
                  <a:lnTo>
                    <a:pt x="30457" y="30514"/>
                  </a:lnTo>
                  <a:lnTo>
                    <a:pt x="212973" y="30514"/>
                  </a:lnTo>
                  <a:lnTo>
                    <a:pt x="212973" y="106453"/>
                  </a:lnTo>
                  <a:cubicBezTo>
                    <a:pt x="212906" y="114821"/>
                    <a:pt x="219649" y="121641"/>
                    <a:pt x="228033" y="121708"/>
                  </a:cubicBezTo>
                  <a:cubicBezTo>
                    <a:pt x="228067" y="121708"/>
                    <a:pt x="228112" y="121708"/>
                    <a:pt x="228146" y="121708"/>
                  </a:cubicBezTo>
                  <a:lnTo>
                    <a:pt x="395715" y="121708"/>
                  </a:lnTo>
                  <a:cubicBezTo>
                    <a:pt x="404155" y="121708"/>
                    <a:pt x="410999" y="114877"/>
                    <a:pt x="410999" y="106453"/>
                  </a:cubicBezTo>
                  <a:lnTo>
                    <a:pt x="410999" y="30514"/>
                  </a:lnTo>
                  <a:lnTo>
                    <a:pt x="609026" y="30514"/>
                  </a:lnTo>
                  <a:lnTo>
                    <a:pt x="609026" y="243636"/>
                  </a:lnTo>
                  <a:lnTo>
                    <a:pt x="640044" y="243636"/>
                  </a:lnTo>
                  <a:lnTo>
                    <a:pt x="640044" y="15259"/>
                  </a:lnTo>
                  <a:cubicBezTo>
                    <a:pt x="640112" y="6895"/>
                    <a:pt x="633369" y="64"/>
                    <a:pt x="624985" y="0"/>
                  </a:cubicBezTo>
                  <a:cubicBezTo>
                    <a:pt x="624838" y="-1"/>
                    <a:pt x="624681" y="0"/>
                    <a:pt x="624535" y="4"/>
                  </a:cubicBezTo>
                  <a:lnTo>
                    <a:pt x="15285" y="4"/>
                  </a:lnTo>
                  <a:cubicBezTo>
                    <a:pt x="6901" y="-58"/>
                    <a:pt x="67" y="6671"/>
                    <a:pt x="0" y="15034"/>
                  </a:cubicBezTo>
                  <a:cubicBezTo>
                    <a:pt x="0" y="15072"/>
                    <a:pt x="0" y="15110"/>
                    <a:pt x="0" y="15147"/>
                  </a:cubicBezTo>
                  <a:lnTo>
                    <a:pt x="0" y="501739"/>
                  </a:lnTo>
                  <a:cubicBezTo>
                    <a:pt x="0" y="510163"/>
                    <a:pt x="6844" y="516994"/>
                    <a:pt x="15285" y="516994"/>
                  </a:cubicBezTo>
                  <a:close/>
                  <a:moveTo>
                    <a:pt x="243768" y="30514"/>
                  </a:moveTo>
                  <a:lnTo>
                    <a:pt x="380880" y="30514"/>
                  </a:lnTo>
                  <a:lnTo>
                    <a:pt x="380880" y="91310"/>
                  </a:lnTo>
                  <a:lnTo>
                    <a:pt x="243768" y="91310"/>
                  </a:ln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EF543F8E-88AD-1D40-94FD-0B69562E827A}"/>
                </a:ext>
              </a:extLst>
            </p:cNvPr>
            <p:cNvSpPr/>
            <p:nvPr/>
          </p:nvSpPr>
          <p:spPr>
            <a:xfrm>
              <a:off x="4093074" y="2240929"/>
              <a:ext cx="30456" cy="30397"/>
            </a:xfrm>
            <a:custGeom>
              <a:avLst/>
              <a:gdLst>
                <a:gd name="connsiteX0" fmla="*/ 0 w 30456"/>
                <a:gd name="connsiteY0" fmla="*/ 0 h 30397"/>
                <a:gd name="connsiteX1" fmla="*/ 30457 w 30456"/>
                <a:gd name="connsiteY1" fmla="*/ 0 h 30397"/>
                <a:gd name="connsiteX2" fmla="*/ 30457 w 30456"/>
                <a:gd name="connsiteY2" fmla="*/ 30398 h 30397"/>
                <a:gd name="connsiteX3" fmla="*/ 0 w 30456"/>
                <a:gd name="connsiteY3" fmla="*/ 30398 h 30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456" h="30397">
                  <a:moveTo>
                    <a:pt x="0" y="0"/>
                  </a:moveTo>
                  <a:lnTo>
                    <a:pt x="30457" y="0"/>
                  </a:lnTo>
                  <a:lnTo>
                    <a:pt x="30457" y="30398"/>
                  </a:lnTo>
                  <a:lnTo>
                    <a:pt x="0" y="30398"/>
                  </a:ln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9438B8C9-88AE-C241-AC7A-4929A68157CE}"/>
                </a:ext>
              </a:extLst>
            </p:cNvPr>
            <p:cNvSpPr/>
            <p:nvPr/>
          </p:nvSpPr>
          <p:spPr>
            <a:xfrm>
              <a:off x="4153988" y="2240929"/>
              <a:ext cx="30456" cy="30397"/>
            </a:xfrm>
            <a:custGeom>
              <a:avLst/>
              <a:gdLst>
                <a:gd name="connsiteX0" fmla="*/ 0 w 30456"/>
                <a:gd name="connsiteY0" fmla="*/ 0 h 30397"/>
                <a:gd name="connsiteX1" fmla="*/ 30457 w 30456"/>
                <a:gd name="connsiteY1" fmla="*/ 0 h 30397"/>
                <a:gd name="connsiteX2" fmla="*/ 30457 w 30456"/>
                <a:gd name="connsiteY2" fmla="*/ 30398 h 30397"/>
                <a:gd name="connsiteX3" fmla="*/ 0 w 30456"/>
                <a:gd name="connsiteY3" fmla="*/ 30398 h 30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456" h="30397">
                  <a:moveTo>
                    <a:pt x="0" y="0"/>
                  </a:moveTo>
                  <a:lnTo>
                    <a:pt x="30457" y="0"/>
                  </a:lnTo>
                  <a:lnTo>
                    <a:pt x="30457" y="30398"/>
                  </a:lnTo>
                  <a:lnTo>
                    <a:pt x="0" y="30398"/>
                  </a:ln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0C5EB063-2413-2B43-AF3E-6C1B5867E194}"/>
                </a:ext>
              </a:extLst>
            </p:cNvPr>
            <p:cNvSpPr/>
            <p:nvPr/>
          </p:nvSpPr>
          <p:spPr>
            <a:xfrm>
              <a:off x="4215014" y="2240929"/>
              <a:ext cx="30456" cy="30397"/>
            </a:xfrm>
            <a:custGeom>
              <a:avLst/>
              <a:gdLst>
                <a:gd name="connsiteX0" fmla="*/ 0 w 30456"/>
                <a:gd name="connsiteY0" fmla="*/ 0 h 30397"/>
                <a:gd name="connsiteX1" fmla="*/ 30457 w 30456"/>
                <a:gd name="connsiteY1" fmla="*/ 0 h 30397"/>
                <a:gd name="connsiteX2" fmla="*/ 30457 w 30456"/>
                <a:gd name="connsiteY2" fmla="*/ 30398 h 30397"/>
                <a:gd name="connsiteX3" fmla="*/ 0 w 30456"/>
                <a:gd name="connsiteY3" fmla="*/ 30398 h 30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456" h="30397">
                  <a:moveTo>
                    <a:pt x="0" y="0"/>
                  </a:moveTo>
                  <a:lnTo>
                    <a:pt x="30457" y="0"/>
                  </a:lnTo>
                  <a:lnTo>
                    <a:pt x="30457" y="30398"/>
                  </a:lnTo>
                  <a:lnTo>
                    <a:pt x="0" y="30398"/>
                  </a:ln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EF097C4-BFD9-054D-A75F-1E6BE0D6D423}"/>
                </a:ext>
              </a:extLst>
            </p:cNvPr>
            <p:cNvSpPr/>
            <p:nvPr/>
          </p:nvSpPr>
          <p:spPr>
            <a:xfrm>
              <a:off x="4382493" y="2058316"/>
              <a:ext cx="376362" cy="375768"/>
            </a:xfrm>
            <a:custGeom>
              <a:avLst/>
              <a:gdLst>
                <a:gd name="connsiteX0" fmla="*/ 167884 w 376362"/>
                <a:gd name="connsiteY0" fmla="*/ 0 h 375768"/>
                <a:gd name="connsiteX1" fmla="*/ 0 w 376362"/>
                <a:gd name="connsiteY1" fmla="*/ 166931 h 375768"/>
                <a:gd name="connsiteX2" fmla="*/ 167255 w 376362"/>
                <a:gd name="connsiteY2" fmla="*/ 334490 h 375768"/>
                <a:gd name="connsiteX3" fmla="*/ 274764 w 376362"/>
                <a:gd name="connsiteY3" fmla="*/ 295792 h 375768"/>
                <a:gd name="connsiteX4" fmla="*/ 354896 w 376362"/>
                <a:gd name="connsiteY4" fmla="*/ 375769 h 375768"/>
                <a:gd name="connsiteX5" fmla="*/ 376362 w 376362"/>
                <a:gd name="connsiteY5" fmla="*/ 354344 h 375768"/>
                <a:gd name="connsiteX6" fmla="*/ 296343 w 376362"/>
                <a:gd name="connsiteY6" fmla="*/ 274367 h 375768"/>
                <a:gd name="connsiteX7" fmla="*/ 275697 w 376362"/>
                <a:gd name="connsiteY7" fmla="*/ 39069 h 375768"/>
                <a:gd name="connsiteX8" fmla="*/ 167884 w 376362"/>
                <a:gd name="connsiteY8" fmla="*/ 0 h 375768"/>
                <a:gd name="connsiteX9" fmla="*/ 167884 w 376362"/>
                <a:gd name="connsiteY9" fmla="*/ 303980 h 375768"/>
                <a:gd name="connsiteX10" fmla="*/ 30772 w 376362"/>
                <a:gd name="connsiteY10" fmla="*/ 167133 h 375768"/>
                <a:gd name="connsiteX11" fmla="*/ 167884 w 376362"/>
                <a:gd name="connsiteY11" fmla="*/ 30286 h 375768"/>
                <a:gd name="connsiteX12" fmla="*/ 304996 w 376362"/>
                <a:gd name="connsiteY12" fmla="*/ 167133 h 375768"/>
                <a:gd name="connsiteX13" fmla="*/ 304996 w 376362"/>
                <a:gd name="connsiteY13" fmla="*/ 167245 h 375768"/>
                <a:gd name="connsiteX14" fmla="*/ 167884 w 376362"/>
                <a:gd name="connsiteY14" fmla="*/ 303980 h 375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76362" h="375768">
                  <a:moveTo>
                    <a:pt x="167884" y="0"/>
                  </a:moveTo>
                  <a:cubicBezTo>
                    <a:pt x="75333" y="-179"/>
                    <a:pt x="169" y="74560"/>
                    <a:pt x="0" y="166931"/>
                  </a:cubicBezTo>
                  <a:cubicBezTo>
                    <a:pt x="-180" y="259292"/>
                    <a:pt x="74704" y="334311"/>
                    <a:pt x="167255" y="334490"/>
                  </a:cubicBezTo>
                  <a:cubicBezTo>
                    <a:pt x="206523" y="334569"/>
                    <a:pt x="244577" y="320862"/>
                    <a:pt x="274764" y="295792"/>
                  </a:cubicBezTo>
                  <a:lnTo>
                    <a:pt x="354896" y="375769"/>
                  </a:lnTo>
                  <a:lnTo>
                    <a:pt x="376362" y="354344"/>
                  </a:lnTo>
                  <a:lnTo>
                    <a:pt x="296343" y="274367"/>
                  </a:lnTo>
                  <a:cubicBezTo>
                    <a:pt x="355739" y="203700"/>
                    <a:pt x="346501" y="98351"/>
                    <a:pt x="275697" y="39069"/>
                  </a:cubicBezTo>
                  <a:cubicBezTo>
                    <a:pt x="245487" y="13775"/>
                    <a:pt x="207310" y="-56"/>
                    <a:pt x="167884" y="0"/>
                  </a:cubicBezTo>
                  <a:close/>
                  <a:moveTo>
                    <a:pt x="167884" y="303980"/>
                  </a:moveTo>
                  <a:cubicBezTo>
                    <a:pt x="92158" y="303980"/>
                    <a:pt x="30772" y="242713"/>
                    <a:pt x="30772" y="167133"/>
                  </a:cubicBezTo>
                  <a:cubicBezTo>
                    <a:pt x="30772" y="91553"/>
                    <a:pt x="92158" y="30286"/>
                    <a:pt x="167884" y="30286"/>
                  </a:cubicBezTo>
                  <a:cubicBezTo>
                    <a:pt x="243610" y="30286"/>
                    <a:pt x="304996" y="91553"/>
                    <a:pt x="304996" y="167133"/>
                  </a:cubicBezTo>
                  <a:cubicBezTo>
                    <a:pt x="304996" y="167167"/>
                    <a:pt x="304996" y="167212"/>
                    <a:pt x="304996" y="167245"/>
                  </a:cubicBezTo>
                  <a:cubicBezTo>
                    <a:pt x="304873" y="242758"/>
                    <a:pt x="243543" y="303913"/>
                    <a:pt x="167884" y="303980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BABBF80F-78D7-3A42-92ED-9BB5AAC5CD58}"/>
                </a:ext>
              </a:extLst>
            </p:cNvPr>
            <p:cNvSpPr/>
            <p:nvPr/>
          </p:nvSpPr>
          <p:spPr>
            <a:xfrm>
              <a:off x="4458669" y="2164878"/>
              <a:ext cx="30456" cy="121591"/>
            </a:xfrm>
            <a:custGeom>
              <a:avLst/>
              <a:gdLst>
                <a:gd name="connsiteX0" fmla="*/ 0 w 30456"/>
                <a:gd name="connsiteY0" fmla="*/ 0 h 121591"/>
                <a:gd name="connsiteX1" fmla="*/ 30457 w 30456"/>
                <a:gd name="connsiteY1" fmla="*/ 0 h 121591"/>
                <a:gd name="connsiteX2" fmla="*/ 30457 w 30456"/>
                <a:gd name="connsiteY2" fmla="*/ 121592 h 121591"/>
                <a:gd name="connsiteX3" fmla="*/ 0 w 30456"/>
                <a:gd name="connsiteY3" fmla="*/ 121592 h 121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456" h="121591">
                  <a:moveTo>
                    <a:pt x="0" y="0"/>
                  </a:moveTo>
                  <a:lnTo>
                    <a:pt x="30457" y="0"/>
                  </a:lnTo>
                  <a:lnTo>
                    <a:pt x="30457" y="121592"/>
                  </a:lnTo>
                  <a:lnTo>
                    <a:pt x="0" y="121592"/>
                  </a:ln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6B68799A-FB5A-B340-BA8E-DF3BF0D91FFE}"/>
                </a:ext>
              </a:extLst>
            </p:cNvPr>
            <p:cNvSpPr/>
            <p:nvPr/>
          </p:nvSpPr>
          <p:spPr>
            <a:xfrm>
              <a:off x="4504411" y="2164878"/>
              <a:ext cx="30456" cy="121591"/>
            </a:xfrm>
            <a:custGeom>
              <a:avLst/>
              <a:gdLst>
                <a:gd name="connsiteX0" fmla="*/ 0 w 30456"/>
                <a:gd name="connsiteY0" fmla="*/ 0 h 121591"/>
                <a:gd name="connsiteX1" fmla="*/ 30457 w 30456"/>
                <a:gd name="connsiteY1" fmla="*/ 0 h 121591"/>
                <a:gd name="connsiteX2" fmla="*/ 30457 w 30456"/>
                <a:gd name="connsiteY2" fmla="*/ 121592 h 121591"/>
                <a:gd name="connsiteX3" fmla="*/ 0 w 30456"/>
                <a:gd name="connsiteY3" fmla="*/ 121592 h 121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456" h="121591">
                  <a:moveTo>
                    <a:pt x="0" y="0"/>
                  </a:moveTo>
                  <a:lnTo>
                    <a:pt x="30457" y="0"/>
                  </a:lnTo>
                  <a:lnTo>
                    <a:pt x="30457" y="121592"/>
                  </a:lnTo>
                  <a:lnTo>
                    <a:pt x="0" y="121592"/>
                  </a:ln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8762E3C4-50F5-484C-AA17-DB420F85149F}"/>
                </a:ext>
              </a:extLst>
            </p:cNvPr>
            <p:cNvSpPr/>
            <p:nvPr/>
          </p:nvSpPr>
          <p:spPr>
            <a:xfrm>
              <a:off x="4565325" y="2164878"/>
              <a:ext cx="30456" cy="121591"/>
            </a:xfrm>
            <a:custGeom>
              <a:avLst/>
              <a:gdLst>
                <a:gd name="connsiteX0" fmla="*/ 0 w 30456"/>
                <a:gd name="connsiteY0" fmla="*/ 0 h 121591"/>
                <a:gd name="connsiteX1" fmla="*/ 30457 w 30456"/>
                <a:gd name="connsiteY1" fmla="*/ 0 h 121591"/>
                <a:gd name="connsiteX2" fmla="*/ 30457 w 30456"/>
                <a:gd name="connsiteY2" fmla="*/ 121592 h 121591"/>
                <a:gd name="connsiteX3" fmla="*/ 0 w 30456"/>
                <a:gd name="connsiteY3" fmla="*/ 121592 h 121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456" h="121591">
                  <a:moveTo>
                    <a:pt x="0" y="0"/>
                  </a:moveTo>
                  <a:lnTo>
                    <a:pt x="30457" y="0"/>
                  </a:lnTo>
                  <a:lnTo>
                    <a:pt x="30457" y="121592"/>
                  </a:lnTo>
                  <a:lnTo>
                    <a:pt x="0" y="121592"/>
                  </a:ln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39B6D6D4-8F2E-E54C-9566-F3E8D66A65D9}"/>
                </a:ext>
              </a:extLst>
            </p:cNvPr>
            <p:cNvSpPr/>
            <p:nvPr/>
          </p:nvSpPr>
          <p:spPr>
            <a:xfrm>
              <a:off x="4611066" y="2164878"/>
              <a:ext cx="30456" cy="121591"/>
            </a:xfrm>
            <a:custGeom>
              <a:avLst/>
              <a:gdLst>
                <a:gd name="connsiteX0" fmla="*/ 0 w 30456"/>
                <a:gd name="connsiteY0" fmla="*/ 0 h 121591"/>
                <a:gd name="connsiteX1" fmla="*/ 30457 w 30456"/>
                <a:gd name="connsiteY1" fmla="*/ 0 h 121591"/>
                <a:gd name="connsiteX2" fmla="*/ 30457 w 30456"/>
                <a:gd name="connsiteY2" fmla="*/ 121592 h 121591"/>
                <a:gd name="connsiteX3" fmla="*/ 0 w 30456"/>
                <a:gd name="connsiteY3" fmla="*/ 121592 h 121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456" h="121591">
                  <a:moveTo>
                    <a:pt x="0" y="0"/>
                  </a:moveTo>
                  <a:lnTo>
                    <a:pt x="30457" y="0"/>
                  </a:lnTo>
                  <a:lnTo>
                    <a:pt x="30457" y="121592"/>
                  </a:lnTo>
                  <a:lnTo>
                    <a:pt x="0" y="121592"/>
                  </a:ln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8436D3BF-E64F-2943-9ABE-9A0FD99B9280}"/>
                </a:ext>
              </a:extLst>
            </p:cNvPr>
            <p:cNvSpPr/>
            <p:nvPr/>
          </p:nvSpPr>
          <p:spPr>
            <a:xfrm>
              <a:off x="5278284" y="2489721"/>
              <a:ext cx="485640" cy="568478"/>
            </a:xfrm>
            <a:custGeom>
              <a:avLst/>
              <a:gdLst>
                <a:gd name="connsiteX0" fmla="*/ 48463 w 485640"/>
                <a:gd name="connsiteY0" fmla="*/ 290071 h 568478"/>
                <a:gd name="connsiteX1" fmla="*/ 3508 w 485640"/>
                <a:gd name="connsiteY1" fmla="*/ 412560 h 568478"/>
                <a:gd name="connsiteX2" fmla="*/ 37999 w 485640"/>
                <a:gd name="connsiteY2" fmla="*/ 486480 h 568478"/>
                <a:gd name="connsiteX3" fmla="*/ 38011 w 485640"/>
                <a:gd name="connsiteY3" fmla="*/ 486480 h 568478"/>
                <a:gd name="connsiteX4" fmla="*/ 255030 w 485640"/>
                <a:gd name="connsiteY4" fmla="*/ 564999 h 568478"/>
                <a:gd name="connsiteX5" fmla="*/ 299198 w 485640"/>
                <a:gd name="connsiteY5" fmla="*/ 562980 h 568478"/>
                <a:gd name="connsiteX6" fmla="*/ 329093 w 485640"/>
                <a:gd name="connsiteY6" fmla="*/ 530563 h 568478"/>
                <a:gd name="connsiteX7" fmla="*/ 482164 w 485640"/>
                <a:gd name="connsiteY7" fmla="*/ 110824 h 568478"/>
                <a:gd name="connsiteX8" fmla="*/ 447662 w 485640"/>
                <a:gd name="connsiteY8" fmla="*/ 36904 h 568478"/>
                <a:gd name="connsiteX9" fmla="*/ 346513 w 485640"/>
                <a:gd name="connsiteY9" fmla="*/ 0 h 568478"/>
                <a:gd name="connsiteX10" fmla="*/ 336623 w 485640"/>
                <a:gd name="connsiteY10" fmla="*/ 27145 h 568478"/>
                <a:gd name="connsiteX11" fmla="*/ 437772 w 485640"/>
                <a:gd name="connsiteY11" fmla="*/ 64049 h 568478"/>
                <a:gd name="connsiteX12" fmla="*/ 455012 w 485640"/>
                <a:gd name="connsiteY12" fmla="*/ 100829 h 568478"/>
                <a:gd name="connsiteX13" fmla="*/ 454967 w 485640"/>
                <a:gd name="connsiteY13" fmla="*/ 100953 h 568478"/>
                <a:gd name="connsiteX14" fmla="*/ 449797 w 485640"/>
                <a:gd name="connsiteY14" fmla="*/ 115086 h 568478"/>
                <a:gd name="connsiteX15" fmla="*/ 358651 w 485640"/>
                <a:gd name="connsiteY15" fmla="*/ 81996 h 568478"/>
                <a:gd name="connsiteX16" fmla="*/ 349211 w 485640"/>
                <a:gd name="connsiteY16" fmla="*/ 109478 h 568478"/>
                <a:gd name="connsiteX17" fmla="*/ 440469 w 485640"/>
                <a:gd name="connsiteY17" fmla="*/ 143128 h 568478"/>
                <a:gd name="connsiteX18" fmla="*/ 326733 w 485640"/>
                <a:gd name="connsiteY18" fmla="*/ 453390 h 568478"/>
                <a:gd name="connsiteX19" fmla="*/ 55431 w 485640"/>
                <a:gd name="connsiteY19" fmla="*/ 354905 h 568478"/>
                <a:gd name="connsiteX20" fmla="*/ 75436 w 485640"/>
                <a:gd name="connsiteY20" fmla="*/ 300054 h 568478"/>
                <a:gd name="connsiteX21" fmla="*/ 317068 w 485640"/>
                <a:gd name="connsiteY21" fmla="*/ 480759 h 568478"/>
                <a:gd name="connsiteX22" fmla="*/ 302233 w 485640"/>
                <a:gd name="connsiteY22" fmla="*/ 521365 h 568478"/>
                <a:gd name="connsiteX23" fmla="*/ 265257 w 485640"/>
                <a:gd name="connsiteY23" fmla="*/ 538639 h 568478"/>
                <a:gd name="connsiteX24" fmla="*/ 48238 w 485640"/>
                <a:gd name="connsiteY24" fmla="*/ 460120 h 568478"/>
                <a:gd name="connsiteX25" fmla="*/ 30930 w 485640"/>
                <a:gd name="connsiteY25" fmla="*/ 423104 h 568478"/>
                <a:gd name="connsiteX26" fmla="*/ 45765 w 485640"/>
                <a:gd name="connsiteY26" fmla="*/ 382499 h 568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85640" h="568478">
                  <a:moveTo>
                    <a:pt x="48463" y="290071"/>
                  </a:moveTo>
                  <a:lnTo>
                    <a:pt x="3508" y="412560"/>
                  </a:lnTo>
                  <a:cubicBezTo>
                    <a:pt x="-7416" y="442476"/>
                    <a:pt x="8026" y="475566"/>
                    <a:pt x="37999" y="486480"/>
                  </a:cubicBezTo>
                  <a:cubicBezTo>
                    <a:pt x="37999" y="486480"/>
                    <a:pt x="38011" y="486480"/>
                    <a:pt x="38011" y="486480"/>
                  </a:cubicBezTo>
                  <a:lnTo>
                    <a:pt x="255030" y="564999"/>
                  </a:lnTo>
                  <a:cubicBezTo>
                    <a:pt x="269427" y="570260"/>
                    <a:pt x="285341" y="569530"/>
                    <a:pt x="299198" y="562980"/>
                  </a:cubicBezTo>
                  <a:cubicBezTo>
                    <a:pt x="313100" y="556586"/>
                    <a:pt x="323867" y="544920"/>
                    <a:pt x="329093" y="530563"/>
                  </a:cubicBezTo>
                  <a:lnTo>
                    <a:pt x="482164" y="110824"/>
                  </a:lnTo>
                  <a:cubicBezTo>
                    <a:pt x="493021" y="80908"/>
                    <a:pt x="477602" y="47852"/>
                    <a:pt x="447662" y="36904"/>
                  </a:cubicBezTo>
                  <a:lnTo>
                    <a:pt x="346513" y="0"/>
                  </a:lnTo>
                  <a:lnTo>
                    <a:pt x="336623" y="27145"/>
                  </a:lnTo>
                  <a:lnTo>
                    <a:pt x="437772" y="64049"/>
                  </a:lnTo>
                  <a:cubicBezTo>
                    <a:pt x="452708" y="69455"/>
                    <a:pt x="460429" y="85922"/>
                    <a:pt x="455012" y="100829"/>
                  </a:cubicBezTo>
                  <a:cubicBezTo>
                    <a:pt x="455000" y="100874"/>
                    <a:pt x="454978" y="100908"/>
                    <a:pt x="454967" y="100953"/>
                  </a:cubicBezTo>
                  <a:lnTo>
                    <a:pt x="449797" y="115086"/>
                  </a:lnTo>
                  <a:lnTo>
                    <a:pt x="358651" y="81996"/>
                  </a:lnTo>
                  <a:lnTo>
                    <a:pt x="349211" y="109478"/>
                  </a:lnTo>
                  <a:lnTo>
                    <a:pt x="440469" y="143128"/>
                  </a:lnTo>
                  <a:lnTo>
                    <a:pt x="326733" y="453390"/>
                  </a:lnTo>
                  <a:lnTo>
                    <a:pt x="55431" y="354905"/>
                  </a:lnTo>
                  <a:lnTo>
                    <a:pt x="75436" y="300054"/>
                  </a:lnTo>
                  <a:close/>
                  <a:moveTo>
                    <a:pt x="317068" y="480759"/>
                  </a:moveTo>
                  <a:lnTo>
                    <a:pt x="302233" y="521365"/>
                  </a:lnTo>
                  <a:cubicBezTo>
                    <a:pt x="296748" y="536272"/>
                    <a:pt x="280239" y="543989"/>
                    <a:pt x="265257" y="538639"/>
                  </a:cubicBezTo>
                  <a:lnTo>
                    <a:pt x="48238" y="460120"/>
                  </a:lnTo>
                  <a:cubicBezTo>
                    <a:pt x="33234" y="454646"/>
                    <a:pt x="25502" y="438090"/>
                    <a:pt x="30930" y="423104"/>
                  </a:cubicBezTo>
                  <a:lnTo>
                    <a:pt x="45765" y="382499"/>
                  </a:ln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6FF987BD-58A0-C541-900B-5475CD798008}"/>
                </a:ext>
              </a:extLst>
            </p:cNvPr>
            <p:cNvSpPr/>
            <p:nvPr/>
          </p:nvSpPr>
          <p:spPr>
            <a:xfrm>
              <a:off x="5417634" y="2924362"/>
              <a:ext cx="64161" cy="46808"/>
            </a:xfrm>
            <a:custGeom>
              <a:avLst/>
              <a:gdLst>
                <a:gd name="connsiteX0" fmla="*/ 0 w 64161"/>
                <a:gd name="connsiteY0" fmla="*/ 27089 h 46808"/>
                <a:gd name="connsiteX1" fmla="*/ 9879 w 64161"/>
                <a:gd name="connsiteY1" fmla="*/ 0 h 46808"/>
                <a:gd name="connsiteX2" fmla="*/ 64162 w 64161"/>
                <a:gd name="connsiteY2" fmla="*/ 19719 h 46808"/>
                <a:gd name="connsiteX3" fmla="*/ 54283 w 64161"/>
                <a:gd name="connsiteY3" fmla="*/ 46808 h 46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161" h="46808">
                  <a:moveTo>
                    <a:pt x="0" y="27089"/>
                  </a:moveTo>
                  <a:lnTo>
                    <a:pt x="9879" y="0"/>
                  </a:lnTo>
                  <a:lnTo>
                    <a:pt x="64162" y="19719"/>
                  </a:lnTo>
                  <a:lnTo>
                    <a:pt x="54283" y="46808"/>
                  </a:ln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90BD8353-08BD-2141-892A-404AB59ACBB9}"/>
                </a:ext>
              </a:extLst>
            </p:cNvPr>
            <p:cNvSpPr/>
            <p:nvPr/>
          </p:nvSpPr>
          <p:spPr>
            <a:xfrm>
              <a:off x="5107368" y="2367568"/>
              <a:ext cx="497874" cy="462597"/>
            </a:xfrm>
            <a:custGeom>
              <a:avLst/>
              <a:gdLst>
                <a:gd name="connsiteX0" fmla="*/ 249162 w 497874"/>
                <a:gd name="connsiteY0" fmla="*/ 392033 h 462597"/>
                <a:gd name="connsiteX1" fmla="*/ 286700 w 497874"/>
                <a:gd name="connsiteY1" fmla="*/ 389565 h 462597"/>
                <a:gd name="connsiteX2" fmla="*/ 391894 w 497874"/>
                <a:gd name="connsiteY2" fmla="*/ 456867 h 462597"/>
                <a:gd name="connsiteX3" fmla="*/ 411112 w 497874"/>
                <a:gd name="connsiteY3" fmla="*/ 462588 h 462597"/>
                <a:gd name="connsiteX4" fmla="*/ 424711 w 497874"/>
                <a:gd name="connsiteY4" fmla="*/ 457092 h 462597"/>
                <a:gd name="connsiteX5" fmla="*/ 424037 w 497874"/>
                <a:gd name="connsiteY5" fmla="*/ 423441 h 462597"/>
                <a:gd name="connsiteX6" fmla="*/ 401559 w 497874"/>
                <a:gd name="connsiteY6" fmla="*/ 351203 h 462597"/>
                <a:gd name="connsiteX7" fmla="*/ 497875 w 497874"/>
                <a:gd name="connsiteY7" fmla="*/ 196297 h 462597"/>
                <a:gd name="connsiteX8" fmla="*/ 248937 w 497874"/>
                <a:gd name="connsiteY8" fmla="*/ 0 h 462597"/>
                <a:gd name="connsiteX9" fmla="*/ 0 w 497874"/>
                <a:gd name="connsiteY9" fmla="*/ 196297 h 462597"/>
                <a:gd name="connsiteX10" fmla="*/ 249162 w 497874"/>
                <a:gd name="connsiteY10" fmla="*/ 392033 h 462597"/>
                <a:gd name="connsiteX11" fmla="*/ 249162 w 497874"/>
                <a:gd name="connsiteY11" fmla="*/ 28267 h 462597"/>
                <a:gd name="connsiteX12" fmla="*/ 469216 w 497874"/>
                <a:gd name="connsiteY12" fmla="*/ 195736 h 462597"/>
                <a:gd name="connsiteX13" fmla="*/ 379306 w 497874"/>
                <a:gd name="connsiteY13" fmla="*/ 330340 h 462597"/>
                <a:gd name="connsiteX14" fmla="*/ 371327 w 497874"/>
                <a:gd name="connsiteY14" fmla="*/ 334827 h 462597"/>
                <a:gd name="connsiteX15" fmla="*/ 372001 w 497874"/>
                <a:gd name="connsiteY15" fmla="*/ 344024 h 462597"/>
                <a:gd name="connsiteX16" fmla="*/ 392456 w 497874"/>
                <a:gd name="connsiteY16" fmla="*/ 424114 h 462597"/>
                <a:gd name="connsiteX17" fmla="*/ 300186 w 497874"/>
                <a:gd name="connsiteY17" fmla="*/ 363430 h 462597"/>
                <a:gd name="connsiteX18" fmla="*/ 295241 w 497874"/>
                <a:gd name="connsiteY18" fmla="*/ 359392 h 462597"/>
                <a:gd name="connsiteX19" fmla="*/ 288947 w 497874"/>
                <a:gd name="connsiteY19" fmla="*/ 360289 h 462597"/>
                <a:gd name="connsiteX20" fmla="*/ 249050 w 497874"/>
                <a:gd name="connsiteY20" fmla="*/ 363206 h 462597"/>
                <a:gd name="connsiteX21" fmla="*/ 28996 w 497874"/>
                <a:gd name="connsiteY21" fmla="*/ 195736 h 462597"/>
                <a:gd name="connsiteX22" fmla="*/ 249162 w 497874"/>
                <a:gd name="connsiteY22" fmla="*/ 28267 h 462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97874" h="462597">
                  <a:moveTo>
                    <a:pt x="249162" y="392033"/>
                  </a:moveTo>
                  <a:cubicBezTo>
                    <a:pt x="261716" y="392022"/>
                    <a:pt x="274258" y="391192"/>
                    <a:pt x="286700" y="389565"/>
                  </a:cubicBezTo>
                  <a:cubicBezTo>
                    <a:pt x="319404" y="415488"/>
                    <a:pt x="354649" y="438034"/>
                    <a:pt x="391894" y="456867"/>
                  </a:cubicBezTo>
                  <a:cubicBezTo>
                    <a:pt x="397749" y="460266"/>
                    <a:pt x="404346" y="462229"/>
                    <a:pt x="411112" y="462588"/>
                  </a:cubicBezTo>
                  <a:cubicBezTo>
                    <a:pt x="416214" y="462756"/>
                    <a:pt x="421159" y="460759"/>
                    <a:pt x="424711" y="457092"/>
                  </a:cubicBezTo>
                  <a:cubicBezTo>
                    <a:pt x="435950" y="445875"/>
                    <a:pt x="426958" y="428937"/>
                    <a:pt x="424037" y="423441"/>
                  </a:cubicBezTo>
                  <a:cubicBezTo>
                    <a:pt x="412179" y="400939"/>
                    <a:pt x="404560" y="376453"/>
                    <a:pt x="401559" y="351203"/>
                  </a:cubicBezTo>
                  <a:cubicBezTo>
                    <a:pt x="462023" y="314075"/>
                    <a:pt x="497875" y="256756"/>
                    <a:pt x="497875" y="196297"/>
                  </a:cubicBezTo>
                  <a:cubicBezTo>
                    <a:pt x="497875" y="88053"/>
                    <a:pt x="386162" y="0"/>
                    <a:pt x="248937" y="0"/>
                  </a:cubicBezTo>
                  <a:cubicBezTo>
                    <a:pt x="111713" y="0"/>
                    <a:pt x="0" y="88053"/>
                    <a:pt x="0" y="196297"/>
                  </a:cubicBezTo>
                  <a:cubicBezTo>
                    <a:pt x="0" y="304541"/>
                    <a:pt x="111937" y="392033"/>
                    <a:pt x="249162" y="392033"/>
                  </a:cubicBezTo>
                  <a:close/>
                  <a:moveTo>
                    <a:pt x="249162" y="28267"/>
                  </a:moveTo>
                  <a:cubicBezTo>
                    <a:pt x="370540" y="28267"/>
                    <a:pt x="469216" y="103420"/>
                    <a:pt x="469216" y="195736"/>
                  </a:cubicBezTo>
                  <a:cubicBezTo>
                    <a:pt x="469216" y="248344"/>
                    <a:pt x="435500" y="298708"/>
                    <a:pt x="379306" y="330340"/>
                  </a:cubicBezTo>
                  <a:lnTo>
                    <a:pt x="371327" y="334827"/>
                  </a:lnTo>
                  <a:lnTo>
                    <a:pt x="372001" y="344024"/>
                  </a:lnTo>
                  <a:cubicBezTo>
                    <a:pt x="374035" y="371719"/>
                    <a:pt x="380959" y="398831"/>
                    <a:pt x="392456" y="424114"/>
                  </a:cubicBezTo>
                  <a:cubicBezTo>
                    <a:pt x="359785" y="406941"/>
                    <a:pt x="328890" y="386615"/>
                    <a:pt x="300186" y="363430"/>
                  </a:cubicBezTo>
                  <a:lnTo>
                    <a:pt x="295241" y="359392"/>
                  </a:lnTo>
                  <a:lnTo>
                    <a:pt x="288947" y="360289"/>
                  </a:lnTo>
                  <a:cubicBezTo>
                    <a:pt x="275730" y="362162"/>
                    <a:pt x="262401" y="363138"/>
                    <a:pt x="249050" y="363206"/>
                  </a:cubicBezTo>
                  <a:cubicBezTo>
                    <a:pt x="127672" y="363206"/>
                    <a:pt x="28996" y="288052"/>
                    <a:pt x="28996" y="195736"/>
                  </a:cubicBezTo>
                  <a:cubicBezTo>
                    <a:pt x="28996" y="103420"/>
                    <a:pt x="127784" y="28267"/>
                    <a:pt x="249162" y="28267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B8DC4734-B3B0-9949-AC1E-5C59530228F7}"/>
                </a:ext>
              </a:extLst>
            </p:cNvPr>
            <p:cNvSpPr/>
            <p:nvPr/>
          </p:nvSpPr>
          <p:spPr>
            <a:xfrm>
              <a:off x="5215596" y="2453490"/>
              <a:ext cx="289059" cy="216150"/>
            </a:xfrm>
            <a:custGeom>
              <a:avLst/>
              <a:gdLst>
                <a:gd name="connsiteX0" fmla="*/ 43381 w 289059"/>
                <a:gd name="connsiteY0" fmla="*/ 216151 h 216150"/>
                <a:gd name="connsiteX1" fmla="*/ 245678 w 289059"/>
                <a:gd name="connsiteY1" fmla="*/ 216151 h 216150"/>
                <a:gd name="connsiteX2" fmla="*/ 289060 w 289059"/>
                <a:gd name="connsiteY2" fmla="*/ 172854 h 216150"/>
                <a:gd name="connsiteX3" fmla="*/ 289060 w 289059"/>
                <a:gd name="connsiteY3" fmla="*/ 43185 h 216150"/>
                <a:gd name="connsiteX4" fmla="*/ 245678 w 289059"/>
                <a:gd name="connsiteY4" fmla="*/ 0 h 216150"/>
                <a:gd name="connsiteX5" fmla="*/ 43381 w 289059"/>
                <a:gd name="connsiteY5" fmla="*/ 0 h 216150"/>
                <a:gd name="connsiteX6" fmla="*/ 0 w 289059"/>
                <a:gd name="connsiteY6" fmla="*/ 43185 h 216150"/>
                <a:gd name="connsiteX7" fmla="*/ 0 w 289059"/>
                <a:gd name="connsiteY7" fmla="*/ 172854 h 216150"/>
                <a:gd name="connsiteX8" fmla="*/ 43381 w 289059"/>
                <a:gd name="connsiteY8" fmla="*/ 216151 h 216150"/>
                <a:gd name="connsiteX9" fmla="*/ 43381 w 289059"/>
                <a:gd name="connsiteY9" fmla="*/ 28828 h 216150"/>
                <a:gd name="connsiteX10" fmla="*/ 245678 w 289059"/>
                <a:gd name="connsiteY10" fmla="*/ 28828 h 216150"/>
                <a:gd name="connsiteX11" fmla="*/ 258827 w 289059"/>
                <a:gd name="connsiteY11" fmla="*/ 37240 h 216150"/>
                <a:gd name="connsiteX12" fmla="*/ 151610 w 289059"/>
                <a:gd name="connsiteY12" fmla="*/ 108692 h 216150"/>
                <a:gd name="connsiteX13" fmla="*/ 130706 w 289059"/>
                <a:gd name="connsiteY13" fmla="*/ 108692 h 216150"/>
                <a:gd name="connsiteX14" fmla="*/ 29558 w 289059"/>
                <a:gd name="connsiteY14" fmla="*/ 41391 h 216150"/>
                <a:gd name="connsiteX15" fmla="*/ 43381 w 289059"/>
                <a:gd name="connsiteY15" fmla="*/ 28828 h 216150"/>
                <a:gd name="connsiteX16" fmla="*/ 28884 w 289059"/>
                <a:gd name="connsiteY16" fmla="*/ 75602 h 216150"/>
                <a:gd name="connsiteX17" fmla="*/ 114410 w 289059"/>
                <a:gd name="connsiteY17" fmla="*/ 132584 h 216150"/>
                <a:gd name="connsiteX18" fmla="*/ 167457 w 289059"/>
                <a:gd name="connsiteY18" fmla="*/ 132584 h 216150"/>
                <a:gd name="connsiteX19" fmla="*/ 259951 w 289059"/>
                <a:gd name="connsiteY19" fmla="*/ 70891 h 216150"/>
                <a:gd name="connsiteX20" fmla="*/ 259951 w 289059"/>
                <a:gd name="connsiteY20" fmla="*/ 172854 h 216150"/>
                <a:gd name="connsiteX21" fmla="*/ 245453 w 289059"/>
                <a:gd name="connsiteY21" fmla="*/ 187323 h 216150"/>
                <a:gd name="connsiteX22" fmla="*/ 43157 w 289059"/>
                <a:gd name="connsiteY22" fmla="*/ 187323 h 216150"/>
                <a:gd name="connsiteX23" fmla="*/ 28659 w 289059"/>
                <a:gd name="connsiteY23" fmla="*/ 172854 h 216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89059" h="216150">
                  <a:moveTo>
                    <a:pt x="43381" y="216151"/>
                  </a:moveTo>
                  <a:lnTo>
                    <a:pt x="245678" y="216151"/>
                  </a:lnTo>
                  <a:cubicBezTo>
                    <a:pt x="269639" y="216151"/>
                    <a:pt x="289060" y="196768"/>
                    <a:pt x="289060" y="172854"/>
                  </a:cubicBezTo>
                  <a:lnTo>
                    <a:pt x="289060" y="43185"/>
                  </a:lnTo>
                  <a:cubicBezTo>
                    <a:pt x="288992" y="19316"/>
                    <a:pt x="269594" y="0"/>
                    <a:pt x="245678" y="0"/>
                  </a:cubicBezTo>
                  <a:lnTo>
                    <a:pt x="43381" y="0"/>
                  </a:lnTo>
                  <a:cubicBezTo>
                    <a:pt x="19465" y="0"/>
                    <a:pt x="56" y="19316"/>
                    <a:pt x="0" y="43185"/>
                  </a:cubicBezTo>
                  <a:lnTo>
                    <a:pt x="0" y="172854"/>
                  </a:lnTo>
                  <a:cubicBezTo>
                    <a:pt x="0" y="196768"/>
                    <a:pt x="19420" y="216151"/>
                    <a:pt x="43381" y="216151"/>
                  </a:cubicBezTo>
                  <a:close/>
                  <a:moveTo>
                    <a:pt x="43381" y="28828"/>
                  </a:moveTo>
                  <a:lnTo>
                    <a:pt x="245678" y="28828"/>
                  </a:lnTo>
                  <a:cubicBezTo>
                    <a:pt x="251342" y="28805"/>
                    <a:pt x="256478" y="32103"/>
                    <a:pt x="258827" y="37240"/>
                  </a:cubicBezTo>
                  <a:lnTo>
                    <a:pt x="151610" y="108692"/>
                  </a:lnTo>
                  <a:cubicBezTo>
                    <a:pt x="145193" y="112618"/>
                    <a:pt x="137123" y="112618"/>
                    <a:pt x="130706" y="108692"/>
                  </a:cubicBezTo>
                  <a:lnTo>
                    <a:pt x="29558" y="41391"/>
                  </a:lnTo>
                  <a:cubicBezTo>
                    <a:pt x="30389" y="34358"/>
                    <a:pt x="36290" y="28996"/>
                    <a:pt x="43381" y="28828"/>
                  </a:cubicBezTo>
                  <a:close/>
                  <a:moveTo>
                    <a:pt x="28884" y="75602"/>
                  </a:moveTo>
                  <a:lnTo>
                    <a:pt x="114410" y="132584"/>
                  </a:lnTo>
                  <a:cubicBezTo>
                    <a:pt x="130537" y="143050"/>
                    <a:pt x="151329" y="143050"/>
                    <a:pt x="167457" y="132584"/>
                  </a:cubicBezTo>
                  <a:lnTo>
                    <a:pt x="259951" y="70891"/>
                  </a:lnTo>
                  <a:lnTo>
                    <a:pt x="259951" y="172854"/>
                  </a:lnTo>
                  <a:cubicBezTo>
                    <a:pt x="259951" y="180840"/>
                    <a:pt x="253455" y="187323"/>
                    <a:pt x="245453" y="187323"/>
                  </a:cubicBezTo>
                  <a:lnTo>
                    <a:pt x="43157" y="187323"/>
                  </a:lnTo>
                  <a:cubicBezTo>
                    <a:pt x="35155" y="187323"/>
                    <a:pt x="28659" y="180840"/>
                    <a:pt x="28659" y="172854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6FC96A07-780C-EE45-AEDE-F808218A7CF5}"/>
                </a:ext>
              </a:extLst>
            </p:cNvPr>
            <p:cNvSpPr/>
            <p:nvPr/>
          </p:nvSpPr>
          <p:spPr>
            <a:xfrm>
              <a:off x="5084665" y="5764964"/>
              <a:ext cx="178021" cy="158495"/>
            </a:xfrm>
            <a:custGeom>
              <a:avLst/>
              <a:gdLst>
                <a:gd name="connsiteX0" fmla="*/ 178021 w 178021"/>
                <a:gd name="connsiteY0" fmla="*/ 22434 h 158495"/>
                <a:gd name="connsiteX1" fmla="*/ 170828 w 178021"/>
                <a:gd name="connsiteY1" fmla="*/ 0 h 158495"/>
                <a:gd name="connsiteX2" fmla="*/ 0 w 178021"/>
                <a:gd name="connsiteY2" fmla="*/ 148064 h 158495"/>
                <a:gd name="connsiteX3" fmla="*/ 21466 w 178021"/>
                <a:gd name="connsiteY3" fmla="*/ 158496 h 158495"/>
                <a:gd name="connsiteX4" fmla="*/ 178021 w 178021"/>
                <a:gd name="connsiteY4" fmla="*/ 22434 h 158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8021" h="158495">
                  <a:moveTo>
                    <a:pt x="178021" y="22434"/>
                  </a:moveTo>
                  <a:lnTo>
                    <a:pt x="170828" y="0"/>
                  </a:lnTo>
                  <a:cubicBezTo>
                    <a:pt x="96012" y="23993"/>
                    <a:pt x="34278" y="77487"/>
                    <a:pt x="0" y="148064"/>
                  </a:cubicBezTo>
                  <a:lnTo>
                    <a:pt x="21466" y="158496"/>
                  </a:lnTo>
                  <a:cubicBezTo>
                    <a:pt x="52822" y="93695"/>
                    <a:pt x="109397" y="44520"/>
                    <a:pt x="178021" y="22434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 42">
              <a:extLst>
                <a:ext uri="{FF2B5EF4-FFF2-40B4-BE49-F238E27FC236}">
                  <a16:creationId xmlns:a16="http://schemas.microsoft.com/office/drawing/2014/main" id="{DFBF46E3-2142-9E4C-ADD7-9BBBC5F73EC6}"/>
                </a:ext>
              </a:extLst>
            </p:cNvPr>
            <p:cNvSpPr/>
            <p:nvPr/>
          </p:nvSpPr>
          <p:spPr>
            <a:xfrm>
              <a:off x="5056231" y="6037088"/>
              <a:ext cx="206456" cy="272459"/>
            </a:xfrm>
            <a:custGeom>
              <a:avLst/>
              <a:gdLst>
                <a:gd name="connsiteX0" fmla="*/ 1 w 206456"/>
                <a:gd name="connsiteY0" fmla="*/ 0 h 272459"/>
                <a:gd name="connsiteX1" fmla="*/ 199263 w 206456"/>
                <a:gd name="connsiteY1" fmla="*/ 272460 h 272459"/>
                <a:gd name="connsiteX2" fmla="*/ 206456 w 206456"/>
                <a:gd name="connsiteY2" fmla="*/ 250026 h 272459"/>
                <a:gd name="connsiteX3" fmla="*/ 23827 w 206456"/>
                <a:gd name="connsiteY3" fmla="*/ 224 h 272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6456" h="272459">
                  <a:moveTo>
                    <a:pt x="1" y="0"/>
                  </a:moveTo>
                  <a:cubicBezTo>
                    <a:pt x="-336" y="124508"/>
                    <a:pt x="80346" y="234827"/>
                    <a:pt x="199263" y="272460"/>
                  </a:cubicBezTo>
                  <a:lnTo>
                    <a:pt x="206456" y="250026"/>
                  </a:lnTo>
                  <a:cubicBezTo>
                    <a:pt x="97440" y="215523"/>
                    <a:pt x="23490" y="114368"/>
                    <a:pt x="23827" y="224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 43">
              <a:extLst>
                <a:ext uri="{FF2B5EF4-FFF2-40B4-BE49-F238E27FC236}">
                  <a16:creationId xmlns:a16="http://schemas.microsoft.com/office/drawing/2014/main" id="{EF7E55C4-3618-344D-932C-42F4A2B6B53B}"/>
                </a:ext>
              </a:extLst>
            </p:cNvPr>
            <p:cNvSpPr/>
            <p:nvPr/>
          </p:nvSpPr>
          <p:spPr>
            <a:xfrm>
              <a:off x="5422388" y="6037088"/>
              <a:ext cx="206680" cy="272235"/>
            </a:xfrm>
            <a:custGeom>
              <a:avLst/>
              <a:gdLst>
                <a:gd name="connsiteX0" fmla="*/ 206680 w 206680"/>
                <a:gd name="connsiteY0" fmla="*/ 0 h 272235"/>
                <a:gd name="connsiteX1" fmla="*/ 182629 w 206680"/>
                <a:gd name="connsiteY1" fmla="*/ 0 h 272235"/>
                <a:gd name="connsiteX2" fmla="*/ 0 w 206680"/>
                <a:gd name="connsiteY2" fmla="*/ 249802 h 272235"/>
                <a:gd name="connsiteX3" fmla="*/ 7193 w 206680"/>
                <a:gd name="connsiteY3" fmla="*/ 272236 h 272235"/>
                <a:gd name="connsiteX4" fmla="*/ 206680 w 206680"/>
                <a:gd name="connsiteY4" fmla="*/ 0 h 27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6680" h="272235">
                  <a:moveTo>
                    <a:pt x="206680" y="0"/>
                  </a:moveTo>
                  <a:lnTo>
                    <a:pt x="182629" y="0"/>
                  </a:lnTo>
                  <a:cubicBezTo>
                    <a:pt x="182966" y="114144"/>
                    <a:pt x="109016" y="215299"/>
                    <a:pt x="0" y="249802"/>
                  </a:cubicBezTo>
                  <a:lnTo>
                    <a:pt x="7193" y="272236"/>
                  </a:lnTo>
                  <a:cubicBezTo>
                    <a:pt x="126121" y="234704"/>
                    <a:pt x="206882" y="124486"/>
                    <a:pt x="206680" y="0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 44">
              <a:extLst>
                <a:ext uri="{FF2B5EF4-FFF2-40B4-BE49-F238E27FC236}">
                  <a16:creationId xmlns:a16="http://schemas.microsoft.com/office/drawing/2014/main" id="{30D5BF35-D4B8-F14F-BDDD-712A01E186E2}"/>
                </a:ext>
              </a:extLst>
            </p:cNvPr>
            <p:cNvSpPr/>
            <p:nvPr/>
          </p:nvSpPr>
          <p:spPr>
            <a:xfrm>
              <a:off x="5115797" y="5763661"/>
              <a:ext cx="453594" cy="500458"/>
            </a:xfrm>
            <a:custGeom>
              <a:avLst/>
              <a:gdLst>
                <a:gd name="connsiteX0" fmla="*/ 453594 w 453594"/>
                <a:gd name="connsiteY0" fmla="*/ 273427 h 500458"/>
                <a:gd name="connsiteX1" fmla="*/ 390658 w 453594"/>
                <a:gd name="connsiteY1" fmla="*/ 116950 h 500458"/>
                <a:gd name="connsiteX2" fmla="*/ 374811 w 453594"/>
                <a:gd name="connsiteY2" fmla="*/ 115716 h 500458"/>
                <a:gd name="connsiteX3" fmla="*/ 326934 w 453594"/>
                <a:gd name="connsiteY3" fmla="*/ 152171 h 500458"/>
                <a:gd name="connsiteX4" fmla="*/ 322326 w 453594"/>
                <a:gd name="connsiteY4" fmla="*/ 161032 h 500458"/>
                <a:gd name="connsiteX5" fmla="*/ 325923 w 453594"/>
                <a:gd name="connsiteY5" fmla="*/ 170230 h 500458"/>
                <a:gd name="connsiteX6" fmla="*/ 330339 w 453594"/>
                <a:gd name="connsiteY6" fmla="*/ 372439 h 500458"/>
                <a:gd name="connsiteX7" fmla="*/ 127739 w 453594"/>
                <a:gd name="connsiteY7" fmla="*/ 376847 h 500458"/>
                <a:gd name="connsiteX8" fmla="*/ 123322 w 453594"/>
                <a:gd name="connsiteY8" fmla="*/ 174639 h 500458"/>
                <a:gd name="connsiteX9" fmla="*/ 226797 w 453594"/>
                <a:gd name="connsiteY9" fmla="*/ 130522 h 500458"/>
                <a:gd name="connsiteX10" fmla="*/ 226797 w 453594"/>
                <a:gd name="connsiteY10" fmla="*/ 166304 h 500458"/>
                <a:gd name="connsiteX11" fmla="*/ 233540 w 453594"/>
                <a:gd name="connsiteY11" fmla="*/ 177521 h 500458"/>
                <a:gd name="connsiteX12" fmla="*/ 246128 w 453594"/>
                <a:gd name="connsiteY12" fmla="*/ 176175 h 500458"/>
                <a:gd name="connsiteX13" fmla="*/ 353570 w 453594"/>
                <a:gd name="connsiteY13" fmla="*/ 92833 h 500458"/>
                <a:gd name="connsiteX14" fmla="*/ 355818 w 453594"/>
                <a:gd name="connsiteY14" fmla="*/ 76333 h 500458"/>
                <a:gd name="connsiteX15" fmla="*/ 352783 w 453594"/>
                <a:gd name="connsiteY15" fmla="*/ 73540 h 500458"/>
                <a:gd name="connsiteX16" fmla="*/ 245453 w 453594"/>
                <a:gd name="connsiteY16" fmla="*/ 2088 h 500458"/>
                <a:gd name="connsiteX17" fmla="*/ 228887 w 453594"/>
                <a:gd name="connsiteY17" fmla="*/ 5161 h 500458"/>
                <a:gd name="connsiteX18" fmla="*/ 226797 w 453594"/>
                <a:gd name="connsiteY18" fmla="*/ 11959 h 500458"/>
                <a:gd name="connsiteX19" fmla="*/ 226797 w 453594"/>
                <a:gd name="connsiteY19" fmla="*/ 47741 h 500458"/>
                <a:gd name="connsiteX20" fmla="*/ 0 w 453594"/>
                <a:gd name="connsiteY20" fmla="*/ 274100 h 500458"/>
                <a:gd name="connsiteX21" fmla="*/ 226797 w 453594"/>
                <a:gd name="connsiteY21" fmla="*/ 500458 h 500458"/>
                <a:gd name="connsiteX22" fmla="*/ 453594 w 453594"/>
                <a:gd name="connsiteY22" fmla="*/ 274100 h 500458"/>
                <a:gd name="connsiteX23" fmla="*/ 453594 w 453594"/>
                <a:gd name="connsiteY23" fmla="*/ 273987 h 500458"/>
                <a:gd name="connsiteX24" fmla="*/ 23939 w 453594"/>
                <a:gd name="connsiteY24" fmla="*/ 273427 h 500458"/>
                <a:gd name="connsiteX25" fmla="*/ 226235 w 453594"/>
                <a:gd name="connsiteY25" fmla="*/ 70960 h 500458"/>
                <a:gd name="connsiteX26" fmla="*/ 238261 w 453594"/>
                <a:gd name="connsiteY26" fmla="*/ 70960 h 500458"/>
                <a:gd name="connsiteX27" fmla="*/ 250174 w 453594"/>
                <a:gd name="connsiteY27" fmla="*/ 59070 h 500458"/>
                <a:gd name="connsiteX28" fmla="*/ 250174 w 453594"/>
                <a:gd name="connsiteY28" fmla="*/ 33496 h 500458"/>
                <a:gd name="connsiteX29" fmla="*/ 325248 w 453594"/>
                <a:gd name="connsiteY29" fmla="*/ 83523 h 500458"/>
                <a:gd name="connsiteX30" fmla="*/ 250174 w 453594"/>
                <a:gd name="connsiteY30" fmla="*/ 141739 h 500458"/>
                <a:gd name="connsiteX31" fmla="*/ 250174 w 453594"/>
                <a:gd name="connsiteY31" fmla="*/ 118520 h 500458"/>
                <a:gd name="connsiteX32" fmla="*/ 238261 w 453594"/>
                <a:gd name="connsiteY32" fmla="*/ 106630 h 500458"/>
                <a:gd name="connsiteX33" fmla="*/ 226235 w 453594"/>
                <a:gd name="connsiteY33" fmla="*/ 106630 h 500458"/>
                <a:gd name="connsiteX34" fmla="*/ 59116 w 453594"/>
                <a:gd name="connsiteY34" fmla="*/ 273427 h 500458"/>
                <a:gd name="connsiteX35" fmla="*/ 226235 w 453594"/>
                <a:gd name="connsiteY35" fmla="*/ 440223 h 500458"/>
                <a:gd name="connsiteX36" fmla="*/ 393355 w 453594"/>
                <a:gd name="connsiteY36" fmla="*/ 273427 h 500458"/>
                <a:gd name="connsiteX37" fmla="*/ 393355 w 453594"/>
                <a:gd name="connsiteY37" fmla="*/ 273314 h 500458"/>
                <a:gd name="connsiteX38" fmla="*/ 351547 w 453594"/>
                <a:gd name="connsiteY38" fmla="*/ 162939 h 500458"/>
                <a:gd name="connsiteX39" fmla="*/ 379981 w 453594"/>
                <a:gd name="connsiteY39" fmla="*/ 141179 h 500458"/>
                <a:gd name="connsiteX40" fmla="*/ 358571 w 453594"/>
                <a:gd name="connsiteY40" fmla="*/ 426706 h 500458"/>
                <a:gd name="connsiteX41" fmla="*/ 72490 w 453594"/>
                <a:gd name="connsiteY41" fmla="*/ 405349 h 500458"/>
                <a:gd name="connsiteX42" fmla="*/ 23376 w 453594"/>
                <a:gd name="connsiteY42" fmla="*/ 273314 h 50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453594" h="500458">
                  <a:moveTo>
                    <a:pt x="453594" y="273427"/>
                  </a:moveTo>
                  <a:cubicBezTo>
                    <a:pt x="453695" y="215110"/>
                    <a:pt x="431139" y="159013"/>
                    <a:pt x="390658" y="116950"/>
                  </a:cubicBezTo>
                  <a:cubicBezTo>
                    <a:pt x="386465" y="112564"/>
                    <a:pt x="379632" y="112037"/>
                    <a:pt x="374811" y="115716"/>
                  </a:cubicBezTo>
                  <a:lnTo>
                    <a:pt x="326934" y="152171"/>
                  </a:lnTo>
                  <a:cubicBezTo>
                    <a:pt x="324214" y="154347"/>
                    <a:pt x="322540" y="157567"/>
                    <a:pt x="322326" y="161032"/>
                  </a:cubicBezTo>
                  <a:cubicBezTo>
                    <a:pt x="322034" y="164487"/>
                    <a:pt x="323360" y="167886"/>
                    <a:pt x="325923" y="170230"/>
                  </a:cubicBezTo>
                  <a:cubicBezTo>
                    <a:pt x="383094" y="224846"/>
                    <a:pt x="385072" y="315378"/>
                    <a:pt x="330339" y="372439"/>
                  </a:cubicBezTo>
                  <a:cubicBezTo>
                    <a:pt x="275618" y="429488"/>
                    <a:pt x="184910" y="431462"/>
                    <a:pt x="127739" y="376847"/>
                  </a:cubicBezTo>
                  <a:cubicBezTo>
                    <a:pt x="70579" y="322232"/>
                    <a:pt x="68601" y="231700"/>
                    <a:pt x="123322" y="174639"/>
                  </a:cubicBezTo>
                  <a:cubicBezTo>
                    <a:pt x="150340" y="146473"/>
                    <a:pt x="187720" y="130534"/>
                    <a:pt x="226797" y="130522"/>
                  </a:cubicBezTo>
                  <a:lnTo>
                    <a:pt x="226797" y="166304"/>
                  </a:lnTo>
                  <a:cubicBezTo>
                    <a:pt x="226651" y="171038"/>
                    <a:pt x="229292" y="175424"/>
                    <a:pt x="233540" y="177521"/>
                  </a:cubicBezTo>
                  <a:cubicBezTo>
                    <a:pt x="237642" y="179518"/>
                    <a:pt x="242542" y="178991"/>
                    <a:pt x="246128" y="176175"/>
                  </a:cubicBezTo>
                  <a:lnTo>
                    <a:pt x="353570" y="92833"/>
                  </a:lnTo>
                  <a:cubicBezTo>
                    <a:pt x="358751" y="88896"/>
                    <a:pt x="359762" y="81504"/>
                    <a:pt x="355818" y="76333"/>
                  </a:cubicBezTo>
                  <a:cubicBezTo>
                    <a:pt x="354974" y="75234"/>
                    <a:pt x="353952" y="74280"/>
                    <a:pt x="352783" y="73540"/>
                  </a:cubicBezTo>
                  <a:lnTo>
                    <a:pt x="245453" y="2088"/>
                  </a:lnTo>
                  <a:cubicBezTo>
                    <a:pt x="240025" y="-1625"/>
                    <a:pt x="232619" y="-256"/>
                    <a:pt x="228887" y="5161"/>
                  </a:cubicBezTo>
                  <a:cubicBezTo>
                    <a:pt x="227516" y="7158"/>
                    <a:pt x="226786" y="9536"/>
                    <a:pt x="226797" y="11959"/>
                  </a:cubicBezTo>
                  <a:lnTo>
                    <a:pt x="226797" y="47741"/>
                  </a:lnTo>
                  <a:cubicBezTo>
                    <a:pt x="101542" y="47741"/>
                    <a:pt x="0" y="149086"/>
                    <a:pt x="0" y="274100"/>
                  </a:cubicBezTo>
                  <a:cubicBezTo>
                    <a:pt x="0" y="399113"/>
                    <a:pt x="101542" y="500458"/>
                    <a:pt x="226797" y="500458"/>
                  </a:cubicBezTo>
                  <a:cubicBezTo>
                    <a:pt x="352053" y="500458"/>
                    <a:pt x="453594" y="399113"/>
                    <a:pt x="453594" y="274100"/>
                  </a:cubicBezTo>
                  <a:cubicBezTo>
                    <a:pt x="453594" y="274066"/>
                    <a:pt x="453594" y="274021"/>
                    <a:pt x="453594" y="273987"/>
                  </a:cubicBezTo>
                  <a:close/>
                  <a:moveTo>
                    <a:pt x="23939" y="273427"/>
                  </a:moveTo>
                  <a:cubicBezTo>
                    <a:pt x="24062" y="161874"/>
                    <a:pt x="114466" y="71398"/>
                    <a:pt x="226235" y="70960"/>
                  </a:cubicBezTo>
                  <a:lnTo>
                    <a:pt x="238261" y="70960"/>
                  </a:lnTo>
                  <a:cubicBezTo>
                    <a:pt x="244813" y="70904"/>
                    <a:pt x="250117" y="65610"/>
                    <a:pt x="250174" y="59070"/>
                  </a:cubicBezTo>
                  <a:lnTo>
                    <a:pt x="250174" y="33496"/>
                  </a:lnTo>
                  <a:lnTo>
                    <a:pt x="325248" y="83523"/>
                  </a:lnTo>
                  <a:lnTo>
                    <a:pt x="250174" y="141739"/>
                  </a:lnTo>
                  <a:lnTo>
                    <a:pt x="250174" y="118520"/>
                  </a:lnTo>
                  <a:cubicBezTo>
                    <a:pt x="250174" y="111958"/>
                    <a:pt x="244835" y="106630"/>
                    <a:pt x="238261" y="106630"/>
                  </a:cubicBezTo>
                  <a:lnTo>
                    <a:pt x="226235" y="106630"/>
                  </a:lnTo>
                  <a:cubicBezTo>
                    <a:pt x="133943" y="106630"/>
                    <a:pt x="59116" y="181313"/>
                    <a:pt x="59116" y="273427"/>
                  </a:cubicBezTo>
                  <a:cubicBezTo>
                    <a:pt x="59116" y="365540"/>
                    <a:pt x="133943" y="440223"/>
                    <a:pt x="226235" y="440223"/>
                  </a:cubicBezTo>
                  <a:cubicBezTo>
                    <a:pt x="318528" y="440223"/>
                    <a:pt x="393355" y="365540"/>
                    <a:pt x="393355" y="273427"/>
                  </a:cubicBezTo>
                  <a:cubicBezTo>
                    <a:pt x="393355" y="273393"/>
                    <a:pt x="393355" y="273348"/>
                    <a:pt x="393355" y="273314"/>
                  </a:cubicBezTo>
                  <a:cubicBezTo>
                    <a:pt x="393523" y="232642"/>
                    <a:pt x="378643" y="193326"/>
                    <a:pt x="351547" y="162939"/>
                  </a:cubicBezTo>
                  <a:lnTo>
                    <a:pt x="379981" y="141179"/>
                  </a:lnTo>
                  <a:cubicBezTo>
                    <a:pt x="453066" y="225923"/>
                    <a:pt x="443491" y="353763"/>
                    <a:pt x="358571" y="426706"/>
                  </a:cubicBezTo>
                  <a:cubicBezTo>
                    <a:pt x="273663" y="499661"/>
                    <a:pt x="145575" y="490093"/>
                    <a:pt x="72490" y="405349"/>
                  </a:cubicBezTo>
                  <a:cubicBezTo>
                    <a:pt x="40819" y="368625"/>
                    <a:pt x="23388" y="321772"/>
                    <a:pt x="23376" y="273314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 50">
              <a:extLst>
                <a:ext uri="{FF2B5EF4-FFF2-40B4-BE49-F238E27FC236}">
                  <a16:creationId xmlns:a16="http://schemas.microsoft.com/office/drawing/2014/main" id="{903763F2-AD88-6B47-955B-FA4ABB54AF3B}"/>
                </a:ext>
              </a:extLst>
            </p:cNvPr>
            <p:cNvSpPr/>
            <p:nvPr/>
          </p:nvSpPr>
          <p:spPr>
            <a:xfrm>
              <a:off x="4184445" y="4244055"/>
              <a:ext cx="224436" cy="14918"/>
            </a:xfrm>
            <a:custGeom>
              <a:avLst/>
              <a:gdLst>
                <a:gd name="connsiteX0" fmla="*/ 0 w 224436"/>
                <a:gd name="connsiteY0" fmla="*/ 0 h 14918"/>
                <a:gd name="connsiteX1" fmla="*/ 224437 w 224436"/>
                <a:gd name="connsiteY1" fmla="*/ 0 h 14918"/>
                <a:gd name="connsiteX2" fmla="*/ 224437 w 224436"/>
                <a:gd name="connsiteY2" fmla="*/ 14919 h 14918"/>
                <a:gd name="connsiteX3" fmla="*/ 0 w 224436"/>
                <a:gd name="connsiteY3" fmla="*/ 14919 h 14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4436" h="14918">
                  <a:moveTo>
                    <a:pt x="0" y="0"/>
                  </a:moveTo>
                  <a:lnTo>
                    <a:pt x="224437" y="0"/>
                  </a:lnTo>
                  <a:lnTo>
                    <a:pt x="224437" y="14919"/>
                  </a:lnTo>
                  <a:lnTo>
                    <a:pt x="0" y="14919"/>
                  </a:ln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 52">
              <a:extLst>
                <a:ext uri="{FF2B5EF4-FFF2-40B4-BE49-F238E27FC236}">
                  <a16:creationId xmlns:a16="http://schemas.microsoft.com/office/drawing/2014/main" id="{D09BD504-090F-EC4A-9058-4BFFE9B3C6A9}"/>
                </a:ext>
              </a:extLst>
            </p:cNvPr>
            <p:cNvSpPr/>
            <p:nvPr/>
          </p:nvSpPr>
          <p:spPr>
            <a:xfrm>
              <a:off x="4104987" y="3515625"/>
              <a:ext cx="382902" cy="119685"/>
            </a:xfrm>
            <a:custGeom>
              <a:avLst/>
              <a:gdLst>
                <a:gd name="connsiteX0" fmla="*/ 143743 w 382902"/>
                <a:gd name="connsiteY0" fmla="*/ 0 h 119685"/>
                <a:gd name="connsiteX1" fmla="*/ 115084 w 382902"/>
                <a:gd name="connsiteY1" fmla="*/ 0 h 119685"/>
                <a:gd name="connsiteX2" fmla="*/ 115084 w 382902"/>
                <a:gd name="connsiteY2" fmla="*/ 57319 h 119685"/>
                <a:gd name="connsiteX3" fmla="*/ 81368 w 382902"/>
                <a:gd name="connsiteY3" fmla="*/ 90970 h 119685"/>
                <a:gd name="connsiteX4" fmla="*/ 0 w 382902"/>
                <a:gd name="connsiteY4" fmla="*/ 90970 h 119685"/>
                <a:gd name="connsiteX5" fmla="*/ 0 w 382902"/>
                <a:gd name="connsiteY5" fmla="*/ 119685 h 119685"/>
                <a:gd name="connsiteX6" fmla="*/ 382903 w 382902"/>
                <a:gd name="connsiteY6" fmla="*/ 119685 h 119685"/>
                <a:gd name="connsiteX7" fmla="*/ 382903 w 382902"/>
                <a:gd name="connsiteY7" fmla="*/ 90857 h 119685"/>
                <a:gd name="connsiteX8" fmla="*/ 301872 w 382902"/>
                <a:gd name="connsiteY8" fmla="*/ 90857 h 119685"/>
                <a:gd name="connsiteX9" fmla="*/ 268156 w 382902"/>
                <a:gd name="connsiteY9" fmla="*/ 57206 h 119685"/>
                <a:gd name="connsiteX10" fmla="*/ 268156 w 382902"/>
                <a:gd name="connsiteY10" fmla="*/ 0 h 119685"/>
                <a:gd name="connsiteX11" fmla="*/ 239497 w 382902"/>
                <a:gd name="connsiteY11" fmla="*/ 0 h 119685"/>
                <a:gd name="connsiteX12" fmla="*/ 239497 w 382902"/>
                <a:gd name="connsiteY12" fmla="*/ 57319 h 119685"/>
                <a:gd name="connsiteX13" fmla="*/ 249387 w 382902"/>
                <a:gd name="connsiteY13" fmla="*/ 90970 h 119685"/>
                <a:gd name="connsiteX14" fmla="*/ 133853 w 382902"/>
                <a:gd name="connsiteY14" fmla="*/ 90970 h 119685"/>
                <a:gd name="connsiteX15" fmla="*/ 143743 w 382902"/>
                <a:gd name="connsiteY15" fmla="*/ 57319 h 119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82902" h="119685">
                  <a:moveTo>
                    <a:pt x="143743" y="0"/>
                  </a:moveTo>
                  <a:lnTo>
                    <a:pt x="115084" y="0"/>
                  </a:lnTo>
                  <a:lnTo>
                    <a:pt x="115084" y="57319"/>
                  </a:lnTo>
                  <a:cubicBezTo>
                    <a:pt x="115084" y="75905"/>
                    <a:pt x="99991" y="90970"/>
                    <a:pt x="81368" y="90970"/>
                  </a:cubicBezTo>
                  <a:lnTo>
                    <a:pt x="0" y="90970"/>
                  </a:lnTo>
                  <a:lnTo>
                    <a:pt x="0" y="119685"/>
                  </a:lnTo>
                  <a:lnTo>
                    <a:pt x="382903" y="119685"/>
                  </a:lnTo>
                  <a:lnTo>
                    <a:pt x="382903" y="90857"/>
                  </a:lnTo>
                  <a:lnTo>
                    <a:pt x="301872" y="90857"/>
                  </a:lnTo>
                  <a:cubicBezTo>
                    <a:pt x="283249" y="90857"/>
                    <a:pt x="268156" y="75793"/>
                    <a:pt x="268156" y="57206"/>
                  </a:cubicBezTo>
                  <a:lnTo>
                    <a:pt x="268156" y="0"/>
                  </a:lnTo>
                  <a:lnTo>
                    <a:pt x="239497" y="0"/>
                  </a:lnTo>
                  <a:lnTo>
                    <a:pt x="239497" y="57319"/>
                  </a:lnTo>
                  <a:cubicBezTo>
                    <a:pt x="239441" y="69254"/>
                    <a:pt x="242880" y="80953"/>
                    <a:pt x="249387" y="90970"/>
                  </a:cubicBezTo>
                  <a:lnTo>
                    <a:pt x="133853" y="90970"/>
                  </a:lnTo>
                  <a:cubicBezTo>
                    <a:pt x="140360" y="80953"/>
                    <a:pt x="143799" y="69254"/>
                    <a:pt x="143743" y="57319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 53">
              <a:extLst>
                <a:ext uri="{FF2B5EF4-FFF2-40B4-BE49-F238E27FC236}">
                  <a16:creationId xmlns:a16="http://schemas.microsoft.com/office/drawing/2014/main" id="{83B7F845-F559-1448-9C4D-0B6E973B2A5B}"/>
                </a:ext>
              </a:extLst>
            </p:cNvPr>
            <p:cNvSpPr/>
            <p:nvPr/>
          </p:nvSpPr>
          <p:spPr>
            <a:xfrm>
              <a:off x="4284582" y="2939522"/>
              <a:ext cx="24050" cy="24004"/>
            </a:xfrm>
            <a:custGeom>
              <a:avLst/>
              <a:gdLst>
                <a:gd name="connsiteX0" fmla="*/ 12025 w 24050"/>
                <a:gd name="connsiteY0" fmla="*/ 0 h 24004"/>
                <a:gd name="connsiteX1" fmla="*/ 0 w 24050"/>
                <a:gd name="connsiteY1" fmla="*/ 12002 h 24004"/>
                <a:gd name="connsiteX2" fmla="*/ 12025 w 24050"/>
                <a:gd name="connsiteY2" fmla="*/ 24004 h 24004"/>
                <a:gd name="connsiteX3" fmla="*/ 24051 w 24050"/>
                <a:gd name="connsiteY3" fmla="*/ 12002 h 24004"/>
                <a:gd name="connsiteX4" fmla="*/ 12025 w 24050"/>
                <a:gd name="connsiteY4" fmla="*/ 0 h 2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050" h="24004">
                  <a:moveTo>
                    <a:pt x="12025" y="0"/>
                  </a:moveTo>
                  <a:cubicBezTo>
                    <a:pt x="5383" y="0"/>
                    <a:pt x="0" y="5373"/>
                    <a:pt x="0" y="12002"/>
                  </a:cubicBezTo>
                  <a:cubicBezTo>
                    <a:pt x="0" y="18631"/>
                    <a:pt x="5383" y="24004"/>
                    <a:pt x="12025" y="24004"/>
                  </a:cubicBezTo>
                  <a:cubicBezTo>
                    <a:pt x="18668" y="24004"/>
                    <a:pt x="24051" y="18631"/>
                    <a:pt x="24051" y="12002"/>
                  </a:cubicBezTo>
                  <a:cubicBezTo>
                    <a:pt x="24051" y="5373"/>
                    <a:pt x="18668" y="0"/>
                    <a:pt x="12025" y="0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eform 54">
              <a:extLst>
                <a:ext uri="{FF2B5EF4-FFF2-40B4-BE49-F238E27FC236}">
                  <a16:creationId xmlns:a16="http://schemas.microsoft.com/office/drawing/2014/main" id="{4CB8B1EC-A043-204F-8447-BC0B21154C3C}"/>
                </a:ext>
              </a:extLst>
            </p:cNvPr>
            <p:cNvSpPr/>
            <p:nvPr/>
          </p:nvSpPr>
          <p:spPr>
            <a:xfrm>
              <a:off x="4331413" y="3429534"/>
              <a:ext cx="24052" cy="24007"/>
            </a:xfrm>
            <a:custGeom>
              <a:avLst/>
              <a:gdLst>
                <a:gd name="connsiteX0" fmla="*/ 13184 w 24052"/>
                <a:gd name="connsiteY0" fmla="*/ 57 h 24007"/>
                <a:gd name="connsiteX1" fmla="*/ 57 w 24052"/>
                <a:gd name="connsiteY1" fmla="*/ 10848 h 24007"/>
                <a:gd name="connsiteX2" fmla="*/ 10857 w 24052"/>
                <a:gd name="connsiteY2" fmla="*/ 23949 h 24007"/>
                <a:gd name="connsiteX3" fmla="*/ 13184 w 24052"/>
                <a:gd name="connsiteY3" fmla="*/ 23949 h 24007"/>
                <a:gd name="connsiteX4" fmla="*/ 23995 w 24052"/>
                <a:gd name="connsiteY4" fmla="*/ 10848 h 24007"/>
                <a:gd name="connsiteX5" fmla="*/ 13184 w 24052"/>
                <a:gd name="connsiteY5" fmla="*/ 57 h 24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052" h="24007">
                  <a:moveTo>
                    <a:pt x="13184" y="57"/>
                  </a:moveTo>
                  <a:cubicBezTo>
                    <a:pt x="6575" y="-582"/>
                    <a:pt x="698" y="4241"/>
                    <a:pt x="57" y="10848"/>
                  </a:cubicBezTo>
                  <a:cubicBezTo>
                    <a:pt x="-584" y="17443"/>
                    <a:pt x="4249" y="23310"/>
                    <a:pt x="10857" y="23949"/>
                  </a:cubicBezTo>
                  <a:cubicBezTo>
                    <a:pt x="11633" y="24028"/>
                    <a:pt x="12408" y="24028"/>
                    <a:pt x="13184" y="23949"/>
                  </a:cubicBezTo>
                  <a:cubicBezTo>
                    <a:pt x="19792" y="23310"/>
                    <a:pt x="24636" y="17443"/>
                    <a:pt x="23995" y="10848"/>
                  </a:cubicBezTo>
                  <a:cubicBezTo>
                    <a:pt x="23433" y="5127"/>
                    <a:pt x="18904" y="607"/>
                    <a:pt x="13184" y="57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 55">
              <a:extLst>
                <a:ext uri="{FF2B5EF4-FFF2-40B4-BE49-F238E27FC236}">
                  <a16:creationId xmlns:a16="http://schemas.microsoft.com/office/drawing/2014/main" id="{EB7C3F8F-B45E-BE46-8B8D-E11E45208EFE}"/>
                </a:ext>
              </a:extLst>
            </p:cNvPr>
            <p:cNvSpPr/>
            <p:nvPr/>
          </p:nvSpPr>
          <p:spPr>
            <a:xfrm>
              <a:off x="4284582" y="3429591"/>
              <a:ext cx="24050" cy="24004"/>
            </a:xfrm>
            <a:custGeom>
              <a:avLst/>
              <a:gdLst>
                <a:gd name="connsiteX0" fmla="*/ 12025 w 24050"/>
                <a:gd name="connsiteY0" fmla="*/ 0 h 24004"/>
                <a:gd name="connsiteX1" fmla="*/ 0 w 24050"/>
                <a:gd name="connsiteY1" fmla="*/ 12002 h 24004"/>
                <a:gd name="connsiteX2" fmla="*/ 12025 w 24050"/>
                <a:gd name="connsiteY2" fmla="*/ 24004 h 24004"/>
                <a:gd name="connsiteX3" fmla="*/ 24051 w 24050"/>
                <a:gd name="connsiteY3" fmla="*/ 12002 h 24004"/>
                <a:gd name="connsiteX4" fmla="*/ 12025 w 24050"/>
                <a:gd name="connsiteY4" fmla="*/ 0 h 2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050" h="24004">
                  <a:moveTo>
                    <a:pt x="12025" y="0"/>
                  </a:moveTo>
                  <a:cubicBezTo>
                    <a:pt x="5383" y="0"/>
                    <a:pt x="0" y="5373"/>
                    <a:pt x="0" y="12002"/>
                  </a:cubicBezTo>
                  <a:cubicBezTo>
                    <a:pt x="0" y="18632"/>
                    <a:pt x="5383" y="24004"/>
                    <a:pt x="12025" y="24004"/>
                  </a:cubicBezTo>
                  <a:cubicBezTo>
                    <a:pt x="18668" y="24004"/>
                    <a:pt x="24051" y="18632"/>
                    <a:pt x="24051" y="12002"/>
                  </a:cubicBezTo>
                  <a:cubicBezTo>
                    <a:pt x="24051" y="5373"/>
                    <a:pt x="18668" y="0"/>
                    <a:pt x="12025" y="0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 56">
              <a:extLst>
                <a:ext uri="{FF2B5EF4-FFF2-40B4-BE49-F238E27FC236}">
                  <a16:creationId xmlns:a16="http://schemas.microsoft.com/office/drawing/2014/main" id="{815E7AF9-4E91-6F40-BFFB-05B2E5438009}"/>
                </a:ext>
              </a:extLst>
            </p:cNvPr>
            <p:cNvSpPr/>
            <p:nvPr/>
          </p:nvSpPr>
          <p:spPr>
            <a:xfrm>
              <a:off x="4236705" y="3429591"/>
              <a:ext cx="24051" cy="24004"/>
            </a:xfrm>
            <a:custGeom>
              <a:avLst/>
              <a:gdLst>
                <a:gd name="connsiteX0" fmla="*/ 12025 w 24051"/>
                <a:gd name="connsiteY0" fmla="*/ 0 h 24004"/>
                <a:gd name="connsiteX1" fmla="*/ 0 w 24051"/>
                <a:gd name="connsiteY1" fmla="*/ 12002 h 24004"/>
                <a:gd name="connsiteX2" fmla="*/ 12025 w 24051"/>
                <a:gd name="connsiteY2" fmla="*/ 24004 h 24004"/>
                <a:gd name="connsiteX3" fmla="*/ 24051 w 24051"/>
                <a:gd name="connsiteY3" fmla="*/ 12002 h 24004"/>
                <a:gd name="connsiteX4" fmla="*/ 12250 w 24051"/>
                <a:gd name="connsiteY4" fmla="*/ 0 h 24004"/>
                <a:gd name="connsiteX5" fmla="*/ 12025 w 24051"/>
                <a:gd name="connsiteY5" fmla="*/ 0 h 2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051" h="24004">
                  <a:moveTo>
                    <a:pt x="12025" y="0"/>
                  </a:moveTo>
                  <a:cubicBezTo>
                    <a:pt x="5383" y="0"/>
                    <a:pt x="0" y="5373"/>
                    <a:pt x="0" y="12002"/>
                  </a:cubicBezTo>
                  <a:cubicBezTo>
                    <a:pt x="0" y="18632"/>
                    <a:pt x="5383" y="24004"/>
                    <a:pt x="12025" y="24004"/>
                  </a:cubicBezTo>
                  <a:cubicBezTo>
                    <a:pt x="18667" y="24004"/>
                    <a:pt x="24051" y="18632"/>
                    <a:pt x="24051" y="12002"/>
                  </a:cubicBezTo>
                  <a:cubicBezTo>
                    <a:pt x="24118" y="5440"/>
                    <a:pt x="18836" y="67"/>
                    <a:pt x="12250" y="0"/>
                  </a:cubicBezTo>
                  <a:cubicBezTo>
                    <a:pt x="12171" y="0"/>
                    <a:pt x="12104" y="0"/>
                    <a:pt x="12025" y="0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eform 57">
              <a:extLst>
                <a:ext uri="{FF2B5EF4-FFF2-40B4-BE49-F238E27FC236}">
                  <a16:creationId xmlns:a16="http://schemas.microsoft.com/office/drawing/2014/main" id="{362EB920-72D1-F345-8E96-77F58D30A40E}"/>
                </a:ext>
              </a:extLst>
            </p:cNvPr>
            <p:cNvSpPr/>
            <p:nvPr/>
          </p:nvSpPr>
          <p:spPr>
            <a:xfrm>
              <a:off x="3908756" y="2894204"/>
              <a:ext cx="775811" cy="602351"/>
            </a:xfrm>
            <a:custGeom>
              <a:avLst/>
              <a:gdLst>
                <a:gd name="connsiteX0" fmla="*/ 775811 w 775811"/>
                <a:gd name="connsiteY0" fmla="*/ 549744 h 602351"/>
                <a:gd name="connsiteX1" fmla="*/ 775811 w 775811"/>
                <a:gd name="connsiteY1" fmla="*/ 52608 h 602351"/>
                <a:gd name="connsiteX2" fmla="*/ 769518 w 775811"/>
                <a:gd name="connsiteY2" fmla="*/ 27594 h 602351"/>
                <a:gd name="connsiteX3" fmla="*/ 760414 w 775811"/>
                <a:gd name="connsiteY3" fmla="*/ 15480 h 602351"/>
                <a:gd name="connsiteX4" fmla="*/ 756706 w 775811"/>
                <a:gd name="connsiteY4" fmla="*/ 12003 h 602351"/>
                <a:gd name="connsiteX5" fmla="*/ 722989 w 775811"/>
                <a:gd name="connsiteY5" fmla="*/ 1 h 602351"/>
                <a:gd name="connsiteX6" fmla="*/ 52601 w 775811"/>
                <a:gd name="connsiteY6" fmla="*/ 1 h 602351"/>
                <a:gd name="connsiteX7" fmla="*/ 32146 w 775811"/>
                <a:gd name="connsiteY7" fmla="*/ 4151 h 602351"/>
                <a:gd name="connsiteX8" fmla="*/ 23155 w 775811"/>
                <a:gd name="connsiteY8" fmla="*/ 8974 h 602351"/>
                <a:gd name="connsiteX9" fmla="*/ 19109 w 775811"/>
                <a:gd name="connsiteY9" fmla="*/ 12003 h 602351"/>
                <a:gd name="connsiteX10" fmla="*/ 12029 w 775811"/>
                <a:gd name="connsiteY10" fmla="*/ 19182 h 602351"/>
                <a:gd name="connsiteX11" fmla="*/ 8994 w 775811"/>
                <a:gd name="connsiteY11" fmla="*/ 23220 h 602351"/>
                <a:gd name="connsiteX12" fmla="*/ 4 w 775811"/>
                <a:gd name="connsiteY12" fmla="*/ 52608 h 602351"/>
                <a:gd name="connsiteX13" fmla="*/ 4 w 775811"/>
                <a:gd name="connsiteY13" fmla="*/ 549744 h 602351"/>
                <a:gd name="connsiteX14" fmla="*/ 52601 w 775811"/>
                <a:gd name="connsiteY14" fmla="*/ 602352 h 602351"/>
                <a:gd name="connsiteX15" fmla="*/ 723214 w 775811"/>
                <a:gd name="connsiteY15" fmla="*/ 602352 h 602351"/>
                <a:gd name="connsiteX16" fmla="*/ 775811 w 775811"/>
                <a:gd name="connsiteY16" fmla="*/ 549744 h 602351"/>
                <a:gd name="connsiteX17" fmla="*/ 28662 w 775811"/>
                <a:gd name="connsiteY17" fmla="*/ 52608 h 602351"/>
                <a:gd name="connsiteX18" fmla="*/ 52601 w 775811"/>
                <a:gd name="connsiteY18" fmla="*/ 28716 h 602351"/>
                <a:gd name="connsiteX19" fmla="*/ 723214 w 775811"/>
                <a:gd name="connsiteY19" fmla="*/ 28716 h 602351"/>
                <a:gd name="connsiteX20" fmla="*/ 732430 w 775811"/>
                <a:gd name="connsiteY20" fmla="*/ 30623 h 602351"/>
                <a:gd name="connsiteX21" fmla="*/ 740072 w 775811"/>
                <a:gd name="connsiteY21" fmla="*/ 35671 h 602351"/>
                <a:gd name="connsiteX22" fmla="*/ 745242 w 775811"/>
                <a:gd name="connsiteY22" fmla="*/ 43298 h 602351"/>
                <a:gd name="connsiteX23" fmla="*/ 747153 w 775811"/>
                <a:gd name="connsiteY23" fmla="*/ 52608 h 602351"/>
                <a:gd name="connsiteX24" fmla="*/ 747153 w 775811"/>
                <a:gd name="connsiteY24" fmla="*/ 86259 h 602351"/>
                <a:gd name="connsiteX25" fmla="*/ 28662 w 775811"/>
                <a:gd name="connsiteY25" fmla="*/ 86259 h 602351"/>
                <a:gd name="connsiteX26" fmla="*/ 28662 w 775811"/>
                <a:gd name="connsiteY26" fmla="*/ 239034 h 602351"/>
                <a:gd name="connsiteX27" fmla="*/ 28662 w 775811"/>
                <a:gd name="connsiteY27" fmla="*/ 105216 h 602351"/>
                <a:gd name="connsiteX28" fmla="*/ 747153 w 775811"/>
                <a:gd name="connsiteY28" fmla="*/ 105216 h 602351"/>
                <a:gd name="connsiteX29" fmla="*/ 747153 w 775811"/>
                <a:gd name="connsiteY29" fmla="*/ 506671 h 602351"/>
                <a:gd name="connsiteX30" fmla="*/ 28662 w 775811"/>
                <a:gd name="connsiteY30" fmla="*/ 506671 h 602351"/>
                <a:gd name="connsiteX31" fmla="*/ 229835 w 775811"/>
                <a:gd name="connsiteY31" fmla="*/ 573636 h 602351"/>
                <a:gd name="connsiteX32" fmla="*/ 52601 w 775811"/>
                <a:gd name="connsiteY32" fmla="*/ 573636 h 602351"/>
                <a:gd name="connsiteX33" fmla="*/ 28662 w 775811"/>
                <a:gd name="connsiteY33" fmla="*/ 549744 h 602351"/>
                <a:gd name="connsiteX34" fmla="*/ 28662 w 775811"/>
                <a:gd name="connsiteY34" fmla="*/ 525852 h 602351"/>
                <a:gd name="connsiteX35" fmla="*/ 747153 w 775811"/>
                <a:gd name="connsiteY35" fmla="*/ 525852 h 602351"/>
                <a:gd name="connsiteX36" fmla="*/ 747153 w 775811"/>
                <a:gd name="connsiteY36" fmla="*/ 549744 h 602351"/>
                <a:gd name="connsiteX37" fmla="*/ 723214 w 775811"/>
                <a:gd name="connsiteY37" fmla="*/ 573636 h 602351"/>
                <a:gd name="connsiteX38" fmla="*/ 229835 w 775811"/>
                <a:gd name="connsiteY38" fmla="*/ 573636 h 602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775811" h="602351">
                  <a:moveTo>
                    <a:pt x="775811" y="549744"/>
                  </a:moveTo>
                  <a:lnTo>
                    <a:pt x="775811" y="52608"/>
                  </a:lnTo>
                  <a:cubicBezTo>
                    <a:pt x="775845" y="43870"/>
                    <a:pt x="773687" y="35278"/>
                    <a:pt x="769518" y="27594"/>
                  </a:cubicBezTo>
                  <a:cubicBezTo>
                    <a:pt x="767079" y="23141"/>
                    <a:pt x="764011" y="19069"/>
                    <a:pt x="760414" y="15480"/>
                  </a:cubicBezTo>
                  <a:lnTo>
                    <a:pt x="756706" y="12003"/>
                  </a:lnTo>
                  <a:cubicBezTo>
                    <a:pt x="747220" y="4196"/>
                    <a:pt x="735285" y="-55"/>
                    <a:pt x="722989" y="1"/>
                  </a:cubicBezTo>
                  <a:lnTo>
                    <a:pt x="52601" y="1"/>
                  </a:lnTo>
                  <a:cubicBezTo>
                    <a:pt x="45576" y="-11"/>
                    <a:pt x="38608" y="1403"/>
                    <a:pt x="32146" y="4151"/>
                  </a:cubicBezTo>
                  <a:cubicBezTo>
                    <a:pt x="29022" y="5508"/>
                    <a:pt x="26021" y="7123"/>
                    <a:pt x="23155" y="8974"/>
                  </a:cubicBezTo>
                  <a:lnTo>
                    <a:pt x="19109" y="12003"/>
                  </a:lnTo>
                  <a:cubicBezTo>
                    <a:pt x="16558" y="14201"/>
                    <a:pt x="14187" y="16602"/>
                    <a:pt x="12029" y="19182"/>
                  </a:cubicBezTo>
                  <a:cubicBezTo>
                    <a:pt x="10950" y="20471"/>
                    <a:pt x="9938" y="21818"/>
                    <a:pt x="8994" y="23220"/>
                  </a:cubicBezTo>
                  <a:cubicBezTo>
                    <a:pt x="3027" y="31857"/>
                    <a:pt x="-120" y="42120"/>
                    <a:pt x="4" y="52608"/>
                  </a:cubicBezTo>
                  <a:lnTo>
                    <a:pt x="4" y="549744"/>
                  </a:lnTo>
                  <a:cubicBezTo>
                    <a:pt x="4" y="578751"/>
                    <a:pt x="23537" y="602285"/>
                    <a:pt x="52601" y="602352"/>
                  </a:cubicBezTo>
                  <a:lnTo>
                    <a:pt x="723214" y="602352"/>
                  </a:lnTo>
                  <a:cubicBezTo>
                    <a:pt x="752278" y="602285"/>
                    <a:pt x="775811" y="578751"/>
                    <a:pt x="775811" y="549744"/>
                  </a:cubicBezTo>
                  <a:close/>
                  <a:moveTo>
                    <a:pt x="28662" y="52608"/>
                  </a:moveTo>
                  <a:cubicBezTo>
                    <a:pt x="28718" y="39439"/>
                    <a:pt x="39406" y="28772"/>
                    <a:pt x="52601" y="28716"/>
                  </a:cubicBezTo>
                  <a:lnTo>
                    <a:pt x="723214" y="28716"/>
                  </a:lnTo>
                  <a:cubicBezTo>
                    <a:pt x="726384" y="28694"/>
                    <a:pt x="729530" y="29344"/>
                    <a:pt x="732430" y="30623"/>
                  </a:cubicBezTo>
                  <a:cubicBezTo>
                    <a:pt x="735296" y="31767"/>
                    <a:pt x="737903" y="33483"/>
                    <a:pt x="740072" y="35671"/>
                  </a:cubicBezTo>
                  <a:cubicBezTo>
                    <a:pt x="742219" y="37903"/>
                    <a:pt x="743972" y="40483"/>
                    <a:pt x="745242" y="43298"/>
                  </a:cubicBezTo>
                  <a:cubicBezTo>
                    <a:pt x="746501" y="46237"/>
                    <a:pt x="747153" y="49411"/>
                    <a:pt x="747153" y="52608"/>
                  </a:cubicBezTo>
                  <a:lnTo>
                    <a:pt x="747153" y="86259"/>
                  </a:lnTo>
                  <a:lnTo>
                    <a:pt x="28662" y="86259"/>
                  </a:lnTo>
                  <a:close/>
                  <a:moveTo>
                    <a:pt x="28662" y="239034"/>
                  </a:moveTo>
                  <a:lnTo>
                    <a:pt x="28662" y="105216"/>
                  </a:lnTo>
                  <a:lnTo>
                    <a:pt x="747153" y="105216"/>
                  </a:lnTo>
                  <a:lnTo>
                    <a:pt x="747153" y="506671"/>
                  </a:lnTo>
                  <a:lnTo>
                    <a:pt x="28662" y="506671"/>
                  </a:lnTo>
                  <a:close/>
                  <a:moveTo>
                    <a:pt x="229835" y="573636"/>
                  </a:moveTo>
                  <a:lnTo>
                    <a:pt x="52601" y="573636"/>
                  </a:lnTo>
                  <a:cubicBezTo>
                    <a:pt x="39406" y="573580"/>
                    <a:pt x="28718" y="562913"/>
                    <a:pt x="28662" y="549744"/>
                  </a:cubicBezTo>
                  <a:lnTo>
                    <a:pt x="28662" y="525852"/>
                  </a:lnTo>
                  <a:lnTo>
                    <a:pt x="747153" y="525852"/>
                  </a:lnTo>
                  <a:lnTo>
                    <a:pt x="747153" y="549744"/>
                  </a:lnTo>
                  <a:cubicBezTo>
                    <a:pt x="747097" y="562913"/>
                    <a:pt x="736408" y="573580"/>
                    <a:pt x="723214" y="573636"/>
                  </a:cubicBezTo>
                  <a:lnTo>
                    <a:pt x="229835" y="573636"/>
                  </a:ln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eform 58">
              <a:extLst>
                <a:ext uri="{FF2B5EF4-FFF2-40B4-BE49-F238E27FC236}">
                  <a16:creationId xmlns:a16="http://schemas.microsoft.com/office/drawing/2014/main" id="{C2DE36AD-4784-D149-8F78-0B1CDC78D675}"/>
                </a:ext>
              </a:extLst>
            </p:cNvPr>
            <p:cNvSpPr/>
            <p:nvPr/>
          </p:nvSpPr>
          <p:spPr>
            <a:xfrm>
              <a:off x="4365338" y="3057280"/>
              <a:ext cx="149751" cy="112750"/>
            </a:xfrm>
            <a:custGeom>
              <a:avLst/>
              <a:gdLst>
                <a:gd name="connsiteX0" fmla="*/ 40510 w 149751"/>
                <a:gd name="connsiteY0" fmla="*/ 109049 h 112750"/>
                <a:gd name="connsiteX1" fmla="*/ 49388 w 149751"/>
                <a:gd name="connsiteY1" fmla="*/ 112750 h 112750"/>
                <a:gd name="connsiteX2" fmla="*/ 58267 w 149751"/>
                <a:gd name="connsiteY2" fmla="*/ 109049 h 112750"/>
                <a:gd name="connsiteX3" fmla="*/ 146041 w 149751"/>
                <a:gd name="connsiteY3" fmla="*/ 21332 h 112750"/>
                <a:gd name="connsiteX4" fmla="*/ 146154 w 149751"/>
                <a:gd name="connsiteY4" fmla="*/ 3721 h 112750"/>
                <a:gd name="connsiteX5" fmla="*/ 146041 w 149751"/>
                <a:gd name="connsiteY5" fmla="*/ 3609 h 112750"/>
                <a:gd name="connsiteX6" fmla="*/ 128284 w 149751"/>
                <a:gd name="connsiteY6" fmla="*/ 3609 h 112750"/>
                <a:gd name="connsiteX7" fmla="*/ 49613 w 149751"/>
                <a:gd name="connsiteY7" fmla="*/ 82128 h 112750"/>
                <a:gd name="connsiteX8" fmla="*/ 20842 w 149751"/>
                <a:gd name="connsiteY8" fmla="*/ 53412 h 112750"/>
                <a:gd name="connsiteX9" fmla="*/ 3085 w 149751"/>
                <a:gd name="connsiteY9" fmla="*/ 54657 h 112750"/>
                <a:gd name="connsiteX10" fmla="*/ 3085 w 149751"/>
                <a:gd name="connsiteY10" fmla="*/ 71135 h 112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9751" h="112750">
                  <a:moveTo>
                    <a:pt x="40510" y="109049"/>
                  </a:moveTo>
                  <a:cubicBezTo>
                    <a:pt x="42836" y="111438"/>
                    <a:pt x="46051" y="112773"/>
                    <a:pt x="49388" y="112750"/>
                  </a:cubicBezTo>
                  <a:cubicBezTo>
                    <a:pt x="52726" y="112739"/>
                    <a:pt x="55918" y="111404"/>
                    <a:pt x="58267" y="109049"/>
                  </a:cubicBezTo>
                  <a:lnTo>
                    <a:pt x="146041" y="21332"/>
                  </a:lnTo>
                  <a:cubicBezTo>
                    <a:pt x="150942" y="16497"/>
                    <a:pt x="150998" y="8623"/>
                    <a:pt x="146154" y="3721"/>
                  </a:cubicBezTo>
                  <a:cubicBezTo>
                    <a:pt x="146120" y="3688"/>
                    <a:pt x="146075" y="3643"/>
                    <a:pt x="146041" y="3609"/>
                  </a:cubicBezTo>
                  <a:cubicBezTo>
                    <a:pt x="141108" y="-1203"/>
                    <a:pt x="133218" y="-1203"/>
                    <a:pt x="128284" y="3609"/>
                  </a:cubicBezTo>
                  <a:lnTo>
                    <a:pt x="49613" y="82128"/>
                  </a:lnTo>
                  <a:lnTo>
                    <a:pt x="20842" y="53412"/>
                  </a:lnTo>
                  <a:cubicBezTo>
                    <a:pt x="15594" y="48858"/>
                    <a:pt x="7648" y="49419"/>
                    <a:pt x="3085" y="54657"/>
                  </a:cubicBezTo>
                  <a:cubicBezTo>
                    <a:pt x="-1028" y="59391"/>
                    <a:pt x="-1028" y="66413"/>
                    <a:pt x="3085" y="71135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eform 59">
              <a:extLst>
                <a:ext uri="{FF2B5EF4-FFF2-40B4-BE49-F238E27FC236}">
                  <a16:creationId xmlns:a16="http://schemas.microsoft.com/office/drawing/2014/main" id="{F945467F-8440-E148-8A57-4EC225E071E0}"/>
                </a:ext>
              </a:extLst>
            </p:cNvPr>
            <p:cNvSpPr/>
            <p:nvPr/>
          </p:nvSpPr>
          <p:spPr>
            <a:xfrm>
              <a:off x="4097008" y="3082650"/>
              <a:ext cx="396164" cy="285359"/>
            </a:xfrm>
            <a:custGeom>
              <a:avLst/>
              <a:gdLst>
                <a:gd name="connsiteX0" fmla="*/ 395378 w 396164"/>
                <a:gd name="connsiteY0" fmla="*/ 259336 h 285359"/>
                <a:gd name="connsiteX1" fmla="*/ 396165 w 396164"/>
                <a:gd name="connsiteY1" fmla="*/ 34997 h 285359"/>
                <a:gd name="connsiteX2" fmla="*/ 378969 w 396164"/>
                <a:gd name="connsiteY2" fmla="*/ 52608 h 285359"/>
                <a:gd name="connsiteX3" fmla="*/ 378183 w 396164"/>
                <a:gd name="connsiteY3" fmla="*/ 259224 h 285359"/>
                <a:gd name="connsiteX4" fmla="*/ 369641 w 396164"/>
                <a:gd name="connsiteY4" fmla="*/ 267749 h 285359"/>
                <a:gd name="connsiteX5" fmla="*/ 369529 w 396164"/>
                <a:gd name="connsiteY5" fmla="*/ 267749 h 285359"/>
                <a:gd name="connsiteX6" fmla="*/ 25512 w 396164"/>
                <a:gd name="connsiteY6" fmla="*/ 266179 h 285359"/>
                <a:gd name="connsiteX7" fmla="*/ 16971 w 396164"/>
                <a:gd name="connsiteY7" fmla="*/ 257542 h 285359"/>
                <a:gd name="connsiteX8" fmla="*/ 17982 w 396164"/>
                <a:gd name="connsiteY8" fmla="*/ 25799 h 285359"/>
                <a:gd name="connsiteX9" fmla="*/ 26636 w 396164"/>
                <a:gd name="connsiteY9" fmla="*/ 17162 h 285359"/>
                <a:gd name="connsiteX10" fmla="*/ 261750 w 396164"/>
                <a:gd name="connsiteY10" fmla="*/ 18284 h 285359"/>
                <a:gd name="connsiteX11" fmla="*/ 261750 w 396164"/>
                <a:gd name="connsiteY11" fmla="*/ 1122 h 285359"/>
                <a:gd name="connsiteX12" fmla="*/ 26748 w 396164"/>
                <a:gd name="connsiteY12" fmla="*/ 0 h 285359"/>
                <a:gd name="connsiteX13" fmla="*/ 787 w 396164"/>
                <a:gd name="connsiteY13" fmla="*/ 25687 h 285359"/>
                <a:gd name="connsiteX14" fmla="*/ 0 w 396164"/>
                <a:gd name="connsiteY14" fmla="*/ 257990 h 285359"/>
                <a:gd name="connsiteX15" fmla="*/ 25625 w 396164"/>
                <a:gd name="connsiteY15" fmla="*/ 283789 h 285359"/>
                <a:gd name="connsiteX16" fmla="*/ 25625 w 396164"/>
                <a:gd name="connsiteY16" fmla="*/ 283789 h 285359"/>
                <a:gd name="connsiteX17" fmla="*/ 369754 w 396164"/>
                <a:gd name="connsiteY17" fmla="*/ 285360 h 285359"/>
                <a:gd name="connsiteX18" fmla="*/ 395378 w 396164"/>
                <a:gd name="connsiteY18" fmla="*/ 259561 h 285359"/>
                <a:gd name="connsiteX19" fmla="*/ 395378 w 396164"/>
                <a:gd name="connsiteY19" fmla="*/ 259336 h 285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96164" h="285359">
                  <a:moveTo>
                    <a:pt x="395378" y="259336"/>
                  </a:moveTo>
                  <a:lnTo>
                    <a:pt x="396165" y="34997"/>
                  </a:lnTo>
                  <a:lnTo>
                    <a:pt x="378969" y="52608"/>
                  </a:lnTo>
                  <a:lnTo>
                    <a:pt x="378183" y="259224"/>
                  </a:lnTo>
                  <a:cubicBezTo>
                    <a:pt x="378183" y="263935"/>
                    <a:pt x="374362" y="267749"/>
                    <a:pt x="369641" y="267749"/>
                  </a:cubicBezTo>
                  <a:cubicBezTo>
                    <a:pt x="369608" y="267749"/>
                    <a:pt x="369563" y="267749"/>
                    <a:pt x="369529" y="267749"/>
                  </a:cubicBezTo>
                  <a:lnTo>
                    <a:pt x="25512" y="266179"/>
                  </a:lnTo>
                  <a:cubicBezTo>
                    <a:pt x="20781" y="266123"/>
                    <a:pt x="16971" y="262264"/>
                    <a:pt x="16971" y="257542"/>
                  </a:cubicBezTo>
                  <a:lnTo>
                    <a:pt x="17982" y="25799"/>
                  </a:lnTo>
                  <a:cubicBezTo>
                    <a:pt x="17982" y="21032"/>
                    <a:pt x="21859" y="17162"/>
                    <a:pt x="26636" y="17162"/>
                  </a:cubicBezTo>
                  <a:lnTo>
                    <a:pt x="261750" y="18284"/>
                  </a:lnTo>
                  <a:lnTo>
                    <a:pt x="261750" y="1122"/>
                  </a:lnTo>
                  <a:lnTo>
                    <a:pt x="26748" y="0"/>
                  </a:lnTo>
                  <a:cubicBezTo>
                    <a:pt x="12498" y="0"/>
                    <a:pt x="911" y="11464"/>
                    <a:pt x="787" y="25687"/>
                  </a:cubicBezTo>
                  <a:lnTo>
                    <a:pt x="0" y="257990"/>
                  </a:lnTo>
                  <a:cubicBezTo>
                    <a:pt x="-67" y="272180"/>
                    <a:pt x="11408" y="283722"/>
                    <a:pt x="25625" y="283789"/>
                  </a:cubicBezTo>
                  <a:cubicBezTo>
                    <a:pt x="25625" y="283789"/>
                    <a:pt x="25625" y="283789"/>
                    <a:pt x="25625" y="283789"/>
                  </a:cubicBezTo>
                  <a:lnTo>
                    <a:pt x="369754" y="285360"/>
                  </a:lnTo>
                  <a:cubicBezTo>
                    <a:pt x="383971" y="285304"/>
                    <a:pt x="395445" y="273750"/>
                    <a:pt x="395378" y="259561"/>
                  </a:cubicBezTo>
                  <a:cubicBezTo>
                    <a:pt x="395378" y="259482"/>
                    <a:pt x="395378" y="259415"/>
                    <a:pt x="395378" y="259336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eform 60">
              <a:extLst>
                <a:ext uri="{FF2B5EF4-FFF2-40B4-BE49-F238E27FC236}">
                  <a16:creationId xmlns:a16="http://schemas.microsoft.com/office/drawing/2014/main" id="{17334065-4F13-184F-8D33-EF52EFF9AC33}"/>
                </a:ext>
              </a:extLst>
            </p:cNvPr>
            <p:cNvSpPr/>
            <p:nvPr/>
          </p:nvSpPr>
          <p:spPr>
            <a:xfrm>
              <a:off x="4126228" y="3111366"/>
              <a:ext cx="277708" cy="153226"/>
            </a:xfrm>
            <a:custGeom>
              <a:avLst/>
              <a:gdLst>
                <a:gd name="connsiteX0" fmla="*/ 168918 w 277708"/>
                <a:gd name="connsiteY0" fmla="*/ 153224 h 153226"/>
                <a:gd name="connsiteX1" fmla="*/ 217694 w 277708"/>
                <a:gd name="connsiteY1" fmla="*/ 133370 h 153226"/>
                <a:gd name="connsiteX2" fmla="*/ 277709 w 277708"/>
                <a:gd name="connsiteY2" fmla="*/ 73696 h 153226"/>
                <a:gd name="connsiteX3" fmla="*/ 264784 w 277708"/>
                <a:gd name="connsiteY3" fmla="*/ 62479 h 153226"/>
                <a:gd name="connsiteX4" fmla="*/ 205556 w 277708"/>
                <a:gd name="connsiteY4" fmla="*/ 121143 h 153226"/>
                <a:gd name="connsiteX5" fmla="*/ 132617 w 277708"/>
                <a:gd name="connsiteY5" fmla="*/ 121143 h 153226"/>
                <a:gd name="connsiteX6" fmla="*/ 12250 w 277708"/>
                <a:gd name="connsiteY6" fmla="*/ 0 h 153226"/>
                <a:gd name="connsiteX7" fmla="*/ 0 w 277708"/>
                <a:gd name="connsiteY7" fmla="*/ 12114 h 153226"/>
                <a:gd name="connsiteX8" fmla="*/ 120367 w 277708"/>
                <a:gd name="connsiteY8" fmla="*/ 133258 h 153226"/>
                <a:gd name="connsiteX9" fmla="*/ 168918 w 277708"/>
                <a:gd name="connsiteY9" fmla="*/ 153224 h 153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7708" h="153226">
                  <a:moveTo>
                    <a:pt x="168918" y="153224"/>
                  </a:moveTo>
                  <a:cubicBezTo>
                    <a:pt x="187181" y="153392"/>
                    <a:pt x="204758" y="146236"/>
                    <a:pt x="217694" y="133370"/>
                  </a:cubicBezTo>
                  <a:lnTo>
                    <a:pt x="277709" y="73696"/>
                  </a:lnTo>
                  <a:lnTo>
                    <a:pt x="264784" y="62479"/>
                  </a:lnTo>
                  <a:lnTo>
                    <a:pt x="205556" y="121143"/>
                  </a:lnTo>
                  <a:cubicBezTo>
                    <a:pt x="185416" y="141244"/>
                    <a:pt x="152756" y="141244"/>
                    <a:pt x="132617" y="121143"/>
                  </a:cubicBezTo>
                  <a:lnTo>
                    <a:pt x="12250" y="0"/>
                  </a:lnTo>
                  <a:lnTo>
                    <a:pt x="0" y="12114"/>
                  </a:lnTo>
                  <a:lnTo>
                    <a:pt x="120367" y="133258"/>
                  </a:lnTo>
                  <a:cubicBezTo>
                    <a:pt x="133224" y="146124"/>
                    <a:pt x="150711" y="153314"/>
                    <a:pt x="168918" y="153224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eform 61">
              <a:extLst>
                <a:ext uri="{FF2B5EF4-FFF2-40B4-BE49-F238E27FC236}">
                  <a16:creationId xmlns:a16="http://schemas.microsoft.com/office/drawing/2014/main" id="{D0F51414-B1FA-F64B-8367-D9D99F8B88D8}"/>
                </a:ext>
              </a:extLst>
            </p:cNvPr>
            <p:cNvSpPr/>
            <p:nvPr/>
          </p:nvSpPr>
          <p:spPr>
            <a:xfrm>
              <a:off x="4125412" y="3231517"/>
              <a:ext cx="107180" cy="106225"/>
            </a:xfrm>
            <a:custGeom>
              <a:avLst/>
              <a:gdLst>
                <a:gd name="connsiteX0" fmla="*/ 0 w 107180"/>
                <a:gd name="connsiteY0" fmla="*/ 94036 h 106225"/>
                <a:gd name="connsiteX1" fmla="*/ 95077 w 107180"/>
                <a:gd name="connsiteY1" fmla="*/ 0 h 106225"/>
                <a:gd name="connsiteX2" fmla="*/ 107180 w 107180"/>
                <a:gd name="connsiteY2" fmla="*/ 12190 h 106225"/>
                <a:gd name="connsiteX3" fmla="*/ 12104 w 107180"/>
                <a:gd name="connsiteY3" fmla="*/ 106226 h 10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180" h="106225">
                  <a:moveTo>
                    <a:pt x="0" y="94036"/>
                  </a:moveTo>
                  <a:lnTo>
                    <a:pt x="95077" y="0"/>
                  </a:lnTo>
                  <a:lnTo>
                    <a:pt x="107180" y="12190"/>
                  </a:lnTo>
                  <a:lnTo>
                    <a:pt x="12104" y="106226"/>
                  </a:ln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 62">
              <a:extLst>
                <a:ext uri="{FF2B5EF4-FFF2-40B4-BE49-F238E27FC236}">
                  <a16:creationId xmlns:a16="http://schemas.microsoft.com/office/drawing/2014/main" id="{E40076C7-3B79-BA46-B062-946D3DBC810E}"/>
                </a:ext>
              </a:extLst>
            </p:cNvPr>
            <p:cNvSpPr/>
            <p:nvPr/>
          </p:nvSpPr>
          <p:spPr>
            <a:xfrm>
              <a:off x="4357959" y="3232170"/>
              <a:ext cx="106431" cy="106973"/>
            </a:xfrm>
            <a:custGeom>
              <a:avLst/>
              <a:gdLst>
                <a:gd name="connsiteX0" fmla="*/ 0 w 106431"/>
                <a:gd name="connsiteY0" fmla="*/ 12080 h 106973"/>
                <a:gd name="connsiteX1" fmla="*/ 12214 w 106431"/>
                <a:gd name="connsiteY1" fmla="*/ 0 h 106973"/>
                <a:gd name="connsiteX2" fmla="*/ 106432 w 106431"/>
                <a:gd name="connsiteY2" fmla="*/ 94893 h 106973"/>
                <a:gd name="connsiteX3" fmla="*/ 94218 w 106431"/>
                <a:gd name="connsiteY3" fmla="*/ 106973 h 106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6431" h="106973">
                  <a:moveTo>
                    <a:pt x="0" y="12080"/>
                  </a:moveTo>
                  <a:lnTo>
                    <a:pt x="12214" y="0"/>
                  </a:lnTo>
                  <a:lnTo>
                    <a:pt x="106432" y="94893"/>
                  </a:lnTo>
                  <a:lnTo>
                    <a:pt x="94218" y="106973"/>
                  </a:ln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2" name="Freeform 191">
              <a:extLst>
                <a:ext uri="{FF2B5EF4-FFF2-40B4-BE49-F238E27FC236}">
                  <a16:creationId xmlns:a16="http://schemas.microsoft.com/office/drawing/2014/main" id="{975BEBB7-78D0-6E48-A822-71C2E317BF16}"/>
                </a:ext>
              </a:extLst>
            </p:cNvPr>
            <p:cNvSpPr/>
            <p:nvPr/>
          </p:nvSpPr>
          <p:spPr>
            <a:xfrm>
              <a:off x="7918972" y="5273190"/>
              <a:ext cx="605436" cy="403161"/>
            </a:xfrm>
            <a:custGeom>
              <a:avLst/>
              <a:gdLst>
                <a:gd name="connsiteX0" fmla="*/ 595859 w 605436"/>
                <a:gd name="connsiteY0" fmla="*/ 368275 h 403161"/>
                <a:gd name="connsiteX1" fmla="*/ 30439 w 605436"/>
                <a:gd name="connsiteY1" fmla="*/ 4060 h 403161"/>
                <a:gd name="connsiteX2" fmla="*/ 4074 w 605436"/>
                <a:gd name="connsiteY2" fmla="*/ 7089 h 403161"/>
                <a:gd name="connsiteX3" fmla="*/ 7097 w 605436"/>
                <a:gd name="connsiteY3" fmla="*/ 33404 h 403161"/>
                <a:gd name="connsiteX4" fmla="*/ 8749 w 605436"/>
                <a:gd name="connsiteY4" fmla="*/ 34570 h 403161"/>
                <a:gd name="connsiteX5" fmla="*/ 577315 w 605436"/>
                <a:gd name="connsiteY5" fmla="*/ 400804 h 403161"/>
                <a:gd name="connsiteX6" fmla="*/ 586531 w 605436"/>
                <a:gd name="connsiteY6" fmla="*/ 403160 h 403161"/>
                <a:gd name="connsiteX7" fmla="*/ 605435 w 605436"/>
                <a:gd name="connsiteY7" fmla="*/ 384787 h 403161"/>
                <a:gd name="connsiteX8" fmla="*/ 595859 w 605436"/>
                <a:gd name="connsiteY8" fmla="*/ 368275 h 403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05436" h="403161">
                  <a:moveTo>
                    <a:pt x="595859" y="368275"/>
                  </a:moveTo>
                  <a:cubicBezTo>
                    <a:pt x="352316" y="230418"/>
                    <a:pt x="33923" y="6304"/>
                    <a:pt x="30439" y="4060"/>
                  </a:cubicBezTo>
                  <a:cubicBezTo>
                    <a:pt x="22325" y="-2367"/>
                    <a:pt x="10514" y="-1021"/>
                    <a:pt x="4074" y="7089"/>
                  </a:cubicBezTo>
                  <a:cubicBezTo>
                    <a:pt x="-2378" y="15187"/>
                    <a:pt x="-1017" y="26976"/>
                    <a:pt x="7097" y="33404"/>
                  </a:cubicBezTo>
                  <a:cubicBezTo>
                    <a:pt x="7625" y="33819"/>
                    <a:pt x="8176" y="34212"/>
                    <a:pt x="8749" y="34570"/>
                  </a:cubicBezTo>
                  <a:cubicBezTo>
                    <a:pt x="12008" y="36814"/>
                    <a:pt x="332199" y="262050"/>
                    <a:pt x="577315" y="400804"/>
                  </a:cubicBezTo>
                  <a:cubicBezTo>
                    <a:pt x="580147" y="402330"/>
                    <a:pt x="583317" y="403138"/>
                    <a:pt x="586531" y="403160"/>
                  </a:cubicBezTo>
                  <a:cubicBezTo>
                    <a:pt x="596837" y="403295"/>
                    <a:pt x="605299" y="395073"/>
                    <a:pt x="605435" y="384787"/>
                  </a:cubicBezTo>
                  <a:cubicBezTo>
                    <a:pt x="605524" y="377944"/>
                    <a:pt x="601849" y="371607"/>
                    <a:pt x="595859" y="368275"/>
                  </a:cubicBezTo>
                  <a:close/>
                </a:path>
              </a:pathLst>
            </a:custGeom>
            <a:solidFill>
              <a:srgbClr val="231F20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3" name="Freeform 192">
              <a:extLst>
                <a:ext uri="{FF2B5EF4-FFF2-40B4-BE49-F238E27FC236}">
                  <a16:creationId xmlns:a16="http://schemas.microsoft.com/office/drawing/2014/main" id="{AC5E4A80-3313-F541-8D73-9C75EAFA493B}"/>
                </a:ext>
              </a:extLst>
            </p:cNvPr>
            <p:cNvSpPr/>
            <p:nvPr/>
          </p:nvSpPr>
          <p:spPr>
            <a:xfrm>
              <a:off x="5915880" y="2271439"/>
              <a:ext cx="38436" cy="147727"/>
            </a:xfrm>
            <a:custGeom>
              <a:avLst/>
              <a:gdLst>
                <a:gd name="connsiteX0" fmla="*/ 0 w 38436"/>
                <a:gd name="connsiteY0" fmla="*/ 19181 h 147727"/>
                <a:gd name="connsiteX1" fmla="*/ 0 w 38436"/>
                <a:gd name="connsiteY1" fmla="*/ 128547 h 147727"/>
                <a:gd name="connsiteX2" fmla="*/ 19218 w 38436"/>
                <a:gd name="connsiteY2" fmla="*/ 147728 h 147727"/>
                <a:gd name="connsiteX3" fmla="*/ 38436 w 38436"/>
                <a:gd name="connsiteY3" fmla="*/ 128547 h 147727"/>
                <a:gd name="connsiteX4" fmla="*/ 38436 w 38436"/>
                <a:gd name="connsiteY4" fmla="*/ 19181 h 147727"/>
                <a:gd name="connsiteX5" fmla="*/ 19218 w 38436"/>
                <a:gd name="connsiteY5" fmla="*/ 0 h 147727"/>
                <a:gd name="connsiteX6" fmla="*/ 0 w 38436"/>
                <a:gd name="connsiteY6" fmla="*/ 19181 h 147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436" h="147727">
                  <a:moveTo>
                    <a:pt x="0" y="19181"/>
                  </a:moveTo>
                  <a:lnTo>
                    <a:pt x="0" y="128547"/>
                  </a:lnTo>
                  <a:cubicBezTo>
                    <a:pt x="0" y="139135"/>
                    <a:pt x="8609" y="147728"/>
                    <a:pt x="19218" y="147728"/>
                  </a:cubicBezTo>
                  <a:cubicBezTo>
                    <a:pt x="29827" y="147728"/>
                    <a:pt x="38436" y="139135"/>
                    <a:pt x="38436" y="128547"/>
                  </a:cubicBezTo>
                  <a:lnTo>
                    <a:pt x="38436" y="19181"/>
                  </a:lnTo>
                  <a:cubicBezTo>
                    <a:pt x="38436" y="8592"/>
                    <a:pt x="29827" y="0"/>
                    <a:pt x="19218" y="0"/>
                  </a:cubicBezTo>
                  <a:cubicBezTo>
                    <a:pt x="8609" y="0"/>
                    <a:pt x="0" y="8592"/>
                    <a:pt x="0" y="19181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4" name="Freeform 193">
              <a:extLst>
                <a:ext uri="{FF2B5EF4-FFF2-40B4-BE49-F238E27FC236}">
                  <a16:creationId xmlns:a16="http://schemas.microsoft.com/office/drawing/2014/main" id="{273B4D7B-0E66-EA4A-BACF-71C07EA8412D}"/>
                </a:ext>
              </a:extLst>
            </p:cNvPr>
            <p:cNvSpPr/>
            <p:nvPr/>
          </p:nvSpPr>
          <p:spPr>
            <a:xfrm>
              <a:off x="5993652" y="2202342"/>
              <a:ext cx="38436" cy="216824"/>
            </a:xfrm>
            <a:custGeom>
              <a:avLst/>
              <a:gdLst>
                <a:gd name="connsiteX0" fmla="*/ 38437 w 38436"/>
                <a:gd name="connsiteY0" fmla="*/ 19181 h 216824"/>
                <a:gd name="connsiteX1" fmla="*/ 19218 w 38436"/>
                <a:gd name="connsiteY1" fmla="*/ 0 h 216824"/>
                <a:gd name="connsiteX2" fmla="*/ 0 w 38436"/>
                <a:gd name="connsiteY2" fmla="*/ 19181 h 216824"/>
                <a:gd name="connsiteX3" fmla="*/ 0 w 38436"/>
                <a:gd name="connsiteY3" fmla="*/ 197643 h 216824"/>
                <a:gd name="connsiteX4" fmla="*/ 19218 w 38436"/>
                <a:gd name="connsiteY4" fmla="*/ 216824 h 216824"/>
                <a:gd name="connsiteX5" fmla="*/ 38437 w 38436"/>
                <a:gd name="connsiteY5" fmla="*/ 197643 h 216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436" h="216824">
                  <a:moveTo>
                    <a:pt x="38437" y="19181"/>
                  </a:moveTo>
                  <a:cubicBezTo>
                    <a:pt x="38437" y="8592"/>
                    <a:pt x="29828" y="0"/>
                    <a:pt x="19218" y="0"/>
                  </a:cubicBezTo>
                  <a:cubicBezTo>
                    <a:pt x="8609" y="0"/>
                    <a:pt x="0" y="8592"/>
                    <a:pt x="0" y="19181"/>
                  </a:cubicBezTo>
                  <a:lnTo>
                    <a:pt x="0" y="197643"/>
                  </a:lnTo>
                  <a:cubicBezTo>
                    <a:pt x="0" y="208232"/>
                    <a:pt x="8609" y="216824"/>
                    <a:pt x="19218" y="216824"/>
                  </a:cubicBezTo>
                  <a:cubicBezTo>
                    <a:pt x="29828" y="216824"/>
                    <a:pt x="38437" y="208232"/>
                    <a:pt x="38437" y="197643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5" name="Freeform 194">
              <a:extLst>
                <a:ext uri="{FF2B5EF4-FFF2-40B4-BE49-F238E27FC236}">
                  <a16:creationId xmlns:a16="http://schemas.microsoft.com/office/drawing/2014/main" id="{4337B7D7-A887-CD45-91D2-B1CE0ED1A301}"/>
                </a:ext>
              </a:extLst>
            </p:cNvPr>
            <p:cNvSpPr/>
            <p:nvPr/>
          </p:nvSpPr>
          <p:spPr>
            <a:xfrm>
              <a:off x="6069738" y="2253278"/>
              <a:ext cx="38548" cy="164531"/>
            </a:xfrm>
            <a:custGeom>
              <a:avLst/>
              <a:gdLst>
                <a:gd name="connsiteX0" fmla="*/ 38549 w 38548"/>
                <a:gd name="connsiteY0" fmla="*/ 146707 h 164531"/>
                <a:gd name="connsiteX1" fmla="*/ 38549 w 38548"/>
                <a:gd name="connsiteY1" fmla="*/ 17824 h 164531"/>
                <a:gd name="connsiteX2" fmla="*/ 17802 w 38548"/>
                <a:gd name="connsiteY2" fmla="*/ 56 h 164531"/>
                <a:gd name="connsiteX3" fmla="*/ 0 w 38548"/>
                <a:gd name="connsiteY3" fmla="*/ 17824 h 164531"/>
                <a:gd name="connsiteX4" fmla="*/ 0 w 38548"/>
                <a:gd name="connsiteY4" fmla="*/ 146707 h 164531"/>
                <a:gd name="connsiteX5" fmla="*/ 20747 w 38548"/>
                <a:gd name="connsiteY5" fmla="*/ 164475 h 164531"/>
                <a:gd name="connsiteX6" fmla="*/ 38549 w 38548"/>
                <a:gd name="connsiteY6" fmla="*/ 146707 h 164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548" h="164531">
                  <a:moveTo>
                    <a:pt x="38549" y="146707"/>
                  </a:moveTo>
                  <a:lnTo>
                    <a:pt x="38549" y="17824"/>
                  </a:lnTo>
                  <a:cubicBezTo>
                    <a:pt x="37740" y="7202"/>
                    <a:pt x="28445" y="-751"/>
                    <a:pt x="17802" y="56"/>
                  </a:cubicBezTo>
                  <a:cubicBezTo>
                    <a:pt x="8283" y="786"/>
                    <a:pt x="731" y="8323"/>
                    <a:pt x="0" y="17824"/>
                  </a:cubicBezTo>
                  <a:lnTo>
                    <a:pt x="0" y="146707"/>
                  </a:lnTo>
                  <a:cubicBezTo>
                    <a:pt x="809" y="157330"/>
                    <a:pt x="10103" y="165283"/>
                    <a:pt x="20747" y="164475"/>
                  </a:cubicBezTo>
                  <a:cubicBezTo>
                    <a:pt x="30266" y="163746"/>
                    <a:pt x="37818" y="156208"/>
                    <a:pt x="38549" y="146707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6" name="Freeform 195">
              <a:extLst>
                <a:ext uri="{FF2B5EF4-FFF2-40B4-BE49-F238E27FC236}">
                  <a16:creationId xmlns:a16="http://schemas.microsoft.com/office/drawing/2014/main" id="{98ADE9FF-3483-AE40-9A65-2773175B2B1A}"/>
                </a:ext>
              </a:extLst>
            </p:cNvPr>
            <p:cNvSpPr/>
            <p:nvPr/>
          </p:nvSpPr>
          <p:spPr>
            <a:xfrm>
              <a:off x="6146498" y="2197856"/>
              <a:ext cx="38436" cy="221310"/>
            </a:xfrm>
            <a:custGeom>
              <a:avLst/>
              <a:gdLst>
                <a:gd name="connsiteX0" fmla="*/ 38437 w 38436"/>
                <a:gd name="connsiteY0" fmla="*/ 202130 h 221310"/>
                <a:gd name="connsiteX1" fmla="*/ 38437 w 38436"/>
                <a:gd name="connsiteY1" fmla="*/ 19181 h 221310"/>
                <a:gd name="connsiteX2" fmla="*/ 19218 w 38436"/>
                <a:gd name="connsiteY2" fmla="*/ 0 h 221310"/>
                <a:gd name="connsiteX3" fmla="*/ 0 w 38436"/>
                <a:gd name="connsiteY3" fmla="*/ 19181 h 221310"/>
                <a:gd name="connsiteX4" fmla="*/ 0 w 38436"/>
                <a:gd name="connsiteY4" fmla="*/ 202130 h 221310"/>
                <a:gd name="connsiteX5" fmla="*/ 19218 w 38436"/>
                <a:gd name="connsiteY5" fmla="*/ 221311 h 221310"/>
                <a:gd name="connsiteX6" fmla="*/ 38437 w 38436"/>
                <a:gd name="connsiteY6" fmla="*/ 202130 h 221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436" h="221310">
                  <a:moveTo>
                    <a:pt x="38437" y="202130"/>
                  </a:moveTo>
                  <a:lnTo>
                    <a:pt x="38437" y="19181"/>
                  </a:lnTo>
                  <a:cubicBezTo>
                    <a:pt x="38437" y="8592"/>
                    <a:pt x="29828" y="0"/>
                    <a:pt x="19218" y="0"/>
                  </a:cubicBezTo>
                  <a:cubicBezTo>
                    <a:pt x="8609" y="0"/>
                    <a:pt x="0" y="8592"/>
                    <a:pt x="0" y="19181"/>
                  </a:cubicBezTo>
                  <a:lnTo>
                    <a:pt x="0" y="202130"/>
                  </a:lnTo>
                  <a:cubicBezTo>
                    <a:pt x="0" y="212719"/>
                    <a:pt x="8609" y="221311"/>
                    <a:pt x="19218" y="221311"/>
                  </a:cubicBezTo>
                  <a:cubicBezTo>
                    <a:pt x="29828" y="221311"/>
                    <a:pt x="38437" y="212719"/>
                    <a:pt x="38437" y="202130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7" name="Freeform 196">
              <a:extLst>
                <a:ext uri="{FF2B5EF4-FFF2-40B4-BE49-F238E27FC236}">
                  <a16:creationId xmlns:a16="http://schemas.microsoft.com/office/drawing/2014/main" id="{0DDF9EBE-08ED-E84E-9EAD-C803E7433B09}"/>
                </a:ext>
              </a:extLst>
            </p:cNvPr>
            <p:cNvSpPr/>
            <p:nvPr/>
          </p:nvSpPr>
          <p:spPr>
            <a:xfrm>
              <a:off x="6223146" y="2149398"/>
              <a:ext cx="38436" cy="269768"/>
            </a:xfrm>
            <a:custGeom>
              <a:avLst/>
              <a:gdLst>
                <a:gd name="connsiteX0" fmla="*/ 38437 w 38436"/>
                <a:gd name="connsiteY0" fmla="*/ 250587 h 269768"/>
                <a:gd name="connsiteX1" fmla="*/ 38437 w 38436"/>
                <a:gd name="connsiteY1" fmla="*/ 19181 h 269768"/>
                <a:gd name="connsiteX2" fmla="*/ 19218 w 38436"/>
                <a:gd name="connsiteY2" fmla="*/ 0 h 269768"/>
                <a:gd name="connsiteX3" fmla="*/ 0 w 38436"/>
                <a:gd name="connsiteY3" fmla="*/ 19181 h 269768"/>
                <a:gd name="connsiteX4" fmla="*/ 0 w 38436"/>
                <a:gd name="connsiteY4" fmla="*/ 250587 h 269768"/>
                <a:gd name="connsiteX5" fmla="*/ 19218 w 38436"/>
                <a:gd name="connsiteY5" fmla="*/ 269768 h 269768"/>
                <a:gd name="connsiteX6" fmla="*/ 38437 w 38436"/>
                <a:gd name="connsiteY6" fmla="*/ 250587 h 269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436" h="269768">
                  <a:moveTo>
                    <a:pt x="38437" y="250587"/>
                  </a:moveTo>
                  <a:lnTo>
                    <a:pt x="38437" y="19181"/>
                  </a:lnTo>
                  <a:cubicBezTo>
                    <a:pt x="38437" y="8592"/>
                    <a:pt x="29827" y="0"/>
                    <a:pt x="19218" y="0"/>
                  </a:cubicBezTo>
                  <a:cubicBezTo>
                    <a:pt x="8609" y="0"/>
                    <a:pt x="0" y="8592"/>
                    <a:pt x="0" y="19181"/>
                  </a:cubicBezTo>
                  <a:lnTo>
                    <a:pt x="0" y="250587"/>
                  </a:lnTo>
                  <a:cubicBezTo>
                    <a:pt x="0" y="261176"/>
                    <a:pt x="8609" y="269768"/>
                    <a:pt x="19218" y="269768"/>
                  </a:cubicBezTo>
                  <a:cubicBezTo>
                    <a:pt x="29827" y="269768"/>
                    <a:pt x="38437" y="261176"/>
                    <a:pt x="38437" y="250587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8" name="Freeform 197">
              <a:extLst>
                <a:ext uri="{FF2B5EF4-FFF2-40B4-BE49-F238E27FC236}">
                  <a16:creationId xmlns:a16="http://schemas.microsoft.com/office/drawing/2014/main" id="{2CD83D18-83EE-8446-A6AF-8FEFB40B8B2F}"/>
                </a:ext>
              </a:extLst>
            </p:cNvPr>
            <p:cNvSpPr/>
            <p:nvPr/>
          </p:nvSpPr>
          <p:spPr>
            <a:xfrm>
              <a:off x="6299794" y="2085349"/>
              <a:ext cx="38436" cy="333817"/>
            </a:xfrm>
            <a:custGeom>
              <a:avLst/>
              <a:gdLst>
                <a:gd name="connsiteX0" fmla="*/ 38436 w 38436"/>
                <a:gd name="connsiteY0" fmla="*/ 314636 h 333817"/>
                <a:gd name="connsiteX1" fmla="*/ 38436 w 38436"/>
                <a:gd name="connsiteY1" fmla="*/ 19181 h 333817"/>
                <a:gd name="connsiteX2" fmla="*/ 19218 w 38436"/>
                <a:gd name="connsiteY2" fmla="*/ 0 h 333817"/>
                <a:gd name="connsiteX3" fmla="*/ 0 w 38436"/>
                <a:gd name="connsiteY3" fmla="*/ 19181 h 333817"/>
                <a:gd name="connsiteX4" fmla="*/ 0 w 38436"/>
                <a:gd name="connsiteY4" fmla="*/ 314636 h 333817"/>
                <a:gd name="connsiteX5" fmla="*/ 19218 w 38436"/>
                <a:gd name="connsiteY5" fmla="*/ 333817 h 333817"/>
                <a:gd name="connsiteX6" fmla="*/ 38436 w 38436"/>
                <a:gd name="connsiteY6" fmla="*/ 314636 h 333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436" h="333817">
                  <a:moveTo>
                    <a:pt x="38436" y="314636"/>
                  </a:moveTo>
                  <a:lnTo>
                    <a:pt x="38436" y="19181"/>
                  </a:lnTo>
                  <a:cubicBezTo>
                    <a:pt x="38436" y="8592"/>
                    <a:pt x="29827" y="0"/>
                    <a:pt x="19218" y="0"/>
                  </a:cubicBezTo>
                  <a:cubicBezTo>
                    <a:pt x="8609" y="0"/>
                    <a:pt x="0" y="8592"/>
                    <a:pt x="0" y="19181"/>
                  </a:cubicBezTo>
                  <a:lnTo>
                    <a:pt x="0" y="314636"/>
                  </a:lnTo>
                  <a:cubicBezTo>
                    <a:pt x="0" y="325225"/>
                    <a:pt x="8609" y="333817"/>
                    <a:pt x="19218" y="333817"/>
                  </a:cubicBezTo>
                  <a:cubicBezTo>
                    <a:pt x="29827" y="333817"/>
                    <a:pt x="38436" y="325225"/>
                    <a:pt x="38436" y="314636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9" name="Freeform 198">
              <a:extLst>
                <a:ext uri="{FF2B5EF4-FFF2-40B4-BE49-F238E27FC236}">
                  <a16:creationId xmlns:a16="http://schemas.microsoft.com/office/drawing/2014/main" id="{D3A09CBD-9B81-4949-A47F-FA0065C956FE}"/>
                </a:ext>
              </a:extLst>
            </p:cNvPr>
            <p:cNvSpPr/>
            <p:nvPr/>
          </p:nvSpPr>
          <p:spPr>
            <a:xfrm>
              <a:off x="5912247" y="1995926"/>
              <a:ext cx="487431" cy="246135"/>
            </a:xfrm>
            <a:custGeom>
              <a:avLst/>
              <a:gdLst>
                <a:gd name="connsiteX0" fmla="*/ 2172 w 487431"/>
                <a:gd name="connsiteY0" fmla="*/ 228290 h 246135"/>
                <a:gd name="connsiteX1" fmla="*/ 4599 w 487431"/>
                <a:gd name="connsiteY1" fmla="*/ 243971 h 246135"/>
                <a:gd name="connsiteX2" fmla="*/ 11725 w 487431"/>
                <a:gd name="connsiteY2" fmla="*/ 246125 h 246135"/>
                <a:gd name="connsiteX3" fmla="*/ 20941 w 487431"/>
                <a:gd name="connsiteY3" fmla="*/ 241638 h 246135"/>
                <a:gd name="connsiteX4" fmla="*/ 102421 w 487431"/>
                <a:gd name="connsiteY4" fmla="*/ 165811 h 246135"/>
                <a:gd name="connsiteX5" fmla="*/ 167830 w 487431"/>
                <a:gd name="connsiteY5" fmla="*/ 218307 h 246135"/>
                <a:gd name="connsiteX6" fmla="*/ 188847 w 487431"/>
                <a:gd name="connsiteY6" fmla="*/ 219092 h 246135"/>
                <a:gd name="connsiteX7" fmla="*/ 430367 w 487431"/>
                <a:gd name="connsiteY7" fmla="*/ 54763 h 246135"/>
                <a:gd name="connsiteX8" fmla="*/ 444528 w 487431"/>
                <a:gd name="connsiteY8" fmla="*/ 75402 h 246135"/>
                <a:gd name="connsiteX9" fmla="*/ 452934 w 487431"/>
                <a:gd name="connsiteY9" fmla="*/ 77119 h 246135"/>
                <a:gd name="connsiteX10" fmla="*/ 455092 w 487431"/>
                <a:gd name="connsiteY10" fmla="*/ 74617 h 246135"/>
                <a:gd name="connsiteX11" fmla="*/ 486785 w 487431"/>
                <a:gd name="connsiteY11" fmla="*/ 8774 h 246135"/>
                <a:gd name="connsiteX12" fmla="*/ 484076 w 487431"/>
                <a:gd name="connsiteY12" fmla="*/ 641 h 246135"/>
                <a:gd name="connsiteX13" fmla="*/ 480828 w 487431"/>
                <a:gd name="connsiteY13" fmla="*/ 24 h 246135"/>
                <a:gd name="connsiteX14" fmla="*/ 407777 w 487431"/>
                <a:gd name="connsiteY14" fmla="*/ 5521 h 246135"/>
                <a:gd name="connsiteX15" fmla="*/ 402292 w 487431"/>
                <a:gd name="connsiteY15" fmla="*/ 12318 h 246135"/>
                <a:gd name="connsiteX16" fmla="*/ 403281 w 487431"/>
                <a:gd name="connsiteY16" fmla="*/ 15055 h 246135"/>
                <a:gd name="connsiteX17" fmla="*/ 417330 w 487431"/>
                <a:gd name="connsiteY17" fmla="*/ 35694 h 246135"/>
                <a:gd name="connsiteX18" fmla="*/ 179181 w 487431"/>
                <a:gd name="connsiteY18" fmla="*/ 198004 h 246135"/>
                <a:gd name="connsiteX19" fmla="*/ 113323 w 487431"/>
                <a:gd name="connsiteY19" fmla="*/ 144499 h 246135"/>
                <a:gd name="connsiteX20" fmla="*/ 90283 w 487431"/>
                <a:gd name="connsiteY20" fmla="*/ 145172 h 246135"/>
                <a:gd name="connsiteX21" fmla="*/ 2172 w 487431"/>
                <a:gd name="connsiteY21" fmla="*/ 228290 h 246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87431" h="246135">
                  <a:moveTo>
                    <a:pt x="2172" y="228290"/>
                  </a:moveTo>
                  <a:cubicBezTo>
                    <a:pt x="-1492" y="233293"/>
                    <a:pt x="-413" y="240303"/>
                    <a:pt x="4599" y="243971"/>
                  </a:cubicBezTo>
                  <a:cubicBezTo>
                    <a:pt x="6656" y="245474"/>
                    <a:pt x="9174" y="246237"/>
                    <a:pt x="11725" y="246125"/>
                  </a:cubicBezTo>
                  <a:cubicBezTo>
                    <a:pt x="15344" y="246192"/>
                    <a:pt x="18771" y="244532"/>
                    <a:pt x="20941" y="241638"/>
                  </a:cubicBezTo>
                  <a:cubicBezTo>
                    <a:pt x="24762" y="237263"/>
                    <a:pt x="57241" y="207090"/>
                    <a:pt x="102421" y="165811"/>
                  </a:cubicBezTo>
                  <a:lnTo>
                    <a:pt x="167830" y="218307"/>
                  </a:lnTo>
                  <a:cubicBezTo>
                    <a:pt x="173911" y="223130"/>
                    <a:pt x="182418" y="223444"/>
                    <a:pt x="188847" y="219092"/>
                  </a:cubicBezTo>
                  <a:lnTo>
                    <a:pt x="430367" y="54763"/>
                  </a:lnTo>
                  <a:lnTo>
                    <a:pt x="444528" y="75402"/>
                  </a:lnTo>
                  <a:cubicBezTo>
                    <a:pt x="446382" y="78195"/>
                    <a:pt x="450147" y="78958"/>
                    <a:pt x="452934" y="77119"/>
                  </a:cubicBezTo>
                  <a:cubicBezTo>
                    <a:pt x="453878" y="76502"/>
                    <a:pt x="454620" y="75627"/>
                    <a:pt x="455092" y="74617"/>
                  </a:cubicBezTo>
                  <a:lnTo>
                    <a:pt x="486785" y="8774"/>
                  </a:lnTo>
                  <a:cubicBezTo>
                    <a:pt x="488291" y="5779"/>
                    <a:pt x="487077" y="2144"/>
                    <a:pt x="484076" y="641"/>
                  </a:cubicBezTo>
                  <a:cubicBezTo>
                    <a:pt x="483076" y="137"/>
                    <a:pt x="481952" y="-77"/>
                    <a:pt x="480828" y="24"/>
                  </a:cubicBezTo>
                  <a:lnTo>
                    <a:pt x="407777" y="5521"/>
                  </a:lnTo>
                  <a:cubicBezTo>
                    <a:pt x="404383" y="5891"/>
                    <a:pt x="401933" y="8931"/>
                    <a:pt x="402292" y="12318"/>
                  </a:cubicBezTo>
                  <a:cubicBezTo>
                    <a:pt x="402393" y="13294"/>
                    <a:pt x="402742" y="14236"/>
                    <a:pt x="403281" y="15055"/>
                  </a:cubicBezTo>
                  <a:lnTo>
                    <a:pt x="417330" y="35694"/>
                  </a:lnTo>
                  <a:lnTo>
                    <a:pt x="179181" y="198004"/>
                  </a:lnTo>
                  <a:lnTo>
                    <a:pt x="113323" y="144499"/>
                  </a:lnTo>
                  <a:cubicBezTo>
                    <a:pt x="106535" y="138991"/>
                    <a:pt x="96734" y="139283"/>
                    <a:pt x="90283" y="145172"/>
                  </a:cubicBezTo>
                  <a:cubicBezTo>
                    <a:pt x="5656" y="223018"/>
                    <a:pt x="3296" y="226495"/>
                    <a:pt x="2172" y="228290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0" name="Freeform 199">
              <a:extLst>
                <a:ext uri="{FF2B5EF4-FFF2-40B4-BE49-F238E27FC236}">
                  <a16:creationId xmlns:a16="http://schemas.microsoft.com/office/drawing/2014/main" id="{5CFD1729-C511-0049-AE66-EC8C2538ECD5}"/>
                </a:ext>
              </a:extLst>
            </p:cNvPr>
            <p:cNvSpPr/>
            <p:nvPr/>
          </p:nvSpPr>
          <p:spPr>
            <a:xfrm>
              <a:off x="7977397" y="1712273"/>
              <a:ext cx="38436" cy="147727"/>
            </a:xfrm>
            <a:custGeom>
              <a:avLst/>
              <a:gdLst>
                <a:gd name="connsiteX0" fmla="*/ 38436 w 38436"/>
                <a:gd name="connsiteY0" fmla="*/ 128546 h 147727"/>
                <a:gd name="connsiteX1" fmla="*/ 38436 w 38436"/>
                <a:gd name="connsiteY1" fmla="*/ 19181 h 147727"/>
                <a:gd name="connsiteX2" fmla="*/ 19218 w 38436"/>
                <a:gd name="connsiteY2" fmla="*/ 0 h 147727"/>
                <a:gd name="connsiteX3" fmla="*/ 0 w 38436"/>
                <a:gd name="connsiteY3" fmla="*/ 19181 h 147727"/>
                <a:gd name="connsiteX4" fmla="*/ 0 w 38436"/>
                <a:gd name="connsiteY4" fmla="*/ 128546 h 147727"/>
                <a:gd name="connsiteX5" fmla="*/ 19218 w 38436"/>
                <a:gd name="connsiteY5" fmla="*/ 147727 h 147727"/>
                <a:gd name="connsiteX6" fmla="*/ 38436 w 38436"/>
                <a:gd name="connsiteY6" fmla="*/ 128546 h 147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436" h="147727">
                  <a:moveTo>
                    <a:pt x="38436" y="128546"/>
                  </a:moveTo>
                  <a:lnTo>
                    <a:pt x="38436" y="19181"/>
                  </a:lnTo>
                  <a:cubicBezTo>
                    <a:pt x="38436" y="8588"/>
                    <a:pt x="29827" y="0"/>
                    <a:pt x="19218" y="0"/>
                  </a:cubicBezTo>
                  <a:cubicBezTo>
                    <a:pt x="8609" y="0"/>
                    <a:pt x="0" y="8588"/>
                    <a:pt x="0" y="19181"/>
                  </a:cubicBezTo>
                  <a:lnTo>
                    <a:pt x="0" y="128546"/>
                  </a:lnTo>
                  <a:cubicBezTo>
                    <a:pt x="0" y="139140"/>
                    <a:pt x="8609" y="147727"/>
                    <a:pt x="19218" y="147727"/>
                  </a:cubicBezTo>
                  <a:cubicBezTo>
                    <a:pt x="29827" y="147727"/>
                    <a:pt x="38436" y="139140"/>
                    <a:pt x="38436" y="128546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1" name="Freeform 200">
              <a:extLst>
                <a:ext uri="{FF2B5EF4-FFF2-40B4-BE49-F238E27FC236}">
                  <a16:creationId xmlns:a16="http://schemas.microsoft.com/office/drawing/2014/main" id="{0B15BEBB-0DCB-C94D-B094-398893E00ACA}"/>
                </a:ext>
              </a:extLst>
            </p:cNvPr>
            <p:cNvSpPr/>
            <p:nvPr/>
          </p:nvSpPr>
          <p:spPr>
            <a:xfrm>
              <a:off x="7900074" y="1644646"/>
              <a:ext cx="38548" cy="215354"/>
            </a:xfrm>
            <a:custGeom>
              <a:avLst/>
              <a:gdLst>
                <a:gd name="connsiteX0" fmla="*/ 19218 w 38548"/>
                <a:gd name="connsiteY0" fmla="*/ 215354 h 215354"/>
                <a:gd name="connsiteX1" fmla="*/ 38549 w 38548"/>
                <a:gd name="connsiteY1" fmla="*/ 196286 h 215354"/>
                <a:gd name="connsiteX2" fmla="*/ 38549 w 38548"/>
                <a:gd name="connsiteY2" fmla="*/ 196173 h 215354"/>
                <a:gd name="connsiteX3" fmla="*/ 38549 w 38548"/>
                <a:gd name="connsiteY3" fmla="*/ 17824 h 215354"/>
                <a:gd name="connsiteX4" fmla="*/ 17802 w 38548"/>
                <a:gd name="connsiteY4" fmla="*/ 57 h 215354"/>
                <a:gd name="connsiteX5" fmla="*/ 0 w 38548"/>
                <a:gd name="connsiteY5" fmla="*/ 17824 h 215354"/>
                <a:gd name="connsiteX6" fmla="*/ 0 w 38548"/>
                <a:gd name="connsiteY6" fmla="*/ 196173 h 215354"/>
                <a:gd name="connsiteX7" fmla="*/ 19218 w 38548"/>
                <a:gd name="connsiteY7" fmla="*/ 215354 h 215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548" h="215354">
                  <a:moveTo>
                    <a:pt x="19218" y="215354"/>
                  </a:moveTo>
                  <a:cubicBezTo>
                    <a:pt x="29827" y="215416"/>
                    <a:pt x="38481" y="206879"/>
                    <a:pt x="38549" y="196286"/>
                  </a:cubicBezTo>
                  <a:cubicBezTo>
                    <a:pt x="38549" y="196249"/>
                    <a:pt x="38549" y="196210"/>
                    <a:pt x="38549" y="196173"/>
                  </a:cubicBezTo>
                  <a:lnTo>
                    <a:pt x="38549" y="17824"/>
                  </a:lnTo>
                  <a:cubicBezTo>
                    <a:pt x="37739" y="7199"/>
                    <a:pt x="28445" y="-755"/>
                    <a:pt x="17802" y="57"/>
                  </a:cubicBezTo>
                  <a:cubicBezTo>
                    <a:pt x="8283" y="782"/>
                    <a:pt x="731" y="8327"/>
                    <a:pt x="0" y="17824"/>
                  </a:cubicBezTo>
                  <a:lnTo>
                    <a:pt x="0" y="196173"/>
                  </a:lnTo>
                  <a:cubicBezTo>
                    <a:pt x="0" y="206767"/>
                    <a:pt x="8609" y="215354"/>
                    <a:pt x="19218" y="215354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2" name="Freeform 201">
              <a:extLst>
                <a:ext uri="{FF2B5EF4-FFF2-40B4-BE49-F238E27FC236}">
                  <a16:creationId xmlns:a16="http://schemas.microsoft.com/office/drawing/2014/main" id="{D0D72E59-28BB-4844-832C-A56C7181610C}"/>
                </a:ext>
              </a:extLst>
            </p:cNvPr>
            <p:cNvSpPr/>
            <p:nvPr/>
          </p:nvSpPr>
          <p:spPr>
            <a:xfrm>
              <a:off x="7823426" y="1692755"/>
              <a:ext cx="38436" cy="167245"/>
            </a:xfrm>
            <a:custGeom>
              <a:avLst/>
              <a:gdLst>
                <a:gd name="connsiteX0" fmla="*/ 38436 w 38436"/>
                <a:gd name="connsiteY0" fmla="*/ 148064 h 167245"/>
                <a:gd name="connsiteX1" fmla="*/ 38436 w 38436"/>
                <a:gd name="connsiteY1" fmla="*/ 19181 h 167245"/>
                <a:gd name="connsiteX2" fmla="*/ 19218 w 38436"/>
                <a:gd name="connsiteY2" fmla="*/ 0 h 167245"/>
                <a:gd name="connsiteX3" fmla="*/ 0 w 38436"/>
                <a:gd name="connsiteY3" fmla="*/ 19181 h 167245"/>
                <a:gd name="connsiteX4" fmla="*/ 0 w 38436"/>
                <a:gd name="connsiteY4" fmla="*/ 148064 h 167245"/>
                <a:gd name="connsiteX5" fmla="*/ 19218 w 38436"/>
                <a:gd name="connsiteY5" fmla="*/ 167245 h 167245"/>
                <a:gd name="connsiteX6" fmla="*/ 38436 w 38436"/>
                <a:gd name="connsiteY6" fmla="*/ 148064 h 167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436" h="167245">
                  <a:moveTo>
                    <a:pt x="38436" y="148064"/>
                  </a:moveTo>
                  <a:lnTo>
                    <a:pt x="38436" y="19181"/>
                  </a:lnTo>
                  <a:cubicBezTo>
                    <a:pt x="38436" y="8588"/>
                    <a:pt x="29827" y="0"/>
                    <a:pt x="19218" y="0"/>
                  </a:cubicBezTo>
                  <a:cubicBezTo>
                    <a:pt x="8609" y="0"/>
                    <a:pt x="0" y="8588"/>
                    <a:pt x="0" y="19181"/>
                  </a:cubicBezTo>
                  <a:lnTo>
                    <a:pt x="0" y="148064"/>
                  </a:lnTo>
                  <a:cubicBezTo>
                    <a:pt x="0" y="158657"/>
                    <a:pt x="8609" y="167245"/>
                    <a:pt x="19218" y="167245"/>
                  </a:cubicBezTo>
                  <a:cubicBezTo>
                    <a:pt x="29827" y="167245"/>
                    <a:pt x="38436" y="158657"/>
                    <a:pt x="38436" y="148064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3" name="Freeform 202">
              <a:extLst>
                <a:ext uri="{FF2B5EF4-FFF2-40B4-BE49-F238E27FC236}">
                  <a16:creationId xmlns:a16="http://schemas.microsoft.com/office/drawing/2014/main" id="{AF3B092A-37E9-244E-B6AB-F46B885D4CC3}"/>
                </a:ext>
              </a:extLst>
            </p:cNvPr>
            <p:cNvSpPr/>
            <p:nvPr/>
          </p:nvSpPr>
          <p:spPr>
            <a:xfrm>
              <a:off x="7746891" y="1638914"/>
              <a:ext cx="38436" cy="221198"/>
            </a:xfrm>
            <a:custGeom>
              <a:avLst/>
              <a:gdLst>
                <a:gd name="connsiteX0" fmla="*/ 38436 w 38436"/>
                <a:gd name="connsiteY0" fmla="*/ 201905 h 221198"/>
                <a:gd name="connsiteX1" fmla="*/ 38436 w 38436"/>
                <a:gd name="connsiteY1" fmla="*/ 19181 h 221198"/>
                <a:gd name="connsiteX2" fmla="*/ 19218 w 38436"/>
                <a:gd name="connsiteY2" fmla="*/ 0 h 221198"/>
                <a:gd name="connsiteX3" fmla="*/ 0 w 38436"/>
                <a:gd name="connsiteY3" fmla="*/ 19181 h 221198"/>
                <a:gd name="connsiteX4" fmla="*/ 0 w 38436"/>
                <a:gd name="connsiteY4" fmla="*/ 202018 h 221198"/>
                <a:gd name="connsiteX5" fmla="*/ 19218 w 38436"/>
                <a:gd name="connsiteY5" fmla="*/ 221199 h 221198"/>
                <a:gd name="connsiteX6" fmla="*/ 38436 w 38436"/>
                <a:gd name="connsiteY6" fmla="*/ 202018 h 22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436" h="221198">
                  <a:moveTo>
                    <a:pt x="38436" y="201905"/>
                  </a:moveTo>
                  <a:lnTo>
                    <a:pt x="38436" y="19181"/>
                  </a:lnTo>
                  <a:cubicBezTo>
                    <a:pt x="38436" y="8588"/>
                    <a:pt x="29827" y="0"/>
                    <a:pt x="19218" y="0"/>
                  </a:cubicBezTo>
                  <a:cubicBezTo>
                    <a:pt x="8609" y="0"/>
                    <a:pt x="0" y="8588"/>
                    <a:pt x="0" y="19181"/>
                  </a:cubicBezTo>
                  <a:lnTo>
                    <a:pt x="0" y="202018"/>
                  </a:lnTo>
                  <a:cubicBezTo>
                    <a:pt x="0" y="212611"/>
                    <a:pt x="8609" y="221199"/>
                    <a:pt x="19218" y="221199"/>
                  </a:cubicBezTo>
                  <a:cubicBezTo>
                    <a:pt x="29827" y="221199"/>
                    <a:pt x="38436" y="212611"/>
                    <a:pt x="38436" y="202018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4" name="Freeform 203">
              <a:extLst>
                <a:ext uri="{FF2B5EF4-FFF2-40B4-BE49-F238E27FC236}">
                  <a16:creationId xmlns:a16="http://schemas.microsoft.com/office/drawing/2014/main" id="{F29AFA40-06DD-8644-B882-F1272F8ACB6D}"/>
                </a:ext>
              </a:extLst>
            </p:cNvPr>
            <p:cNvSpPr/>
            <p:nvPr/>
          </p:nvSpPr>
          <p:spPr>
            <a:xfrm>
              <a:off x="7670130" y="1590345"/>
              <a:ext cx="38436" cy="269655"/>
            </a:xfrm>
            <a:custGeom>
              <a:avLst/>
              <a:gdLst>
                <a:gd name="connsiteX0" fmla="*/ 38436 w 38436"/>
                <a:gd name="connsiteY0" fmla="*/ 250475 h 269655"/>
                <a:gd name="connsiteX1" fmla="*/ 38436 w 38436"/>
                <a:gd name="connsiteY1" fmla="*/ 19181 h 269655"/>
                <a:gd name="connsiteX2" fmla="*/ 19218 w 38436"/>
                <a:gd name="connsiteY2" fmla="*/ 0 h 269655"/>
                <a:gd name="connsiteX3" fmla="*/ 0 w 38436"/>
                <a:gd name="connsiteY3" fmla="*/ 19181 h 269655"/>
                <a:gd name="connsiteX4" fmla="*/ 0 w 38436"/>
                <a:gd name="connsiteY4" fmla="*/ 250475 h 269655"/>
                <a:gd name="connsiteX5" fmla="*/ 19218 w 38436"/>
                <a:gd name="connsiteY5" fmla="*/ 269656 h 269655"/>
                <a:gd name="connsiteX6" fmla="*/ 38436 w 38436"/>
                <a:gd name="connsiteY6" fmla="*/ 250475 h 269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436" h="269655">
                  <a:moveTo>
                    <a:pt x="38436" y="250475"/>
                  </a:moveTo>
                  <a:lnTo>
                    <a:pt x="38436" y="19181"/>
                  </a:lnTo>
                  <a:cubicBezTo>
                    <a:pt x="38436" y="8588"/>
                    <a:pt x="29827" y="0"/>
                    <a:pt x="19218" y="0"/>
                  </a:cubicBezTo>
                  <a:cubicBezTo>
                    <a:pt x="8609" y="0"/>
                    <a:pt x="0" y="8588"/>
                    <a:pt x="0" y="19181"/>
                  </a:cubicBezTo>
                  <a:lnTo>
                    <a:pt x="0" y="250475"/>
                  </a:lnTo>
                  <a:cubicBezTo>
                    <a:pt x="0" y="261068"/>
                    <a:pt x="8609" y="269656"/>
                    <a:pt x="19218" y="269656"/>
                  </a:cubicBezTo>
                  <a:cubicBezTo>
                    <a:pt x="29827" y="269656"/>
                    <a:pt x="38436" y="261068"/>
                    <a:pt x="38436" y="250475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5" name="Freeform 204">
              <a:extLst>
                <a:ext uri="{FF2B5EF4-FFF2-40B4-BE49-F238E27FC236}">
                  <a16:creationId xmlns:a16="http://schemas.microsoft.com/office/drawing/2014/main" id="{4E3EC57B-5620-5247-9EB0-C3A980A905EA}"/>
                </a:ext>
              </a:extLst>
            </p:cNvPr>
            <p:cNvSpPr/>
            <p:nvPr/>
          </p:nvSpPr>
          <p:spPr>
            <a:xfrm>
              <a:off x="7593370" y="1526744"/>
              <a:ext cx="38436" cy="333256"/>
            </a:xfrm>
            <a:custGeom>
              <a:avLst/>
              <a:gdLst>
                <a:gd name="connsiteX0" fmla="*/ 38436 w 38436"/>
                <a:gd name="connsiteY0" fmla="*/ 314075 h 333256"/>
                <a:gd name="connsiteX1" fmla="*/ 38436 w 38436"/>
                <a:gd name="connsiteY1" fmla="*/ 19181 h 333256"/>
                <a:gd name="connsiteX2" fmla="*/ 19218 w 38436"/>
                <a:gd name="connsiteY2" fmla="*/ 0 h 333256"/>
                <a:gd name="connsiteX3" fmla="*/ 0 w 38436"/>
                <a:gd name="connsiteY3" fmla="*/ 19181 h 333256"/>
                <a:gd name="connsiteX4" fmla="*/ 0 w 38436"/>
                <a:gd name="connsiteY4" fmla="*/ 314075 h 333256"/>
                <a:gd name="connsiteX5" fmla="*/ 19218 w 38436"/>
                <a:gd name="connsiteY5" fmla="*/ 333256 h 333256"/>
                <a:gd name="connsiteX6" fmla="*/ 38436 w 38436"/>
                <a:gd name="connsiteY6" fmla="*/ 314075 h 333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436" h="333256">
                  <a:moveTo>
                    <a:pt x="38436" y="314075"/>
                  </a:moveTo>
                  <a:lnTo>
                    <a:pt x="38436" y="19181"/>
                  </a:lnTo>
                  <a:cubicBezTo>
                    <a:pt x="38436" y="8588"/>
                    <a:pt x="29827" y="0"/>
                    <a:pt x="19218" y="0"/>
                  </a:cubicBezTo>
                  <a:cubicBezTo>
                    <a:pt x="8609" y="0"/>
                    <a:pt x="0" y="8588"/>
                    <a:pt x="0" y="19181"/>
                  </a:cubicBezTo>
                  <a:lnTo>
                    <a:pt x="0" y="314075"/>
                  </a:lnTo>
                  <a:cubicBezTo>
                    <a:pt x="0" y="324668"/>
                    <a:pt x="8609" y="333256"/>
                    <a:pt x="19218" y="333256"/>
                  </a:cubicBezTo>
                  <a:cubicBezTo>
                    <a:pt x="29827" y="333256"/>
                    <a:pt x="38436" y="324668"/>
                    <a:pt x="38436" y="314075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6" name="Freeform 205">
              <a:extLst>
                <a:ext uri="{FF2B5EF4-FFF2-40B4-BE49-F238E27FC236}">
                  <a16:creationId xmlns:a16="http://schemas.microsoft.com/office/drawing/2014/main" id="{DE65BFC8-439C-EE43-9C5F-26B08B4AE816}"/>
                </a:ext>
              </a:extLst>
            </p:cNvPr>
            <p:cNvSpPr/>
            <p:nvPr/>
          </p:nvSpPr>
          <p:spPr>
            <a:xfrm>
              <a:off x="7569553" y="1430399"/>
              <a:ext cx="509060" cy="267361"/>
            </a:xfrm>
            <a:custGeom>
              <a:avLst/>
              <a:gdLst>
                <a:gd name="connsiteX0" fmla="*/ 286240 w 509060"/>
                <a:gd name="connsiteY0" fmla="*/ 205262 h 267361"/>
                <a:gd name="connsiteX1" fmla="*/ 297479 w 509060"/>
                <a:gd name="connsiteY1" fmla="*/ 205262 h 267361"/>
                <a:gd name="connsiteX2" fmla="*/ 368395 w 509060"/>
                <a:gd name="connsiteY2" fmla="*/ 152543 h 267361"/>
                <a:gd name="connsiteX3" fmla="*/ 458305 w 509060"/>
                <a:gd name="connsiteY3" fmla="*/ 233529 h 267361"/>
                <a:gd name="connsiteX4" fmla="*/ 448302 w 509060"/>
                <a:gd name="connsiteY4" fmla="*/ 244746 h 267361"/>
                <a:gd name="connsiteX5" fmla="*/ 449067 w 509060"/>
                <a:gd name="connsiteY5" fmla="*/ 255506 h 267361"/>
                <a:gd name="connsiteX6" fmla="*/ 452461 w 509060"/>
                <a:gd name="connsiteY6" fmla="*/ 257197 h 267361"/>
                <a:gd name="connsiteX7" fmla="*/ 499888 w 509060"/>
                <a:gd name="connsiteY7" fmla="*/ 267180 h 267361"/>
                <a:gd name="connsiteX8" fmla="*/ 508879 w 509060"/>
                <a:gd name="connsiteY8" fmla="*/ 261480 h 267361"/>
                <a:gd name="connsiteX9" fmla="*/ 508654 w 509060"/>
                <a:gd name="connsiteY9" fmla="*/ 257421 h 267361"/>
                <a:gd name="connsiteX10" fmla="*/ 493594 w 509060"/>
                <a:gd name="connsiteY10" fmla="*/ 211432 h 267361"/>
                <a:gd name="connsiteX11" fmla="*/ 483862 w 509060"/>
                <a:gd name="connsiteY11" fmla="*/ 206733 h 267361"/>
                <a:gd name="connsiteX12" fmla="*/ 480782 w 509060"/>
                <a:gd name="connsiteY12" fmla="*/ 208740 h 267361"/>
                <a:gd name="connsiteX13" fmla="*/ 470780 w 509060"/>
                <a:gd name="connsiteY13" fmla="*/ 219957 h 267361"/>
                <a:gd name="connsiteX14" fmla="*/ 374802 w 509060"/>
                <a:gd name="connsiteY14" fmla="*/ 133810 h 267361"/>
                <a:gd name="connsiteX15" fmla="*/ 362889 w 509060"/>
                <a:gd name="connsiteY15" fmla="*/ 133810 h 267361"/>
                <a:gd name="connsiteX16" fmla="*/ 291186 w 509060"/>
                <a:gd name="connsiteY16" fmla="*/ 187091 h 267361"/>
                <a:gd name="connsiteX17" fmla="*/ 14825 w 509060"/>
                <a:gd name="connsiteY17" fmla="*/ 1787 h 267361"/>
                <a:gd name="connsiteX18" fmla="*/ 1788 w 509060"/>
                <a:gd name="connsiteY18" fmla="*/ 3828 h 267361"/>
                <a:gd name="connsiteX19" fmla="*/ 3834 w 509060"/>
                <a:gd name="connsiteY19" fmla="*/ 16835 h 267361"/>
                <a:gd name="connsiteX20" fmla="*/ 4486 w 509060"/>
                <a:gd name="connsiteY20" fmla="*/ 17266 h 267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09060" h="267361">
                  <a:moveTo>
                    <a:pt x="286240" y="205262"/>
                  </a:moveTo>
                  <a:cubicBezTo>
                    <a:pt x="289567" y="207767"/>
                    <a:pt x="294152" y="207767"/>
                    <a:pt x="297479" y="205262"/>
                  </a:cubicBezTo>
                  <a:lnTo>
                    <a:pt x="368395" y="152543"/>
                  </a:lnTo>
                  <a:lnTo>
                    <a:pt x="458305" y="233529"/>
                  </a:lnTo>
                  <a:lnTo>
                    <a:pt x="448302" y="244746"/>
                  </a:lnTo>
                  <a:cubicBezTo>
                    <a:pt x="445537" y="247930"/>
                    <a:pt x="445886" y="252746"/>
                    <a:pt x="449067" y="255506"/>
                  </a:cubicBezTo>
                  <a:cubicBezTo>
                    <a:pt x="450044" y="256345"/>
                    <a:pt x="451202" y="256927"/>
                    <a:pt x="452461" y="257197"/>
                  </a:cubicBezTo>
                  <a:lnTo>
                    <a:pt x="499888" y="267180"/>
                  </a:lnTo>
                  <a:cubicBezTo>
                    <a:pt x="503945" y="268083"/>
                    <a:pt x="507969" y="265531"/>
                    <a:pt x="508879" y="261480"/>
                  </a:cubicBezTo>
                  <a:cubicBezTo>
                    <a:pt x="509182" y="260133"/>
                    <a:pt x="509104" y="258728"/>
                    <a:pt x="508654" y="257421"/>
                  </a:cubicBezTo>
                  <a:lnTo>
                    <a:pt x="493594" y="211432"/>
                  </a:lnTo>
                  <a:cubicBezTo>
                    <a:pt x="492212" y="207453"/>
                    <a:pt x="487851" y="205349"/>
                    <a:pt x="483862" y="206733"/>
                  </a:cubicBezTo>
                  <a:cubicBezTo>
                    <a:pt x="482693" y="207140"/>
                    <a:pt x="481636" y="207830"/>
                    <a:pt x="480782" y="208740"/>
                  </a:cubicBezTo>
                  <a:lnTo>
                    <a:pt x="470780" y="219957"/>
                  </a:lnTo>
                  <a:lnTo>
                    <a:pt x="374802" y="133810"/>
                  </a:lnTo>
                  <a:cubicBezTo>
                    <a:pt x="371329" y="130994"/>
                    <a:pt x="366361" y="130994"/>
                    <a:pt x="362889" y="133810"/>
                  </a:cubicBezTo>
                  <a:lnTo>
                    <a:pt x="291186" y="187091"/>
                  </a:lnTo>
                  <a:lnTo>
                    <a:pt x="14825" y="1787"/>
                  </a:lnTo>
                  <a:cubicBezTo>
                    <a:pt x="10667" y="-1242"/>
                    <a:pt x="4823" y="-328"/>
                    <a:pt x="1788" y="3828"/>
                  </a:cubicBezTo>
                  <a:cubicBezTo>
                    <a:pt x="-1246" y="7983"/>
                    <a:pt x="-324" y="13807"/>
                    <a:pt x="3834" y="16835"/>
                  </a:cubicBezTo>
                  <a:cubicBezTo>
                    <a:pt x="4048" y="16988"/>
                    <a:pt x="4261" y="17131"/>
                    <a:pt x="4486" y="17266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7" name="Freeform 206">
              <a:extLst>
                <a:ext uri="{FF2B5EF4-FFF2-40B4-BE49-F238E27FC236}">
                  <a16:creationId xmlns:a16="http://schemas.microsoft.com/office/drawing/2014/main" id="{FFF94759-003A-4E42-81DD-0304E613C1F9}"/>
                </a:ext>
              </a:extLst>
            </p:cNvPr>
            <p:cNvSpPr/>
            <p:nvPr/>
          </p:nvSpPr>
          <p:spPr>
            <a:xfrm>
              <a:off x="7748576" y="1321586"/>
              <a:ext cx="199599" cy="199213"/>
            </a:xfrm>
            <a:custGeom>
              <a:avLst/>
              <a:gdLst>
                <a:gd name="connsiteX0" fmla="*/ 99800 w 199599"/>
                <a:gd name="connsiteY0" fmla="*/ 199213 h 199213"/>
                <a:gd name="connsiteX1" fmla="*/ 199600 w 199599"/>
                <a:gd name="connsiteY1" fmla="*/ 99607 h 199213"/>
                <a:gd name="connsiteX2" fmla="*/ 99800 w 199599"/>
                <a:gd name="connsiteY2" fmla="*/ 0 h 199213"/>
                <a:gd name="connsiteX3" fmla="*/ 0 w 199599"/>
                <a:gd name="connsiteY3" fmla="*/ 99607 h 199213"/>
                <a:gd name="connsiteX4" fmla="*/ 0 w 199599"/>
                <a:gd name="connsiteY4" fmla="*/ 99719 h 199213"/>
                <a:gd name="connsiteX5" fmla="*/ 99687 w 199599"/>
                <a:gd name="connsiteY5" fmla="*/ 199213 h 199213"/>
                <a:gd name="connsiteX6" fmla="*/ 99800 w 199599"/>
                <a:gd name="connsiteY6" fmla="*/ 199213 h 199213"/>
                <a:gd name="connsiteX7" fmla="*/ 55857 w 199599"/>
                <a:gd name="connsiteY7" fmla="*/ 90297 h 199213"/>
                <a:gd name="connsiteX8" fmla="*/ 143744 w 199599"/>
                <a:gd name="connsiteY8" fmla="*/ 90297 h 199213"/>
                <a:gd name="connsiteX9" fmla="*/ 153071 w 199599"/>
                <a:gd name="connsiteY9" fmla="*/ 99719 h 199213"/>
                <a:gd name="connsiteX10" fmla="*/ 143744 w 199599"/>
                <a:gd name="connsiteY10" fmla="*/ 109029 h 199213"/>
                <a:gd name="connsiteX11" fmla="*/ 55857 w 199599"/>
                <a:gd name="connsiteY11" fmla="*/ 109029 h 199213"/>
                <a:gd name="connsiteX12" fmla="*/ 46528 w 199599"/>
                <a:gd name="connsiteY12" fmla="*/ 99719 h 199213"/>
                <a:gd name="connsiteX13" fmla="*/ 55857 w 199599"/>
                <a:gd name="connsiteY13" fmla="*/ 90297 h 199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9599" h="199213">
                  <a:moveTo>
                    <a:pt x="99800" y="199213"/>
                  </a:moveTo>
                  <a:cubicBezTo>
                    <a:pt x="154914" y="199213"/>
                    <a:pt x="199600" y="154618"/>
                    <a:pt x="199600" y="99607"/>
                  </a:cubicBezTo>
                  <a:cubicBezTo>
                    <a:pt x="199600" y="44595"/>
                    <a:pt x="154914" y="0"/>
                    <a:pt x="99800" y="0"/>
                  </a:cubicBezTo>
                  <a:cubicBezTo>
                    <a:pt x="44685" y="0"/>
                    <a:pt x="0" y="44595"/>
                    <a:pt x="0" y="99607"/>
                  </a:cubicBezTo>
                  <a:cubicBezTo>
                    <a:pt x="0" y="99644"/>
                    <a:pt x="0" y="99682"/>
                    <a:pt x="0" y="99719"/>
                  </a:cubicBezTo>
                  <a:cubicBezTo>
                    <a:pt x="0" y="154669"/>
                    <a:pt x="44629" y="199213"/>
                    <a:pt x="99687" y="199213"/>
                  </a:cubicBezTo>
                  <a:cubicBezTo>
                    <a:pt x="99722" y="199213"/>
                    <a:pt x="99766" y="199213"/>
                    <a:pt x="99800" y="199213"/>
                  </a:cubicBezTo>
                  <a:close/>
                  <a:moveTo>
                    <a:pt x="55857" y="90297"/>
                  </a:moveTo>
                  <a:lnTo>
                    <a:pt x="143744" y="90297"/>
                  </a:lnTo>
                  <a:cubicBezTo>
                    <a:pt x="148913" y="90358"/>
                    <a:pt x="153071" y="94559"/>
                    <a:pt x="153071" y="99719"/>
                  </a:cubicBezTo>
                  <a:cubicBezTo>
                    <a:pt x="153071" y="104861"/>
                    <a:pt x="148891" y="109029"/>
                    <a:pt x="143744" y="109029"/>
                  </a:cubicBezTo>
                  <a:lnTo>
                    <a:pt x="55857" y="109029"/>
                  </a:lnTo>
                  <a:cubicBezTo>
                    <a:pt x="50709" y="109029"/>
                    <a:pt x="46528" y="104861"/>
                    <a:pt x="46528" y="99719"/>
                  </a:cubicBezTo>
                  <a:cubicBezTo>
                    <a:pt x="46528" y="94559"/>
                    <a:pt x="50687" y="90358"/>
                    <a:pt x="55857" y="90297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8" name="Freeform 207">
              <a:extLst>
                <a:ext uri="{FF2B5EF4-FFF2-40B4-BE49-F238E27FC236}">
                  <a16:creationId xmlns:a16="http://schemas.microsoft.com/office/drawing/2014/main" id="{FCE18194-03D0-DE4E-8168-3D8C5FACA06F}"/>
                </a:ext>
              </a:extLst>
            </p:cNvPr>
            <p:cNvSpPr/>
            <p:nvPr/>
          </p:nvSpPr>
          <p:spPr>
            <a:xfrm>
              <a:off x="7490494" y="2023716"/>
              <a:ext cx="22491" cy="38190"/>
            </a:xfrm>
            <a:custGeom>
              <a:avLst/>
              <a:gdLst>
                <a:gd name="connsiteX0" fmla="*/ 378 w 22491"/>
                <a:gd name="connsiteY0" fmla="*/ 12391 h 38190"/>
                <a:gd name="connsiteX1" fmla="*/ 3750 w 22491"/>
                <a:gd name="connsiteY1" fmla="*/ 30451 h 38190"/>
                <a:gd name="connsiteX2" fmla="*/ 12966 w 22491"/>
                <a:gd name="connsiteY2" fmla="*/ 38190 h 38190"/>
                <a:gd name="connsiteX3" fmla="*/ 14539 w 22491"/>
                <a:gd name="connsiteY3" fmla="*/ 38190 h 38190"/>
                <a:gd name="connsiteX4" fmla="*/ 22372 w 22491"/>
                <a:gd name="connsiteY4" fmla="*/ 27400 h 38190"/>
                <a:gd name="connsiteX5" fmla="*/ 22294 w 22491"/>
                <a:gd name="connsiteY5" fmla="*/ 26973 h 38190"/>
                <a:gd name="connsiteX6" fmla="*/ 18810 w 22491"/>
                <a:gd name="connsiteY6" fmla="*/ 8241 h 38190"/>
                <a:gd name="connsiteX7" fmla="*/ 8257 w 22491"/>
                <a:gd name="connsiteY7" fmla="*/ 75 h 38190"/>
                <a:gd name="connsiteX8" fmla="*/ 75 w 22491"/>
                <a:gd name="connsiteY8" fmla="*/ 10619 h 38190"/>
                <a:gd name="connsiteX9" fmla="*/ 378 w 22491"/>
                <a:gd name="connsiteY9" fmla="*/ 12055 h 38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491" h="38190">
                  <a:moveTo>
                    <a:pt x="378" y="12391"/>
                  </a:moveTo>
                  <a:cubicBezTo>
                    <a:pt x="1615" y="18336"/>
                    <a:pt x="2739" y="24281"/>
                    <a:pt x="3750" y="30451"/>
                  </a:cubicBezTo>
                  <a:cubicBezTo>
                    <a:pt x="4559" y="34904"/>
                    <a:pt x="8425" y="38157"/>
                    <a:pt x="12966" y="38190"/>
                  </a:cubicBezTo>
                  <a:lnTo>
                    <a:pt x="14539" y="38190"/>
                  </a:lnTo>
                  <a:cubicBezTo>
                    <a:pt x="19687" y="37371"/>
                    <a:pt x="23193" y="32537"/>
                    <a:pt x="22372" y="27400"/>
                  </a:cubicBezTo>
                  <a:cubicBezTo>
                    <a:pt x="22350" y="27254"/>
                    <a:pt x="22328" y="27119"/>
                    <a:pt x="22294" y="26973"/>
                  </a:cubicBezTo>
                  <a:cubicBezTo>
                    <a:pt x="21170" y="20692"/>
                    <a:pt x="20046" y="14410"/>
                    <a:pt x="18810" y="8241"/>
                  </a:cubicBezTo>
                  <a:cubicBezTo>
                    <a:pt x="18158" y="3081"/>
                    <a:pt x="13427" y="-576"/>
                    <a:pt x="8257" y="75"/>
                  </a:cubicBezTo>
                  <a:cubicBezTo>
                    <a:pt x="3087" y="737"/>
                    <a:pt x="-577" y="5448"/>
                    <a:pt x="75" y="10619"/>
                  </a:cubicBezTo>
                  <a:cubicBezTo>
                    <a:pt x="142" y="11101"/>
                    <a:pt x="244" y="11584"/>
                    <a:pt x="378" y="12055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9" name="Freeform 208">
              <a:extLst>
                <a:ext uri="{FF2B5EF4-FFF2-40B4-BE49-F238E27FC236}">
                  <a16:creationId xmlns:a16="http://schemas.microsoft.com/office/drawing/2014/main" id="{D23FCEA7-A348-F747-BBC7-F1B86742F301}"/>
                </a:ext>
              </a:extLst>
            </p:cNvPr>
            <p:cNvSpPr/>
            <p:nvPr/>
          </p:nvSpPr>
          <p:spPr>
            <a:xfrm>
              <a:off x="7500293" y="2098846"/>
              <a:ext cx="19701" cy="37316"/>
            </a:xfrm>
            <a:custGeom>
              <a:avLst/>
              <a:gdLst>
                <a:gd name="connsiteX0" fmla="*/ 357 w 19701"/>
                <a:gd name="connsiteY0" fmla="*/ 9947 h 37316"/>
                <a:gd name="connsiteX1" fmla="*/ 1256 w 19701"/>
                <a:gd name="connsiteY1" fmla="*/ 28343 h 37316"/>
                <a:gd name="connsiteX2" fmla="*/ 10697 w 19701"/>
                <a:gd name="connsiteY2" fmla="*/ 37317 h 37316"/>
                <a:gd name="connsiteX3" fmla="*/ 10697 w 19701"/>
                <a:gd name="connsiteY3" fmla="*/ 37317 h 37316"/>
                <a:gd name="connsiteX4" fmla="*/ 19699 w 19701"/>
                <a:gd name="connsiteY4" fmla="*/ 27906 h 37316"/>
                <a:gd name="connsiteX5" fmla="*/ 19688 w 19701"/>
                <a:gd name="connsiteY5" fmla="*/ 27670 h 37316"/>
                <a:gd name="connsiteX6" fmla="*/ 18676 w 19701"/>
                <a:gd name="connsiteY6" fmla="*/ 8713 h 37316"/>
                <a:gd name="connsiteX7" fmla="*/ 8730 w 19701"/>
                <a:gd name="connsiteY7" fmla="*/ 20 h 37316"/>
                <a:gd name="connsiteX8" fmla="*/ 20 w 19701"/>
                <a:gd name="connsiteY8" fmla="*/ 9947 h 37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701" h="37316">
                  <a:moveTo>
                    <a:pt x="357" y="9947"/>
                  </a:moveTo>
                  <a:cubicBezTo>
                    <a:pt x="357" y="16004"/>
                    <a:pt x="1032" y="22174"/>
                    <a:pt x="1256" y="28343"/>
                  </a:cubicBezTo>
                  <a:cubicBezTo>
                    <a:pt x="1492" y="33368"/>
                    <a:pt x="5651" y="37328"/>
                    <a:pt x="10697" y="37317"/>
                  </a:cubicBezTo>
                  <a:lnTo>
                    <a:pt x="10697" y="37317"/>
                  </a:lnTo>
                  <a:cubicBezTo>
                    <a:pt x="15788" y="37205"/>
                    <a:pt x="19812" y="32987"/>
                    <a:pt x="19699" y="27906"/>
                  </a:cubicBezTo>
                  <a:cubicBezTo>
                    <a:pt x="19699" y="27827"/>
                    <a:pt x="19688" y="27749"/>
                    <a:pt x="19688" y="27670"/>
                  </a:cubicBezTo>
                  <a:cubicBezTo>
                    <a:pt x="19688" y="21276"/>
                    <a:pt x="19126" y="14995"/>
                    <a:pt x="18676" y="8713"/>
                  </a:cubicBezTo>
                  <a:cubicBezTo>
                    <a:pt x="18339" y="3576"/>
                    <a:pt x="13877" y="-316"/>
                    <a:pt x="8730" y="20"/>
                  </a:cubicBezTo>
                  <a:cubicBezTo>
                    <a:pt x="3583" y="357"/>
                    <a:pt x="-317" y="4810"/>
                    <a:pt x="20" y="9947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0" name="Freeform 209">
              <a:extLst>
                <a:ext uri="{FF2B5EF4-FFF2-40B4-BE49-F238E27FC236}">
                  <a16:creationId xmlns:a16="http://schemas.microsoft.com/office/drawing/2014/main" id="{C01EBCBC-98D8-274E-956B-CCDE71211668}"/>
                </a:ext>
              </a:extLst>
            </p:cNvPr>
            <p:cNvSpPr/>
            <p:nvPr/>
          </p:nvSpPr>
          <p:spPr>
            <a:xfrm>
              <a:off x="7293499" y="1716569"/>
              <a:ext cx="33557" cy="30252"/>
            </a:xfrm>
            <a:custGeom>
              <a:avLst/>
              <a:gdLst>
                <a:gd name="connsiteX0" fmla="*/ 24185 w 33557"/>
                <a:gd name="connsiteY0" fmla="*/ 30253 h 30252"/>
                <a:gd name="connsiteX1" fmla="*/ 33558 w 33557"/>
                <a:gd name="connsiteY1" fmla="*/ 20986 h 30252"/>
                <a:gd name="connsiteX2" fmla="*/ 30029 w 33557"/>
                <a:gd name="connsiteY2" fmla="*/ 13652 h 30252"/>
                <a:gd name="connsiteX3" fmla="*/ 14969 w 33557"/>
                <a:gd name="connsiteY3" fmla="*/ 1874 h 30252"/>
                <a:gd name="connsiteX4" fmla="*/ 1876 w 33557"/>
                <a:gd name="connsiteY4" fmla="*/ 3724 h 30252"/>
                <a:gd name="connsiteX5" fmla="*/ 3730 w 33557"/>
                <a:gd name="connsiteY5" fmla="*/ 16792 h 30252"/>
                <a:gd name="connsiteX6" fmla="*/ 18228 w 33557"/>
                <a:gd name="connsiteY6" fmla="*/ 28009 h 30252"/>
                <a:gd name="connsiteX7" fmla="*/ 24185 w 33557"/>
                <a:gd name="connsiteY7" fmla="*/ 30253 h 30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557" h="30252">
                  <a:moveTo>
                    <a:pt x="24185" y="30253"/>
                  </a:moveTo>
                  <a:cubicBezTo>
                    <a:pt x="29332" y="30276"/>
                    <a:pt x="33535" y="26128"/>
                    <a:pt x="33558" y="20986"/>
                  </a:cubicBezTo>
                  <a:cubicBezTo>
                    <a:pt x="33569" y="18130"/>
                    <a:pt x="32265" y="15427"/>
                    <a:pt x="30029" y="13652"/>
                  </a:cubicBezTo>
                  <a:lnTo>
                    <a:pt x="14969" y="1874"/>
                  </a:lnTo>
                  <a:cubicBezTo>
                    <a:pt x="10844" y="-1223"/>
                    <a:pt x="4978" y="-396"/>
                    <a:pt x="1876" y="3724"/>
                  </a:cubicBezTo>
                  <a:cubicBezTo>
                    <a:pt x="-1226" y="7845"/>
                    <a:pt x="-394" y="13695"/>
                    <a:pt x="3730" y="16792"/>
                  </a:cubicBezTo>
                  <a:cubicBezTo>
                    <a:pt x="8450" y="20382"/>
                    <a:pt x="13283" y="24083"/>
                    <a:pt x="18228" y="28009"/>
                  </a:cubicBezTo>
                  <a:cubicBezTo>
                    <a:pt x="19880" y="29439"/>
                    <a:pt x="21993" y="30235"/>
                    <a:pt x="24185" y="30253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2" name="Freeform 211">
              <a:extLst>
                <a:ext uri="{FF2B5EF4-FFF2-40B4-BE49-F238E27FC236}">
                  <a16:creationId xmlns:a16="http://schemas.microsoft.com/office/drawing/2014/main" id="{3F5F6220-4C89-B94E-A44D-D89B2F28B1DC}"/>
                </a:ext>
              </a:extLst>
            </p:cNvPr>
            <p:cNvSpPr/>
            <p:nvPr/>
          </p:nvSpPr>
          <p:spPr>
            <a:xfrm>
              <a:off x="7230124" y="1676517"/>
              <a:ext cx="35304" cy="27679"/>
            </a:xfrm>
            <a:custGeom>
              <a:avLst/>
              <a:gdLst>
                <a:gd name="connsiteX0" fmla="*/ 21251 w 35304"/>
                <a:gd name="connsiteY0" fmla="*/ 26445 h 27679"/>
                <a:gd name="connsiteX1" fmla="*/ 25972 w 35304"/>
                <a:gd name="connsiteY1" fmla="*/ 27679 h 27679"/>
                <a:gd name="connsiteX2" fmla="*/ 34064 w 35304"/>
                <a:gd name="connsiteY2" fmla="*/ 22968 h 27679"/>
                <a:gd name="connsiteX3" fmla="*/ 30692 w 35304"/>
                <a:gd name="connsiteY3" fmla="*/ 10293 h 27679"/>
                <a:gd name="connsiteX4" fmla="*/ 13384 w 35304"/>
                <a:gd name="connsiteY4" fmla="*/ 871 h 27679"/>
                <a:gd name="connsiteX5" fmla="*/ 909 w 35304"/>
                <a:gd name="connsiteY5" fmla="*/ 5358 h 27679"/>
                <a:gd name="connsiteX6" fmla="*/ 5315 w 35304"/>
                <a:gd name="connsiteY6" fmla="*/ 17767 h 27679"/>
                <a:gd name="connsiteX7" fmla="*/ 5405 w 35304"/>
                <a:gd name="connsiteY7" fmla="*/ 17808 h 27679"/>
                <a:gd name="connsiteX8" fmla="*/ 21251 w 35304"/>
                <a:gd name="connsiteY8" fmla="*/ 26445 h 27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5304" h="27679">
                  <a:moveTo>
                    <a:pt x="21251" y="26445"/>
                  </a:moveTo>
                  <a:cubicBezTo>
                    <a:pt x="22701" y="27244"/>
                    <a:pt x="24320" y="27668"/>
                    <a:pt x="25972" y="27679"/>
                  </a:cubicBezTo>
                  <a:cubicBezTo>
                    <a:pt x="29310" y="27650"/>
                    <a:pt x="32389" y="25858"/>
                    <a:pt x="34064" y="22968"/>
                  </a:cubicBezTo>
                  <a:cubicBezTo>
                    <a:pt x="36615" y="18536"/>
                    <a:pt x="35109" y="12877"/>
                    <a:pt x="30692" y="10293"/>
                  </a:cubicBezTo>
                  <a:cubicBezTo>
                    <a:pt x="20015" y="4012"/>
                    <a:pt x="13609" y="983"/>
                    <a:pt x="13384" y="871"/>
                  </a:cubicBezTo>
                  <a:cubicBezTo>
                    <a:pt x="8698" y="-1291"/>
                    <a:pt x="3134" y="708"/>
                    <a:pt x="909" y="5358"/>
                  </a:cubicBezTo>
                  <a:cubicBezTo>
                    <a:pt x="-1305" y="9999"/>
                    <a:pt x="662" y="15555"/>
                    <a:pt x="5315" y="17767"/>
                  </a:cubicBezTo>
                  <a:cubicBezTo>
                    <a:pt x="5349" y="17782"/>
                    <a:pt x="5371" y="17795"/>
                    <a:pt x="5405" y="17808"/>
                  </a:cubicBezTo>
                  <a:cubicBezTo>
                    <a:pt x="5405" y="17808"/>
                    <a:pt x="11361" y="20501"/>
                    <a:pt x="21251" y="26445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3" name="Freeform 212">
              <a:extLst>
                <a:ext uri="{FF2B5EF4-FFF2-40B4-BE49-F238E27FC236}">
                  <a16:creationId xmlns:a16="http://schemas.microsoft.com/office/drawing/2014/main" id="{4E3882FB-83E0-3343-B6C8-70AE1254A182}"/>
                </a:ext>
              </a:extLst>
            </p:cNvPr>
            <p:cNvSpPr/>
            <p:nvPr/>
          </p:nvSpPr>
          <p:spPr>
            <a:xfrm>
              <a:off x="7349643" y="1765642"/>
              <a:ext cx="31972" cy="32113"/>
            </a:xfrm>
            <a:custGeom>
              <a:avLst/>
              <a:gdLst>
                <a:gd name="connsiteX0" fmla="*/ 22886 w 31972"/>
                <a:gd name="connsiteY0" fmla="*/ 32104 h 32113"/>
                <a:gd name="connsiteX1" fmla="*/ 29292 w 31972"/>
                <a:gd name="connsiteY1" fmla="*/ 29636 h 32113"/>
                <a:gd name="connsiteX2" fmla="*/ 29292 w 31972"/>
                <a:gd name="connsiteY2" fmla="*/ 16400 h 32113"/>
                <a:gd name="connsiteX3" fmla="*/ 16031 w 31972"/>
                <a:gd name="connsiteY3" fmla="*/ 2716 h 32113"/>
                <a:gd name="connsiteX4" fmla="*/ 2769 w 31972"/>
                <a:gd name="connsiteY4" fmla="*/ 2716 h 32113"/>
                <a:gd name="connsiteX5" fmla="*/ 2702 w 31972"/>
                <a:gd name="connsiteY5" fmla="*/ 15882 h 32113"/>
                <a:gd name="connsiteX6" fmla="*/ 2769 w 31972"/>
                <a:gd name="connsiteY6" fmla="*/ 15952 h 32113"/>
                <a:gd name="connsiteX7" fmla="*/ 15581 w 31972"/>
                <a:gd name="connsiteY7" fmla="*/ 29188 h 32113"/>
                <a:gd name="connsiteX8" fmla="*/ 22886 w 31972"/>
                <a:gd name="connsiteY8" fmla="*/ 32104 h 32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972" h="32113">
                  <a:moveTo>
                    <a:pt x="22886" y="32104"/>
                  </a:moveTo>
                  <a:cubicBezTo>
                    <a:pt x="25258" y="32124"/>
                    <a:pt x="27550" y="31241"/>
                    <a:pt x="29292" y="29636"/>
                  </a:cubicBezTo>
                  <a:cubicBezTo>
                    <a:pt x="32866" y="25943"/>
                    <a:pt x="32866" y="20094"/>
                    <a:pt x="29292" y="16400"/>
                  </a:cubicBezTo>
                  <a:cubicBezTo>
                    <a:pt x="24797" y="11689"/>
                    <a:pt x="20414" y="7090"/>
                    <a:pt x="16031" y="2716"/>
                  </a:cubicBezTo>
                  <a:cubicBezTo>
                    <a:pt x="12356" y="-905"/>
                    <a:pt x="6444" y="-905"/>
                    <a:pt x="2769" y="2716"/>
                  </a:cubicBezTo>
                  <a:cubicBezTo>
                    <a:pt x="-895" y="6332"/>
                    <a:pt x="-928" y="12226"/>
                    <a:pt x="2702" y="15882"/>
                  </a:cubicBezTo>
                  <a:cubicBezTo>
                    <a:pt x="2724" y="15906"/>
                    <a:pt x="2747" y="15928"/>
                    <a:pt x="2769" y="15952"/>
                  </a:cubicBezTo>
                  <a:cubicBezTo>
                    <a:pt x="7040" y="20214"/>
                    <a:pt x="11310" y="24589"/>
                    <a:pt x="15581" y="29188"/>
                  </a:cubicBezTo>
                  <a:cubicBezTo>
                    <a:pt x="17481" y="31162"/>
                    <a:pt x="20144" y="32224"/>
                    <a:pt x="22886" y="32104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4" name="Freeform 213">
              <a:extLst>
                <a:ext uri="{FF2B5EF4-FFF2-40B4-BE49-F238E27FC236}">
                  <a16:creationId xmlns:a16="http://schemas.microsoft.com/office/drawing/2014/main" id="{938BE980-3634-694B-9623-F277DD730BF5}"/>
                </a:ext>
              </a:extLst>
            </p:cNvPr>
            <p:cNvSpPr/>
            <p:nvPr/>
          </p:nvSpPr>
          <p:spPr>
            <a:xfrm>
              <a:off x="7449298" y="2392123"/>
              <a:ext cx="25014" cy="36353"/>
            </a:xfrm>
            <a:custGeom>
              <a:avLst/>
              <a:gdLst>
                <a:gd name="connsiteX0" fmla="*/ 6735 w 25014"/>
                <a:gd name="connsiteY0" fmla="*/ 6292 h 36353"/>
                <a:gd name="connsiteX1" fmla="*/ 553 w 25014"/>
                <a:gd name="connsiteY1" fmla="*/ 23791 h 36353"/>
                <a:gd name="connsiteX2" fmla="*/ 6173 w 25014"/>
                <a:gd name="connsiteY2" fmla="*/ 35793 h 36353"/>
                <a:gd name="connsiteX3" fmla="*/ 9320 w 25014"/>
                <a:gd name="connsiteY3" fmla="*/ 36354 h 36353"/>
                <a:gd name="connsiteX4" fmla="*/ 18198 w 25014"/>
                <a:gd name="connsiteY4" fmla="*/ 30185 h 36353"/>
                <a:gd name="connsiteX5" fmla="*/ 24492 w 25014"/>
                <a:gd name="connsiteY5" fmla="*/ 12349 h 36353"/>
                <a:gd name="connsiteX6" fmla="*/ 18749 w 25014"/>
                <a:gd name="connsiteY6" fmla="*/ 493 h 36353"/>
                <a:gd name="connsiteX7" fmla="*/ 18648 w 25014"/>
                <a:gd name="connsiteY7" fmla="*/ 459 h 36353"/>
                <a:gd name="connsiteX8" fmla="*/ 6735 w 25014"/>
                <a:gd name="connsiteY8" fmla="*/ 6292 h 36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014" h="36353">
                  <a:moveTo>
                    <a:pt x="6735" y="6292"/>
                  </a:moveTo>
                  <a:cubicBezTo>
                    <a:pt x="4712" y="12125"/>
                    <a:pt x="2689" y="17509"/>
                    <a:pt x="553" y="23791"/>
                  </a:cubicBezTo>
                  <a:cubicBezTo>
                    <a:pt x="-1189" y="28648"/>
                    <a:pt x="1318" y="33998"/>
                    <a:pt x="6173" y="35793"/>
                  </a:cubicBezTo>
                  <a:cubicBezTo>
                    <a:pt x="7184" y="36141"/>
                    <a:pt x="8252" y="36331"/>
                    <a:pt x="9320" y="36354"/>
                  </a:cubicBezTo>
                  <a:cubicBezTo>
                    <a:pt x="13276" y="36331"/>
                    <a:pt x="16805" y="33875"/>
                    <a:pt x="18198" y="30185"/>
                  </a:cubicBezTo>
                  <a:cubicBezTo>
                    <a:pt x="20334" y="24240"/>
                    <a:pt x="22469" y="18295"/>
                    <a:pt x="24492" y="12349"/>
                  </a:cubicBezTo>
                  <a:cubicBezTo>
                    <a:pt x="26189" y="7492"/>
                    <a:pt x="23615" y="2187"/>
                    <a:pt x="18749" y="493"/>
                  </a:cubicBezTo>
                  <a:cubicBezTo>
                    <a:pt x="18715" y="482"/>
                    <a:pt x="18681" y="471"/>
                    <a:pt x="18648" y="459"/>
                  </a:cubicBezTo>
                  <a:cubicBezTo>
                    <a:pt x="13748" y="-1111"/>
                    <a:pt x="8488" y="1469"/>
                    <a:pt x="6735" y="6292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5" name="Freeform 214">
              <a:extLst>
                <a:ext uri="{FF2B5EF4-FFF2-40B4-BE49-F238E27FC236}">
                  <a16:creationId xmlns:a16="http://schemas.microsoft.com/office/drawing/2014/main" id="{45364577-C6B0-0540-A540-98CCD7154321}"/>
                </a:ext>
              </a:extLst>
            </p:cNvPr>
            <p:cNvSpPr/>
            <p:nvPr/>
          </p:nvSpPr>
          <p:spPr>
            <a:xfrm>
              <a:off x="7439724" y="1884864"/>
              <a:ext cx="27381" cy="35259"/>
            </a:xfrm>
            <a:custGeom>
              <a:avLst/>
              <a:gdLst>
                <a:gd name="connsiteX0" fmla="*/ 4957 w 27381"/>
                <a:gd name="connsiteY0" fmla="*/ 1160 h 35259"/>
                <a:gd name="connsiteX1" fmla="*/ 1091 w 27381"/>
                <a:gd name="connsiteY1" fmla="*/ 13745 h 35259"/>
                <a:gd name="connsiteX2" fmla="*/ 1136 w 27381"/>
                <a:gd name="connsiteY2" fmla="*/ 13835 h 35259"/>
                <a:gd name="connsiteX3" fmla="*/ 9677 w 27381"/>
                <a:gd name="connsiteY3" fmla="*/ 30100 h 35259"/>
                <a:gd name="connsiteX4" fmla="*/ 17994 w 27381"/>
                <a:gd name="connsiteY4" fmla="*/ 35259 h 35259"/>
                <a:gd name="connsiteX5" fmla="*/ 22152 w 27381"/>
                <a:gd name="connsiteY5" fmla="*/ 34362 h 35259"/>
                <a:gd name="connsiteX6" fmla="*/ 26423 w 27381"/>
                <a:gd name="connsiteY6" fmla="*/ 21799 h 35259"/>
                <a:gd name="connsiteX7" fmla="*/ 17657 w 27381"/>
                <a:gd name="connsiteY7" fmla="*/ 4861 h 35259"/>
                <a:gd name="connsiteX8" fmla="*/ 5002 w 27381"/>
                <a:gd name="connsiteY8" fmla="*/ 1134 h 35259"/>
                <a:gd name="connsiteX9" fmla="*/ 4957 w 27381"/>
                <a:gd name="connsiteY9" fmla="*/ 1160 h 35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381" h="35259">
                  <a:moveTo>
                    <a:pt x="4957" y="1160"/>
                  </a:moveTo>
                  <a:cubicBezTo>
                    <a:pt x="406" y="3569"/>
                    <a:pt x="-1325" y="9202"/>
                    <a:pt x="1091" y="13745"/>
                  </a:cubicBezTo>
                  <a:cubicBezTo>
                    <a:pt x="1102" y="13779"/>
                    <a:pt x="1125" y="13801"/>
                    <a:pt x="1136" y="13835"/>
                  </a:cubicBezTo>
                  <a:cubicBezTo>
                    <a:pt x="4058" y="19107"/>
                    <a:pt x="6868" y="25052"/>
                    <a:pt x="9677" y="30100"/>
                  </a:cubicBezTo>
                  <a:cubicBezTo>
                    <a:pt x="11251" y="33252"/>
                    <a:pt x="14465" y="35248"/>
                    <a:pt x="17994" y="35259"/>
                  </a:cubicBezTo>
                  <a:cubicBezTo>
                    <a:pt x="19421" y="35226"/>
                    <a:pt x="20838" y="34923"/>
                    <a:pt x="22152" y="34362"/>
                  </a:cubicBezTo>
                  <a:cubicBezTo>
                    <a:pt x="26794" y="32051"/>
                    <a:pt x="28693" y="26443"/>
                    <a:pt x="26423" y="21799"/>
                  </a:cubicBezTo>
                  <a:cubicBezTo>
                    <a:pt x="23614" y="16078"/>
                    <a:pt x="20691" y="10582"/>
                    <a:pt x="17657" y="4861"/>
                  </a:cubicBezTo>
                  <a:cubicBezTo>
                    <a:pt x="15196" y="346"/>
                    <a:pt x="9531" y="-1324"/>
                    <a:pt x="5002" y="1134"/>
                  </a:cubicBezTo>
                  <a:cubicBezTo>
                    <a:pt x="4991" y="1143"/>
                    <a:pt x="4969" y="1151"/>
                    <a:pt x="4957" y="1160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6" name="Freeform 215">
              <a:extLst>
                <a:ext uri="{FF2B5EF4-FFF2-40B4-BE49-F238E27FC236}">
                  <a16:creationId xmlns:a16="http://schemas.microsoft.com/office/drawing/2014/main" id="{6B509AB0-610A-B543-8D19-198978F08A7F}"/>
                </a:ext>
              </a:extLst>
            </p:cNvPr>
            <p:cNvSpPr/>
            <p:nvPr/>
          </p:nvSpPr>
          <p:spPr>
            <a:xfrm>
              <a:off x="7489634" y="2247533"/>
              <a:ext cx="22139" cy="37590"/>
            </a:xfrm>
            <a:custGeom>
              <a:avLst/>
              <a:gdLst>
                <a:gd name="connsiteX0" fmla="*/ 3486 w 22139"/>
                <a:gd name="connsiteY0" fmla="*/ 8202 h 37590"/>
                <a:gd name="connsiteX1" fmla="*/ 227 w 22139"/>
                <a:gd name="connsiteY1" fmla="*/ 26373 h 37590"/>
                <a:gd name="connsiteX2" fmla="*/ 7285 w 22139"/>
                <a:gd name="connsiteY2" fmla="*/ 37500 h 37590"/>
                <a:gd name="connsiteX3" fmla="*/ 7757 w 22139"/>
                <a:gd name="connsiteY3" fmla="*/ 37590 h 37590"/>
                <a:gd name="connsiteX4" fmla="*/ 9443 w 22139"/>
                <a:gd name="connsiteY4" fmla="*/ 37590 h 37590"/>
                <a:gd name="connsiteX5" fmla="*/ 18659 w 22139"/>
                <a:gd name="connsiteY5" fmla="*/ 29963 h 37590"/>
                <a:gd name="connsiteX6" fmla="*/ 21918 w 22139"/>
                <a:gd name="connsiteY6" fmla="*/ 11342 h 37590"/>
                <a:gd name="connsiteX7" fmla="*/ 14815 w 22139"/>
                <a:gd name="connsiteY7" fmla="*/ 249 h 37590"/>
                <a:gd name="connsiteX8" fmla="*/ 14163 w 22139"/>
                <a:gd name="connsiteY8" fmla="*/ 125 h 37590"/>
                <a:gd name="connsiteX9" fmla="*/ 3554 w 22139"/>
                <a:gd name="connsiteY9" fmla="*/ 7686 h 37590"/>
                <a:gd name="connsiteX10" fmla="*/ 3486 w 22139"/>
                <a:gd name="connsiteY10" fmla="*/ 8202 h 37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139" h="37590">
                  <a:moveTo>
                    <a:pt x="3486" y="8202"/>
                  </a:moveTo>
                  <a:cubicBezTo>
                    <a:pt x="2475" y="14147"/>
                    <a:pt x="1351" y="20204"/>
                    <a:pt x="227" y="26373"/>
                  </a:cubicBezTo>
                  <a:cubicBezTo>
                    <a:pt x="-897" y="31387"/>
                    <a:pt x="2261" y="36368"/>
                    <a:pt x="7285" y="37500"/>
                  </a:cubicBezTo>
                  <a:cubicBezTo>
                    <a:pt x="7442" y="37534"/>
                    <a:pt x="7600" y="37568"/>
                    <a:pt x="7757" y="37590"/>
                  </a:cubicBezTo>
                  <a:lnTo>
                    <a:pt x="9443" y="37590"/>
                  </a:lnTo>
                  <a:cubicBezTo>
                    <a:pt x="13938" y="37568"/>
                    <a:pt x="17804" y="34371"/>
                    <a:pt x="18659" y="29963"/>
                  </a:cubicBezTo>
                  <a:cubicBezTo>
                    <a:pt x="19783" y="23681"/>
                    <a:pt x="20906" y="17512"/>
                    <a:pt x="21918" y="11342"/>
                  </a:cubicBezTo>
                  <a:cubicBezTo>
                    <a:pt x="23031" y="6317"/>
                    <a:pt x="19850" y="1348"/>
                    <a:pt x="14815" y="249"/>
                  </a:cubicBezTo>
                  <a:cubicBezTo>
                    <a:pt x="14602" y="193"/>
                    <a:pt x="14388" y="159"/>
                    <a:pt x="14163" y="125"/>
                  </a:cubicBezTo>
                  <a:cubicBezTo>
                    <a:pt x="9139" y="-705"/>
                    <a:pt x="4397" y="2672"/>
                    <a:pt x="3554" y="7686"/>
                  </a:cubicBezTo>
                  <a:cubicBezTo>
                    <a:pt x="3531" y="7854"/>
                    <a:pt x="3509" y="8033"/>
                    <a:pt x="3486" y="8202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7" name="Freeform 216">
              <a:extLst>
                <a:ext uri="{FF2B5EF4-FFF2-40B4-BE49-F238E27FC236}">
                  <a16:creationId xmlns:a16="http://schemas.microsoft.com/office/drawing/2014/main" id="{1A2BAA6D-5F6B-F247-B3AD-4D8A8351BF7D}"/>
                </a:ext>
              </a:extLst>
            </p:cNvPr>
            <p:cNvSpPr/>
            <p:nvPr/>
          </p:nvSpPr>
          <p:spPr>
            <a:xfrm>
              <a:off x="7499602" y="2173609"/>
              <a:ext cx="20058" cy="37258"/>
            </a:xfrm>
            <a:custGeom>
              <a:avLst/>
              <a:gdLst>
                <a:gd name="connsiteX0" fmla="*/ 9364 w 20058"/>
                <a:gd name="connsiteY0" fmla="*/ 37258 h 37258"/>
                <a:gd name="connsiteX1" fmla="*/ 18692 w 20058"/>
                <a:gd name="connsiteY1" fmla="*/ 28733 h 37258"/>
                <a:gd name="connsiteX2" fmla="*/ 20041 w 20058"/>
                <a:gd name="connsiteY2" fmla="*/ 9889 h 37258"/>
                <a:gd name="connsiteX3" fmla="*/ 11275 w 20058"/>
                <a:gd name="connsiteY3" fmla="*/ 18 h 37258"/>
                <a:gd name="connsiteX4" fmla="*/ 1385 w 20058"/>
                <a:gd name="connsiteY4" fmla="*/ 8767 h 37258"/>
                <a:gd name="connsiteX5" fmla="*/ 36 w 20058"/>
                <a:gd name="connsiteY5" fmla="*/ 27163 h 37258"/>
                <a:gd name="connsiteX6" fmla="*/ 8510 w 20058"/>
                <a:gd name="connsiteY6" fmla="*/ 37247 h 37258"/>
                <a:gd name="connsiteX7" fmla="*/ 8578 w 20058"/>
                <a:gd name="connsiteY7" fmla="*/ 37258 h 37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058" h="37258">
                  <a:moveTo>
                    <a:pt x="9364" y="37258"/>
                  </a:moveTo>
                  <a:cubicBezTo>
                    <a:pt x="14242" y="37325"/>
                    <a:pt x="18333" y="33590"/>
                    <a:pt x="18692" y="28733"/>
                  </a:cubicBezTo>
                  <a:cubicBezTo>
                    <a:pt x="19288" y="22373"/>
                    <a:pt x="19738" y="16092"/>
                    <a:pt x="20041" y="9889"/>
                  </a:cubicBezTo>
                  <a:cubicBezTo>
                    <a:pt x="20356" y="4751"/>
                    <a:pt x="16422" y="332"/>
                    <a:pt x="11275" y="18"/>
                  </a:cubicBezTo>
                  <a:cubicBezTo>
                    <a:pt x="6128" y="-296"/>
                    <a:pt x="1700" y="3629"/>
                    <a:pt x="1385" y="8767"/>
                  </a:cubicBezTo>
                  <a:cubicBezTo>
                    <a:pt x="1385" y="14824"/>
                    <a:pt x="598" y="20993"/>
                    <a:pt x="36" y="27163"/>
                  </a:cubicBezTo>
                  <a:cubicBezTo>
                    <a:pt x="-413" y="32289"/>
                    <a:pt x="3374" y="36798"/>
                    <a:pt x="8510" y="37247"/>
                  </a:cubicBezTo>
                  <a:cubicBezTo>
                    <a:pt x="8533" y="37258"/>
                    <a:pt x="8555" y="37258"/>
                    <a:pt x="8578" y="37258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8" name="Freeform 217">
              <a:extLst>
                <a:ext uri="{FF2B5EF4-FFF2-40B4-BE49-F238E27FC236}">
                  <a16:creationId xmlns:a16="http://schemas.microsoft.com/office/drawing/2014/main" id="{40446E18-0A1A-284D-A415-CAF51395487A}"/>
                </a:ext>
              </a:extLst>
            </p:cNvPr>
            <p:cNvSpPr/>
            <p:nvPr/>
          </p:nvSpPr>
          <p:spPr>
            <a:xfrm>
              <a:off x="7472299" y="2320994"/>
              <a:ext cx="23599" cy="36733"/>
            </a:xfrm>
            <a:custGeom>
              <a:avLst/>
              <a:gdLst>
                <a:gd name="connsiteX0" fmla="*/ 5199 w 23599"/>
                <a:gd name="connsiteY0" fmla="*/ 6979 h 36733"/>
                <a:gd name="connsiteX1" fmla="*/ 367 w 23599"/>
                <a:gd name="connsiteY1" fmla="*/ 24814 h 36733"/>
                <a:gd name="connsiteX2" fmla="*/ 6773 w 23599"/>
                <a:gd name="connsiteY2" fmla="*/ 36367 h 36733"/>
                <a:gd name="connsiteX3" fmla="*/ 18349 w 23599"/>
                <a:gd name="connsiteY3" fmla="*/ 29974 h 36733"/>
                <a:gd name="connsiteX4" fmla="*/ 23294 w 23599"/>
                <a:gd name="connsiteY4" fmla="*/ 11690 h 36733"/>
                <a:gd name="connsiteX5" fmla="*/ 16607 w 23599"/>
                <a:gd name="connsiteY5" fmla="*/ 305 h 36733"/>
                <a:gd name="connsiteX6" fmla="*/ 5199 w 23599"/>
                <a:gd name="connsiteY6" fmla="*/ 6979 h 3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599" h="36733">
                  <a:moveTo>
                    <a:pt x="5199" y="6979"/>
                  </a:moveTo>
                  <a:cubicBezTo>
                    <a:pt x="3626" y="12924"/>
                    <a:pt x="2052" y="18869"/>
                    <a:pt x="367" y="24814"/>
                  </a:cubicBezTo>
                  <a:cubicBezTo>
                    <a:pt x="-1061" y="29772"/>
                    <a:pt x="1805" y="34943"/>
                    <a:pt x="6773" y="36367"/>
                  </a:cubicBezTo>
                  <a:cubicBezTo>
                    <a:pt x="11740" y="37792"/>
                    <a:pt x="16921" y="34932"/>
                    <a:pt x="18349" y="29974"/>
                  </a:cubicBezTo>
                  <a:cubicBezTo>
                    <a:pt x="20147" y="23804"/>
                    <a:pt x="21720" y="17747"/>
                    <a:pt x="23294" y="11690"/>
                  </a:cubicBezTo>
                  <a:cubicBezTo>
                    <a:pt x="24597" y="6699"/>
                    <a:pt x="21608" y="1606"/>
                    <a:pt x="16607" y="305"/>
                  </a:cubicBezTo>
                  <a:cubicBezTo>
                    <a:pt x="11605" y="-996"/>
                    <a:pt x="6503" y="1987"/>
                    <a:pt x="5199" y="6979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9" name="Freeform 218">
              <a:extLst>
                <a:ext uri="{FF2B5EF4-FFF2-40B4-BE49-F238E27FC236}">
                  <a16:creationId xmlns:a16="http://schemas.microsoft.com/office/drawing/2014/main" id="{AD321675-DFF0-6440-BBA3-A202775C98EB}"/>
                </a:ext>
              </a:extLst>
            </p:cNvPr>
            <p:cNvSpPr/>
            <p:nvPr/>
          </p:nvSpPr>
          <p:spPr>
            <a:xfrm>
              <a:off x="7470011" y="1953548"/>
              <a:ext cx="25107" cy="36463"/>
            </a:xfrm>
            <a:custGeom>
              <a:avLst/>
              <a:gdLst>
                <a:gd name="connsiteX0" fmla="*/ 6926 w 25107"/>
                <a:gd name="connsiteY0" fmla="*/ 29840 h 36463"/>
                <a:gd name="connsiteX1" fmla="*/ 15916 w 25107"/>
                <a:gd name="connsiteY1" fmla="*/ 36345 h 36463"/>
                <a:gd name="connsiteX2" fmla="*/ 18726 w 25107"/>
                <a:gd name="connsiteY2" fmla="*/ 36345 h 36463"/>
                <a:gd name="connsiteX3" fmla="*/ 24795 w 25107"/>
                <a:gd name="connsiteY3" fmla="*/ 25129 h 36463"/>
                <a:gd name="connsiteX4" fmla="*/ 18614 w 25107"/>
                <a:gd name="connsiteY4" fmla="*/ 7181 h 36463"/>
                <a:gd name="connsiteX5" fmla="*/ 7195 w 25107"/>
                <a:gd name="connsiteY5" fmla="*/ 272 h 36463"/>
                <a:gd name="connsiteX6" fmla="*/ 272 w 25107"/>
                <a:gd name="connsiteY6" fmla="*/ 11668 h 36463"/>
                <a:gd name="connsiteX7" fmla="*/ 969 w 25107"/>
                <a:gd name="connsiteY7" fmla="*/ 13575 h 36463"/>
                <a:gd name="connsiteX8" fmla="*/ 6926 w 25107"/>
                <a:gd name="connsiteY8" fmla="*/ 29840 h 3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107" h="36463">
                  <a:moveTo>
                    <a:pt x="6926" y="29840"/>
                  </a:moveTo>
                  <a:cubicBezTo>
                    <a:pt x="8162" y="33743"/>
                    <a:pt x="11814" y="36390"/>
                    <a:pt x="15916" y="36345"/>
                  </a:cubicBezTo>
                  <a:cubicBezTo>
                    <a:pt x="16849" y="36503"/>
                    <a:pt x="17794" y="36503"/>
                    <a:pt x="18726" y="36345"/>
                  </a:cubicBezTo>
                  <a:cubicBezTo>
                    <a:pt x="23402" y="34786"/>
                    <a:pt x="26054" y="29884"/>
                    <a:pt x="24795" y="25129"/>
                  </a:cubicBezTo>
                  <a:cubicBezTo>
                    <a:pt x="22885" y="19071"/>
                    <a:pt x="20749" y="13014"/>
                    <a:pt x="18614" y="7181"/>
                  </a:cubicBezTo>
                  <a:cubicBezTo>
                    <a:pt x="17367" y="2122"/>
                    <a:pt x="12264" y="-962"/>
                    <a:pt x="7195" y="272"/>
                  </a:cubicBezTo>
                  <a:cubicBezTo>
                    <a:pt x="2127" y="1517"/>
                    <a:pt x="-964" y="6620"/>
                    <a:pt x="272" y="11668"/>
                  </a:cubicBezTo>
                  <a:cubicBezTo>
                    <a:pt x="441" y="12330"/>
                    <a:pt x="666" y="12969"/>
                    <a:pt x="969" y="13575"/>
                  </a:cubicBezTo>
                  <a:cubicBezTo>
                    <a:pt x="3104" y="17613"/>
                    <a:pt x="5015" y="23446"/>
                    <a:pt x="6926" y="29840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0" name="Freeform 219">
              <a:extLst>
                <a:ext uri="{FF2B5EF4-FFF2-40B4-BE49-F238E27FC236}">
                  <a16:creationId xmlns:a16="http://schemas.microsoft.com/office/drawing/2014/main" id="{34C255CE-5F45-EF4A-BD00-7FF029D0D17E}"/>
                </a:ext>
              </a:extLst>
            </p:cNvPr>
            <p:cNvSpPr/>
            <p:nvPr/>
          </p:nvSpPr>
          <p:spPr>
            <a:xfrm>
              <a:off x="7399199" y="1822064"/>
              <a:ext cx="29785" cy="33785"/>
            </a:xfrm>
            <a:custGeom>
              <a:avLst/>
              <a:gdLst>
                <a:gd name="connsiteX0" fmla="*/ 20420 w 29785"/>
                <a:gd name="connsiteY0" fmla="*/ 33786 h 33785"/>
                <a:gd name="connsiteX1" fmla="*/ 25814 w 29785"/>
                <a:gd name="connsiteY1" fmla="*/ 32103 h 33785"/>
                <a:gd name="connsiteX2" fmla="*/ 28096 w 29785"/>
                <a:gd name="connsiteY2" fmla="*/ 19134 h 33785"/>
                <a:gd name="connsiteX3" fmla="*/ 28062 w 29785"/>
                <a:gd name="connsiteY3" fmla="*/ 19092 h 33785"/>
                <a:gd name="connsiteX4" fmla="*/ 16823 w 29785"/>
                <a:gd name="connsiteY4" fmla="*/ 3724 h 33785"/>
                <a:gd name="connsiteX5" fmla="*/ 3730 w 29785"/>
                <a:gd name="connsiteY5" fmla="*/ 1874 h 33785"/>
                <a:gd name="connsiteX6" fmla="*/ 1876 w 29785"/>
                <a:gd name="connsiteY6" fmla="*/ 14941 h 33785"/>
                <a:gd name="connsiteX7" fmla="*/ 13115 w 29785"/>
                <a:gd name="connsiteY7" fmla="*/ 29860 h 33785"/>
                <a:gd name="connsiteX8" fmla="*/ 20420 w 29785"/>
                <a:gd name="connsiteY8" fmla="*/ 33786 h 33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785" h="33785">
                  <a:moveTo>
                    <a:pt x="20420" y="33786"/>
                  </a:moveTo>
                  <a:cubicBezTo>
                    <a:pt x="22342" y="33781"/>
                    <a:pt x="24230" y="33195"/>
                    <a:pt x="25814" y="32103"/>
                  </a:cubicBezTo>
                  <a:cubicBezTo>
                    <a:pt x="30029" y="29150"/>
                    <a:pt x="31052" y="23344"/>
                    <a:pt x="28096" y="19134"/>
                  </a:cubicBezTo>
                  <a:cubicBezTo>
                    <a:pt x="28084" y="19121"/>
                    <a:pt x="28073" y="19106"/>
                    <a:pt x="28062" y="19092"/>
                  </a:cubicBezTo>
                  <a:cubicBezTo>
                    <a:pt x="24466" y="13820"/>
                    <a:pt x="20645" y="8660"/>
                    <a:pt x="16823" y="3724"/>
                  </a:cubicBezTo>
                  <a:cubicBezTo>
                    <a:pt x="13722" y="-396"/>
                    <a:pt x="7855" y="-1223"/>
                    <a:pt x="3730" y="1874"/>
                  </a:cubicBezTo>
                  <a:cubicBezTo>
                    <a:pt x="-394" y="4971"/>
                    <a:pt x="-1226" y="10821"/>
                    <a:pt x="1876" y="14941"/>
                  </a:cubicBezTo>
                  <a:cubicBezTo>
                    <a:pt x="5472" y="19765"/>
                    <a:pt x="9069" y="24700"/>
                    <a:pt x="13115" y="29860"/>
                  </a:cubicBezTo>
                  <a:cubicBezTo>
                    <a:pt x="14800" y="32237"/>
                    <a:pt x="17509" y="33689"/>
                    <a:pt x="20420" y="33786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1" name="Freeform 220">
              <a:extLst>
                <a:ext uri="{FF2B5EF4-FFF2-40B4-BE49-F238E27FC236}">
                  <a16:creationId xmlns:a16="http://schemas.microsoft.com/office/drawing/2014/main" id="{9A1876D7-6271-5940-8A67-6B1AC573D57E}"/>
                </a:ext>
              </a:extLst>
            </p:cNvPr>
            <p:cNvSpPr/>
            <p:nvPr/>
          </p:nvSpPr>
          <p:spPr>
            <a:xfrm>
              <a:off x="8381215" y="3358546"/>
              <a:ext cx="37690" cy="22699"/>
            </a:xfrm>
            <a:custGeom>
              <a:avLst/>
              <a:gdLst>
                <a:gd name="connsiteX0" fmla="*/ 11002 w 37690"/>
                <a:gd name="connsiteY0" fmla="*/ 22475 h 22699"/>
                <a:gd name="connsiteX1" fmla="*/ 29434 w 37690"/>
                <a:gd name="connsiteY1" fmla="*/ 18774 h 22699"/>
                <a:gd name="connsiteX2" fmla="*/ 37615 w 37690"/>
                <a:gd name="connsiteY2" fmla="*/ 8241 h 22699"/>
                <a:gd name="connsiteX3" fmla="*/ 27051 w 37690"/>
                <a:gd name="connsiteY3" fmla="*/ 75 h 22699"/>
                <a:gd name="connsiteX4" fmla="*/ 25612 w 37690"/>
                <a:gd name="connsiteY4" fmla="*/ 378 h 22699"/>
                <a:gd name="connsiteX5" fmla="*/ 7405 w 37690"/>
                <a:gd name="connsiteY5" fmla="*/ 4080 h 22699"/>
                <a:gd name="connsiteX6" fmla="*/ 224 w 37690"/>
                <a:gd name="connsiteY6" fmla="*/ 15308 h 22699"/>
                <a:gd name="connsiteX7" fmla="*/ 9204 w 37690"/>
                <a:gd name="connsiteY7" fmla="*/ 22700 h 22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7690" h="22699">
                  <a:moveTo>
                    <a:pt x="11002" y="22475"/>
                  </a:moveTo>
                  <a:lnTo>
                    <a:pt x="29434" y="18774"/>
                  </a:lnTo>
                  <a:cubicBezTo>
                    <a:pt x="34603" y="18123"/>
                    <a:pt x="38267" y="13401"/>
                    <a:pt x="37615" y="8241"/>
                  </a:cubicBezTo>
                  <a:cubicBezTo>
                    <a:pt x="36952" y="3081"/>
                    <a:pt x="32232" y="-576"/>
                    <a:pt x="27051" y="75"/>
                  </a:cubicBezTo>
                  <a:cubicBezTo>
                    <a:pt x="26568" y="142"/>
                    <a:pt x="26084" y="243"/>
                    <a:pt x="25612" y="378"/>
                  </a:cubicBezTo>
                  <a:cubicBezTo>
                    <a:pt x="19656" y="1724"/>
                    <a:pt x="13474" y="2958"/>
                    <a:pt x="7405" y="4080"/>
                  </a:cubicBezTo>
                  <a:cubicBezTo>
                    <a:pt x="2314" y="5201"/>
                    <a:pt x="-900" y="10226"/>
                    <a:pt x="224" y="15308"/>
                  </a:cubicBezTo>
                  <a:cubicBezTo>
                    <a:pt x="1157" y="19548"/>
                    <a:pt x="4865" y="22587"/>
                    <a:pt x="9204" y="22700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2" name="Freeform 221">
              <a:extLst>
                <a:ext uri="{FF2B5EF4-FFF2-40B4-BE49-F238E27FC236}">
                  <a16:creationId xmlns:a16="http://schemas.microsoft.com/office/drawing/2014/main" id="{E24D3C07-E721-2E4A-93FF-476EBC667B87}"/>
                </a:ext>
              </a:extLst>
            </p:cNvPr>
            <p:cNvSpPr/>
            <p:nvPr/>
          </p:nvSpPr>
          <p:spPr>
            <a:xfrm>
              <a:off x="8232279" y="3381751"/>
              <a:ext cx="37828" cy="20593"/>
            </a:xfrm>
            <a:custGeom>
              <a:avLst/>
              <a:gdLst>
                <a:gd name="connsiteX0" fmla="*/ 8889 w 37828"/>
                <a:gd name="connsiteY0" fmla="*/ 1963 h 20593"/>
                <a:gd name="connsiteX1" fmla="*/ 11 w 37828"/>
                <a:gd name="connsiteY1" fmla="*/ 11722 h 20593"/>
                <a:gd name="connsiteX2" fmla="*/ 9789 w 37828"/>
                <a:gd name="connsiteY2" fmla="*/ 20583 h 20593"/>
                <a:gd name="connsiteX3" fmla="*/ 10687 w 37828"/>
                <a:gd name="connsiteY3" fmla="*/ 20583 h 20593"/>
                <a:gd name="connsiteX4" fmla="*/ 29456 w 37828"/>
                <a:gd name="connsiteY4" fmla="*/ 18676 h 20593"/>
                <a:gd name="connsiteX5" fmla="*/ 37773 w 37828"/>
                <a:gd name="connsiteY5" fmla="*/ 8357 h 20593"/>
                <a:gd name="connsiteX6" fmla="*/ 27433 w 37828"/>
                <a:gd name="connsiteY6" fmla="*/ 56 h 20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828" h="20593">
                  <a:moveTo>
                    <a:pt x="8889" y="1963"/>
                  </a:moveTo>
                  <a:cubicBezTo>
                    <a:pt x="3742" y="2210"/>
                    <a:pt x="-237" y="6584"/>
                    <a:pt x="11" y="11722"/>
                  </a:cubicBezTo>
                  <a:cubicBezTo>
                    <a:pt x="258" y="16859"/>
                    <a:pt x="4641" y="20830"/>
                    <a:pt x="9789" y="20583"/>
                  </a:cubicBezTo>
                  <a:lnTo>
                    <a:pt x="10687" y="20583"/>
                  </a:lnTo>
                  <a:lnTo>
                    <a:pt x="29456" y="18676"/>
                  </a:lnTo>
                  <a:cubicBezTo>
                    <a:pt x="34604" y="18115"/>
                    <a:pt x="38335" y="13494"/>
                    <a:pt x="37773" y="8357"/>
                  </a:cubicBezTo>
                  <a:cubicBezTo>
                    <a:pt x="37211" y="3219"/>
                    <a:pt x="32581" y="-505"/>
                    <a:pt x="27433" y="56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3" name="Freeform 222">
              <a:extLst>
                <a:ext uri="{FF2B5EF4-FFF2-40B4-BE49-F238E27FC236}">
                  <a16:creationId xmlns:a16="http://schemas.microsoft.com/office/drawing/2014/main" id="{680990A1-AD6D-9640-B1D7-88B61F510A06}"/>
                </a:ext>
              </a:extLst>
            </p:cNvPr>
            <p:cNvSpPr/>
            <p:nvPr/>
          </p:nvSpPr>
          <p:spPr>
            <a:xfrm>
              <a:off x="8595338" y="3289729"/>
              <a:ext cx="35957" cy="26459"/>
            </a:xfrm>
            <a:custGeom>
              <a:avLst/>
              <a:gdLst>
                <a:gd name="connsiteX0" fmla="*/ 9402 w 35957"/>
                <a:gd name="connsiteY0" fmla="*/ 26458 h 26459"/>
                <a:gd name="connsiteX1" fmla="*/ 13111 w 35957"/>
                <a:gd name="connsiteY1" fmla="*/ 25673 h 26459"/>
                <a:gd name="connsiteX2" fmla="*/ 30419 w 35957"/>
                <a:gd name="connsiteY2" fmla="*/ 17821 h 26459"/>
                <a:gd name="connsiteX3" fmla="*/ 35151 w 35957"/>
                <a:gd name="connsiteY3" fmla="*/ 5527 h 26459"/>
                <a:gd name="connsiteX4" fmla="*/ 22833 w 35957"/>
                <a:gd name="connsiteY4" fmla="*/ 805 h 26459"/>
                <a:gd name="connsiteX5" fmla="*/ 22440 w 35957"/>
                <a:gd name="connsiteY5" fmla="*/ 996 h 26459"/>
                <a:gd name="connsiteX6" fmla="*/ 5582 w 35957"/>
                <a:gd name="connsiteY6" fmla="*/ 8623 h 26459"/>
                <a:gd name="connsiteX7" fmla="*/ 794 w 35957"/>
                <a:gd name="connsiteY7" fmla="*/ 20894 h 26459"/>
                <a:gd name="connsiteX8" fmla="*/ 9402 w 35957"/>
                <a:gd name="connsiteY8" fmla="*/ 26458 h 26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5957" h="26459">
                  <a:moveTo>
                    <a:pt x="9402" y="26458"/>
                  </a:moveTo>
                  <a:cubicBezTo>
                    <a:pt x="10684" y="26480"/>
                    <a:pt x="11954" y="26211"/>
                    <a:pt x="13111" y="25673"/>
                  </a:cubicBezTo>
                  <a:cubicBezTo>
                    <a:pt x="19068" y="23093"/>
                    <a:pt x="24350" y="20513"/>
                    <a:pt x="30419" y="17821"/>
                  </a:cubicBezTo>
                  <a:cubicBezTo>
                    <a:pt x="35128" y="15735"/>
                    <a:pt x="37241" y="10227"/>
                    <a:pt x="35151" y="5527"/>
                  </a:cubicBezTo>
                  <a:cubicBezTo>
                    <a:pt x="33049" y="827"/>
                    <a:pt x="27542" y="-1282"/>
                    <a:pt x="22833" y="805"/>
                  </a:cubicBezTo>
                  <a:cubicBezTo>
                    <a:pt x="22698" y="872"/>
                    <a:pt x="22574" y="928"/>
                    <a:pt x="22440" y="996"/>
                  </a:cubicBezTo>
                  <a:lnTo>
                    <a:pt x="5582" y="8623"/>
                  </a:lnTo>
                  <a:cubicBezTo>
                    <a:pt x="862" y="10687"/>
                    <a:pt x="-1285" y="16183"/>
                    <a:pt x="794" y="20894"/>
                  </a:cubicBezTo>
                  <a:cubicBezTo>
                    <a:pt x="2288" y="24293"/>
                    <a:pt x="5672" y="26492"/>
                    <a:pt x="9402" y="26458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4" name="Freeform 223">
              <a:extLst>
                <a:ext uri="{FF2B5EF4-FFF2-40B4-BE49-F238E27FC236}">
                  <a16:creationId xmlns:a16="http://schemas.microsoft.com/office/drawing/2014/main" id="{0930E026-97F6-2541-BD06-2CA983A23D61}"/>
                </a:ext>
              </a:extLst>
            </p:cNvPr>
            <p:cNvSpPr/>
            <p:nvPr/>
          </p:nvSpPr>
          <p:spPr>
            <a:xfrm>
              <a:off x="8662259" y="3254727"/>
              <a:ext cx="34911" cy="28146"/>
            </a:xfrm>
            <a:custGeom>
              <a:avLst/>
              <a:gdLst>
                <a:gd name="connsiteX0" fmla="*/ 9352 w 34911"/>
                <a:gd name="connsiteY0" fmla="*/ 28147 h 28146"/>
                <a:gd name="connsiteX1" fmla="*/ 13960 w 34911"/>
                <a:gd name="connsiteY1" fmla="*/ 26913 h 28146"/>
                <a:gd name="connsiteX2" fmla="*/ 30368 w 34911"/>
                <a:gd name="connsiteY2" fmla="*/ 17378 h 28146"/>
                <a:gd name="connsiteX3" fmla="*/ 33571 w 34911"/>
                <a:gd name="connsiteY3" fmla="*/ 4535 h 28146"/>
                <a:gd name="connsiteX4" fmla="*/ 20703 w 34911"/>
                <a:gd name="connsiteY4" fmla="*/ 1338 h 28146"/>
                <a:gd name="connsiteX5" fmla="*/ 4744 w 34911"/>
                <a:gd name="connsiteY5" fmla="*/ 10648 h 28146"/>
                <a:gd name="connsiteX6" fmla="*/ 1204 w 34911"/>
                <a:gd name="connsiteY6" fmla="*/ 23334 h 28146"/>
                <a:gd name="connsiteX7" fmla="*/ 1260 w 34911"/>
                <a:gd name="connsiteY7" fmla="*/ 23435 h 28146"/>
                <a:gd name="connsiteX8" fmla="*/ 9352 w 34911"/>
                <a:gd name="connsiteY8" fmla="*/ 28147 h 28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911" h="28146">
                  <a:moveTo>
                    <a:pt x="9352" y="28147"/>
                  </a:moveTo>
                  <a:cubicBezTo>
                    <a:pt x="10971" y="28124"/>
                    <a:pt x="12543" y="27698"/>
                    <a:pt x="13960" y="26913"/>
                  </a:cubicBezTo>
                  <a:cubicBezTo>
                    <a:pt x="19579" y="23772"/>
                    <a:pt x="25199" y="20519"/>
                    <a:pt x="30368" y="17378"/>
                  </a:cubicBezTo>
                  <a:cubicBezTo>
                    <a:pt x="34808" y="14720"/>
                    <a:pt x="36235" y="8965"/>
                    <a:pt x="33571" y="4535"/>
                  </a:cubicBezTo>
                  <a:cubicBezTo>
                    <a:pt x="30896" y="104"/>
                    <a:pt x="25142" y="-1320"/>
                    <a:pt x="20703" y="1338"/>
                  </a:cubicBezTo>
                  <a:cubicBezTo>
                    <a:pt x="15533" y="4479"/>
                    <a:pt x="10139" y="7619"/>
                    <a:pt x="4744" y="10648"/>
                  </a:cubicBezTo>
                  <a:cubicBezTo>
                    <a:pt x="260" y="13172"/>
                    <a:pt x="-1325" y="18848"/>
                    <a:pt x="1204" y="23334"/>
                  </a:cubicBezTo>
                  <a:cubicBezTo>
                    <a:pt x="1215" y="23368"/>
                    <a:pt x="1238" y="23402"/>
                    <a:pt x="1260" y="23435"/>
                  </a:cubicBezTo>
                  <a:cubicBezTo>
                    <a:pt x="2901" y="26363"/>
                    <a:pt x="5991" y="28169"/>
                    <a:pt x="9352" y="28147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5" name="Freeform 224">
              <a:extLst>
                <a:ext uri="{FF2B5EF4-FFF2-40B4-BE49-F238E27FC236}">
                  <a16:creationId xmlns:a16="http://schemas.microsoft.com/office/drawing/2014/main" id="{90DAF361-AA76-6246-8EDC-B2F40276F797}"/>
                </a:ext>
              </a:extLst>
            </p:cNvPr>
            <p:cNvSpPr/>
            <p:nvPr/>
          </p:nvSpPr>
          <p:spPr>
            <a:xfrm>
              <a:off x="8453561" y="3341413"/>
              <a:ext cx="37176" cy="23575"/>
            </a:xfrm>
            <a:custGeom>
              <a:avLst/>
              <a:gdLst>
                <a:gd name="connsiteX0" fmla="*/ 9685 w 37176"/>
                <a:gd name="connsiteY0" fmla="*/ 23232 h 23575"/>
                <a:gd name="connsiteX1" fmla="*/ 12157 w 37176"/>
                <a:gd name="connsiteY1" fmla="*/ 23232 h 23575"/>
                <a:gd name="connsiteX2" fmla="*/ 30364 w 37176"/>
                <a:gd name="connsiteY2" fmla="*/ 18297 h 23575"/>
                <a:gd name="connsiteX3" fmla="*/ 36826 w 37176"/>
                <a:gd name="connsiteY3" fmla="*/ 6799 h 23575"/>
                <a:gd name="connsiteX4" fmla="*/ 25307 w 37176"/>
                <a:gd name="connsiteY4" fmla="*/ 350 h 23575"/>
                <a:gd name="connsiteX5" fmla="*/ 7324 w 37176"/>
                <a:gd name="connsiteY5" fmla="*/ 5173 h 23575"/>
                <a:gd name="connsiteX6" fmla="*/ 222 w 37176"/>
                <a:gd name="connsiteY6" fmla="*/ 16266 h 23575"/>
                <a:gd name="connsiteX7" fmla="*/ 9685 w 37176"/>
                <a:gd name="connsiteY7" fmla="*/ 23569 h 23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7176" h="23575">
                  <a:moveTo>
                    <a:pt x="9685" y="23232"/>
                  </a:moveTo>
                  <a:cubicBezTo>
                    <a:pt x="10505" y="23344"/>
                    <a:pt x="11336" y="23344"/>
                    <a:pt x="12157" y="23232"/>
                  </a:cubicBezTo>
                  <a:lnTo>
                    <a:pt x="30364" y="18297"/>
                  </a:lnTo>
                  <a:cubicBezTo>
                    <a:pt x="35331" y="16906"/>
                    <a:pt x="38220" y="11757"/>
                    <a:pt x="36826" y="6799"/>
                  </a:cubicBezTo>
                  <a:cubicBezTo>
                    <a:pt x="35433" y="1841"/>
                    <a:pt x="30274" y="-1041"/>
                    <a:pt x="25307" y="350"/>
                  </a:cubicBezTo>
                  <a:lnTo>
                    <a:pt x="7324" y="5173"/>
                  </a:lnTo>
                  <a:cubicBezTo>
                    <a:pt x="2289" y="6283"/>
                    <a:pt x="-891" y="11241"/>
                    <a:pt x="222" y="16266"/>
                  </a:cubicBezTo>
                  <a:cubicBezTo>
                    <a:pt x="1188" y="20663"/>
                    <a:pt x="5178" y="23737"/>
                    <a:pt x="9685" y="23569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6" name="Freeform 225">
              <a:extLst>
                <a:ext uri="{FF2B5EF4-FFF2-40B4-BE49-F238E27FC236}">
                  <a16:creationId xmlns:a16="http://schemas.microsoft.com/office/drawing/2014/main" id="{BEA37ABB-D227-CC4E-93C4-21AD3B2FD1D0}"/>
                </a:ext>
              </a:extLst>
            </p:cNvPr>
            <p:cNvSpPr/>
            <p:nvPr/>
          </p:nvSpPr>
          <p:spPr>
            <a:xfrm>
              <a:off x="8872782" y="3040607"/>
              <a:ext cx="27291" cy="35312"/>
            </a:xfrm>
            <a:custGeom>
              <a:avLst/>
              <a:gdLst>
                <a:gd name="connsiteX0" fmla="*/ 9331 w 27291"/>
                <a:gd name="connsiteY0" fmla="*/ 35313 h 35312"/>
                <a:gd name="connsiteX1" fmla="*/ 17535 w 27291"/>
                <a:gd name="connsiteY1" fmla="*/ 30377 h 35312"/>
                <a:gd name="connsiteX2" fmla="*/ 26300 w 27291"/>
                <a:gd name="connsiteY2" fmla="*/ 13440 h 35312"/>
                <a:gd name="connsiteX3" fmla="*/ 22221 w 27291"/>
                <a:gd name="connsiteY3" fmla="*/ 1079 h 35312"/>
                <a:gd name="connsiteX4" fmla="*/ 22030 w 27291"/>
                <a:gd name="connsiteY4" fmla="*/ 989 h 35312"/>
                <a:gd name="connsiteX5" fmla="*/ 9645 w 27291"/>
                <a:gd name="connsiteY5" fmla="*/ 5061 h 35312"/>
                <a:gd name="connsiteX6" fmla="*/ 9555 w 27291"/>
                <a:gd name="connsiteY6" fmla="*/ 5251 h 35312"/>
                <a:gd name="connsiteX7" fmla="*/ 1126 w 27291"/>
                <a:gd name="connsiteY7" fmla="*/ 21516 h 35312"/>
                <a:gd name="connsiteX8" fmla="*/ 4835 w 27291"/>
                <a:gd name="connsiteY8" fmla="*/ 34191 h 35312"/>
                <a:gd name="connsiteX9" fmla="*/ 9331 w 27291"/>
                <a:gd name="connsiteY9" fmla="*/ 35313 h 35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291" h="35312">
                  <a:moveTo>
                    <a:pt x="9331" y="35313"/>
                  </a:moveTo>
                  <a:cubicBezTo>
                    <a:pt x="12769" y="35324"/>
                    <a:pt x="15938" y="33428"/>
                    <a:pt x="17535" y="30377"/>
                  </a:cubicBezTo>
                  <a:cubicBezTo>
                    <a:pt x="20569" y="24769"/>
                    <a:pt x="23491" y="19160"/>
                    <a:pt x="26300" y="13440"/>
                  </a:cubicBezTo>
                  <a:cubicBezTo>
                    <a:pt x="28594" y="8908"/>
                    <a:pt x="26773" y="3378"/>
                    <a:pt x="22221" y="1079"/>
                  </a:cubicBezTo>
                  <a:cubicBezTo>
                    <a:pt x="22165" y="1056"/>
                    <a:pt x="22098" y="1022"/>
                    <a:pt x="22030" y="989"/>
                  </a:cubicBezTo>
                  <a:cubicBezTo>
                    <a:pt x="17489" y="-1299"/>
                    <a:pt x="11949" y="518"/>
                    <a:pt x="9645" y="5061"/>
                  </a:cubicBezTo>
                  <a:cubicBezTo>
                    <a:pt x="9623" y="5117"/>
                    <a:pt x="9588" y="5184"/>
                    <a:pt x="9555" y="5251"/>
                  </a:cubicBezTo>
                  <a:cubicBezTo>
                    <a:pt x="6858" y="10635"/>
                    <a:pt x="4048" y="16468"/>
                    <a:pt x="1126" y="21516"/>
                  </a:cubicBezTo>
                  <a:cubicBezTo>
                    <a:pt x="-1313" y="26048"/>
                    <a:pt x="339" y="31678"/>
                    <a:pt x="4835" y="34191"/>
                  </a:cubicBezTo>
                  <a:cubicBezTo>
                    <a:pt x="6240" y="34875"/>
                    <a:pt x="7768" y="35257"/>
                    <a:pt x="9331" y="35313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7" name="Freeform 226">
              <a:extLst>
                <a:ext uri="{FF2B5EF4-FFF2-40B4-BE49-F238E27FC236}">
                  <a16:creationId xmlns:a16="http://schemas.microsoft.com/office/drawing/2014/main" id="{14F69085-2EEE-944B-8EAE-D85E25B4927A}"/>
                </a:ext>
              </a:extLst>
            </p:cNvPr>
            <p:cNvSpPr/>
            <p:nvPr/>
          </p:nvSpPr>
          <p:spPr>
            <a:xfrm>
              <a:off x="8525441" y="3319169"/>
              <a:ext cx="35698" cy="24614"/>
            </a:xfrm>
            <a:custGeom>
              <a:avLst/>
              <a:gdLst>
                <a:gd name="connsiteX0" fmla="*/ 9507 w 35698"/>
                <a:gd name="connsiteY0" fmla="*/ 24052 h 24614"/>
                <a:gd name="connsiteX1" fmla="*/ 12541 w 35698"/>
                <a:gd name="connsiteY1" fmla="*/ 24052 h 24614"/>
                <a:gd name="connsiteX2" fmla="*/ 30411 w 35698"/>
                <a:gd name="connsiteY2" fmla="*/ 17882 h 24614"/>
                <a:gd name="connsiteX3" fmla="*/ 34726 w 35698"/>
                <a:gd name="connsiteY3" fmla="*/ 5274 h 24614"/>
                <a:gd name="connsiteX4" fmla="*/ 24005 w 35698"/>
                <a:gd name="connsiteY4" fmla="*/ 272 h 24614"/>
                <a:gd name="connsiteX5" fmla="*/ 6472 w 35698"/>
                <a:gd name="connsiteY5" fmla="*/ 6441 h 24614"/>
                <a:gd name="connsiteX6" fmla="*/ 448 w 35698"/>
                <a:gd name="connsiteY6" fmla="*/ 18152 h 24614"/>
                <a:gd name="connsiteX7" fmla="*/ 9507 w 35698"/>
                <a:gd name="connsiteY7" fmla="*/ 24613 h 24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698" h="24614">
                  <a:moveTo>
                    <a:pt x="9507" y="24052"/>
                  </a:moveTo>
                  <a:cubicBezTo>
                    <a:pt x="10507" y="24209"/>
                    <a:pt x="11541" y="24209"/>
                    <a:pt x="12541" y="24052"/>
                  </a:cubicBezTo>
                  <a:cubicBezTo>
                    <a:pt x="18610" y="22033"/>
                    <a:pt x="24567" y="20014"/>
                    <a:pt x="30411" y="17882"/>
                  </a:cubicBezTo>
                  <a:cubicBezTo>
                    <a:pt x="35097" y="15594"/>
                    <a:pt x="37030" y="9941"/>
                    <a:pt x="34726" y="5274"/>
                  </a:cubicBezTo>
                  <a:cubicBezTo>
                    <a:pt x="32782" y="1304"/>
                    <a:pt x="28309" y="-783"/>
                    <a:pt x="24005" y="272"/>
                  </a:cubicBezTo>
                  <a:lnTo>
                    <a:pt x="6472" y="6441"/>
                  </a:lnTo>
                  <a:cubicBezTo>
                    <a:pt x="1573" y="8011"/>
                    <a:pt x="-1124" y="13261"/>
                    <a:pt x="448" y="18152"/>
                  </a:cubicBezTo>
                  <a:cubicBezTo>
                    <a:pt x="1707" y="22066"/>
                    <a:pt x="5393" y="24691"/>
                    <a:pt x="9507" y="24613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8" name="Freeform 227">
              <a:extLst>
                <a:ext uri="{FF2B5EF4-FFF2-40B4-BE49-F238E27FC236}">
                  <a16:creationId xmlns:a16="http://schemas.microsoft.com/office/drawing/2014/main" id="{FDCF9E1A-EFC4-1D46-9F72-018599F606C7}"/>
                </a:ext>
              </a:extLst>
            </p:cNvPr>
            <p:cNvSpPr/>
            <p:nvPr/>
          </p:nvSpPr>
          <p:spPr>
            <a:xfrm>
              <a:off x="8831636" y="3104777"/>
              <a:ext cx="30130" cy="33747"/>
            </a:xfrm>
            <a:custGeom>
              <a:avLst/>
              <a:gdLst>
                <a:gd name="connsiteX0" fmla="*/ 17210 w 30130"/>
                <a:gd name="connsiteY0" fmla="*/ 30144 h 33747"/>
                <a:gd name="connsiteX1" fmla="*/ 28449 w 30130"/>
                <a:gd name="connsiteY1" fmla="*/ 14777 h 33747"/>
                <a:gd name="connsiteX2" fmla="*/ 26201 w 30130"/>
                <a:gd name="connsiteY2" fmla="*/ 1766 h 33747"/>
                <a:gd name="connsiteX3" fmla="*/ 13321 w 30130"/>
                <a:gd name="connsiteY3" fmla="*/ 3784 h 33747"/>
                <a:gd name="connsiteX4" fmla="*/ 13164 w 30130"/>
                <a:gd name="connsiteY4" fmla="*/ 4009 h 33747"/>
                <a:gd name="connsiteX5" fmla="*/ 1925 w 30130"/>
                <a:gd name="connsiteY5" fmla="*/ 18815 h 33747"/>
                <a:gd name="connsiteX6" fmla="*/ 3577 w 30130"/>
                <a:gd name="connsiteY6" fmla="*/ 31715 h 33747"/>
                <a:gd name="connsiteX7" fmla="*/ 3723 w 30130"/>
                <a:gd name="connsiteY7" fmla="*/ 31827 h 33747"/>
                <a:gd name="connsiteX8" fmla="*/ 9343 w 30130"/>
                <a:gd name="connsiteY8" fmla="*/ 33734 h 33747"/>
                <a:gd name="connsiteX9" fmla="*/ 17210 w 30130"/>
                <a:gd name="connsiteY9" fmla="*/ 30144 h 33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130" h="33747">
                  <a:moveTo>
                    <a:pt x="17210" y="30144"/>
                  </a:moveTo>
                  <a:cubicBezTo>
                    <a:pt x="21143" y="24985"/>
                    <a:pt x="24965" y="19937"/>
                    <a:pt x="28449" y="14777"/>
                  </a:cubicBezTo>
                  <a:cubicBezTo>
                    <a:pt x="31382" y="10548"/>
                    <a:pt x="30382" y="4760"/>
                    <a:pt x="26201" y="1766"/>
                  </a:cubicBezTo>
                  <a:cubicBezTo>
                    <a:pt x="22088" y="-1229"/>
                    <a:pt x="16322" y="-321"/>
                    <a:pt x="13321" y="3784"/>
                  </a:cubicBezTo>
                  <a:cubicBezTo>
                    <a:pt x="13265" y="3852"/>
                    <a:pt x="13220" y="3930"/>
                    <a:pt x="13164" y="4009"/>
                  </a:cubicBezTo>
                  <a:lnTo>
                    <a:pt x="1925" y="18815"/>
                  </a:lnTo>
                  <a:cubicBezTo>
                    <a:pt x="-1188" y="22831"/>
                    <a:pt x="-446" y="28608"/>
                    <a:pt x="3577" y="31715"/>
                  </a:cubicBezTo>
                  <a:cubicBezTo>
                    <a:pt x="3622" y="31760"/>
                    <a:pt x="3679" y="31793"/>
                    <a:pt x="3723" y="31827"/>
                  </a:cubicBezTo>
                  <a:cubicBezTo>
                    <a:pt x="5330" y="33083"/>
                    <a:pt x="7309" y="33756"/>
                    <a:pt x="9343" y="33734"/>
                  </a:cubicBezTo>
                  <a:cubicBezTo>
                    <a:pt x="12400" y="33902"/>
                    <a:pt x="15333" y="32556"/>
                    <a:pt x="17210" y="30144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9" name="Freeform 228">
              <a:extLst>
                <a:ext uri="{FF2B5EF4-FFF2-40B4-BE49-F238E27FC236}">
                  <a16:creationId xmlns:a16="http://schemas.microsoft.com/office/drawing/2014/main" id="{671D0C50-12D7-DE4E-B423-82B6D5CB23F3}"/>
                </a:ext>
              </a:extLst>
            </p:cNvPr>
            <p:cNvSpPr/>
            <p:nvPr/>
          </p:nvSpPr>
          <p:spPr>
            <a:xfrm>
              <a:off x="8725096" y="3212367"/>
              <a:ext cx="33903" cy="30124"/>
            </a:xfrm>
            <a:custGeom>
              <a:avLst/>
              <a:gdLst>
                <a:gd name="connsiteX0" fmla="*/ 31704 w 33903"/>
                <a:gd name="connsiteY0" fmla="*/ 3541 h 30124"/>
                <a:gd name="connsiteX1" fmla="*/ 18555 w 33903"/>
                <a:gd name="connsiteY1" fmla="*/ 1970 h 30124"/>
                <a:gd name="connsiteX2" fmla="*/ 3833 w 33903"/>
                <a:gd name="connsiteY2" fmla="*/ 13187 h 30124"/>
                <a:gd name="connsiteX3" fmla="*/ 1810 w 33903"/>
                <a:gd name="connsiteY3" fmla="*/ 26311 h 30124"/>
                <a:gd name="connsiteX4" fmla="*/ 9452 w 33903"/>
                <a:gd name="connsiteY4" fmla="*/ 30125 h 30124"/>
                <a:gd name="connsiteX5" fmla="*/ 14959 w 33903"/>
                <a:gd name="connsiteY5" fmla="*/ 28330 h 30124"/>
                <a:gd name="connsiteX6" fmla="*/ 30131 w 33903"/>
                <a:gd name="connsiteY6" fmla="*/ 17113 h 30124"/>
                <a:gd name="connsiteX7" fmla="*/ 32007 w 33903"/>
                <a:gd name="connsiteY7" fmla="*/ 3922 h 30124"/>
                <a:gd name="connsiteX8" fmla="*/ 31704 w 33903"/>
                <a:gd name="connsiteY8" fmla="*/ 3541 h 30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903" h="30124">
                  <a:moveTo>
                    <a:pt x="31704" y="3541"/>
                  </a:moveTo>
                  <a:cubicBezTo>
                    <a:pt x="28490" y="-475"/>
                    <a:pt x="22635" y="-1182"/>
                    <a:pt x="18555" y="1970"/>
                  </a:cubicBezTo>
                  <a:cubicBezTo>
                    <a:pt x="13723" y="5784"/>
                    <a:pt x="8889" y="9486"/>
                    <a:pt x="3833" y="13187"/>
                  </a:cubicBezTo>
                  <a:cubicBezTo>
                    <a:pt x="-337" y="16261"/>
                    <a:pt x="-1248" y="22127"/>
                    <a:pt x="1810" y="26311"/>
                  </a:cubicBezTo>
                  <a:cubicBezTo>
                    <a:pt x="3630" y="28700"/>
                    <a:pt x="6451" y="30102"/>
                    <a:pt x="9452" y="30125"/>
                  </a:cubicBezTo>
                  <a:cubicBezTo>
                    <a:pt x="11429" y="30136"/>
                    <a:pt x="13363" y="29508"/>
                    <a:pt x="14959" y="28330"/>
                  </a:cubicBezTo>
                  <a:cubicBezTo>
                    <a:pt x="20128" y="24516"/>
                    <a:pt x="25186" y="20703"/>
                    <a:pt x="30131" y="17113"/>
                  </a:cubicBezTo>
                  <a:cubicBezTo>
                    <a:pt x="34301" y="13984"/>
                    <a:pt x="35143" y="8083"/>
                    <a:pt x="32007" y="3922"/>
                  </a:cubicBezTo>
                  <a:cubicBezTo>
                    <a:pt x="31907" y="3787"/>
                    <a:pt x="31805" y="3664"/>
                    <a:pt x="31704" y="3541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0" name="Freeform 229">
              <a:extLst>
                <a:ext uri="{FF2B5EF4-FFF2-40B4-BE49-F238E27FC236}">
                  <a16:creationId xmlns:a16="http://schemas.microsoft.com/office/drawing/2014/main" id="{D9813EC0-9828-E742-A322-50DF360F7B17}"/>
                </a:ext>
              </a:extLst>
            </p:cNvPr>
            <p:cNvSpPr/>
            <p:nvPr/>
          </p:nvSpPr>
          <p:spPr>
            <a:xfrm>
              <a:off x="8782400" y="3162355"/>
              <a:ext cx="31878" cy="31903"/>
            </a:xfrm>
            <a:custGeom>
              <a:avLst/>
              <a:gdLst>
                <a:gd name="connsiteX0" fmla="*/ 15872 w 31878"/>
                <a:gd name="connsiteY0" fmla="*/ 29324 h 31903"/>
                <a:gd name="connsiteX1" fmla="*/ 29246 w 31878"/>
                <a:gd name="connsiteY1" fmla="*/ 15864 h 31903"/>
                <a:gd name="connsiteX2" fmla="*/ 29021 w 31878"/>
                <a:gd name="connsiteY2" fmla="*/ 2627 h 31903"/>
                <a:gd name="connsiteX3" fmla="*/ 15759 w 31878"/>
                <a:gd name="connsiteY3" fmla="*/ 2852 h 31903"/>
                <a:gd name="connsiteX4" fmla="*/ 2723 w 31878"/>
                <a:gd name="connsiteY4" fmla="*/ 15864 h 31903"/>
                <a:gd name="connsiteX5" fmla="*/ 2723 w 31878"/>
                <a:gd name="connsiteY5" fmla="*/ 29100 h 31903"/>
                <a:gd name="connsiteX6" fmla="*/ 9353 w 31878"/>
                <a:gd name="connsiteY6" fmla="*/ 31904 h 31903"/>
                <a:gd name="connsiteX7" fmla="*/ 15872 w 31878"/>
                <a:gd name="connsiteY7" fmla="*/ 29324 h 31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878" h="31903">
                  <a:moveTo>
                    <a:pt x="15872" y="29324"/>
                  </a:moveTo>
                  <a:cubicBezTo>
                    <a:pt x="20479" y="24837"/>
                    <a:pt x="24862" y="20350"/>
                    <a:pt x="29246" y="15864"/>
                  </a:cubicBezTo>
                  <a:cubicBezTo>
                    <a:pt x="32842" y="12151"/>
                    <a:pt x="32741" y="6217"/>
                    <a:pt x="29021" y="2627"/>
                  </a:cubicBezTo>
                  <a:cubicBezTo>
                    <a:pt x="25301" y="-962"/>
                    <a:pt x="19356" y="-861"/>
                    <a:pt x="15759" y="2852"/>
                  </a:cubicBezTo>
                  <a:cubicBezTo>
                    <a:pt x="11601" y="7226"/>
                    <a:pt x="7218" y="11601"/>
                    <a:pt x="2723" y="15864"/>
                  </a:cubicBezTo>
                  <a:cubicBezTo>
                    <a:pt x="-908" y="19531"/>
                    <a:pt x="-908" y="25432"/>
                    <a:pt x="2723" y="29100"/>
                  </a:cubicBezTo>
                  <a:cubicBezTo>
                    <a:pt x="4453" y="30905"/>
                    <a:pt x="6847" y="31915"/>
                    <a:pt x="9353" y="31904"/>
                  </a:cubicBezTo>
                  <a:cubicBezTo>
                    <a:pt x="11770" y="31859"/>
                    <a:pt x="14085" y="30939"/>
                    <a:pt x="15872" y="29324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1" name="Freeform 230">
              <a:extLst>
                <a:ext uri="{FF2B5EF4-FFF2-40B4-BE49-F238E27FC236}">
                  <a16:creationId xmlns:a16="http://schemas.microsoft.com/office/drawing/2014/main" id="{EE36B358-B400-DC42-8CE1-06ECD52B0798}"/>
                </a:ext>
              </a:extLst>
            </p:cNvPr>
            <p:cNvSpPr/>
            <p:nvPr/>
          </p:nvSpPr>
          <p:spPr>
            <a:xfrm>
              <a:off x="8307154" y="3372373"/>
              <a:ext cx="36301" cy="21211"/>
            </a:xfrm>
            <a:custGeom>
              <a:avLst/>
              <a:gdLst>
                <a:gd name="connsiteX0" fmla="*/ 9314 w 36301"/>
                <a:gd name="connsiteY0" fmla="*/ 21211 h 21211"/>
                <a:gd name="connsiteX1" fmla="*/ 10663 w 36301"/>
                <a:gd name="connsiteY1" fmla="*/ 21211 h 21211"/>
                <a:gd name="connsiteX2" fmla="*/ 29319 w 36301"/>
                <a:gd name="connsiteY2" fmla="*/ 18519 h 21211"/>
                <a:gd name="connsiteX3" fmla="*/ 35973 w 36301"/>
                <a:gd name="connsiteY3" fmla="*/ 6965 h 21211"/>
                <a:gd name="connsiteX4" fmla="*/ 26397 w 36301"/>
                <a:gd name="connsiteY4" fmla="*/ 11 h 21211"/>
                <a:gd name="connsiteX5" fmla="*/ 7966 w 36301"/>
                <a:gd name="connsiteY5" fmla="*/ 2703 h 21211"/>
                <a:gd name="connsiteX6" fmla="*/ 98 w 36301"/>
                <a:gd name="connsiteY6" fmla="*/ 13247 h 21211"/>
                <a:gd name="connsiteX7" fmla="*/ 9314 w 36301"/>
                <a:gd name="connsiteY7" fmla="*/ 21211 h 21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301" h="21211">
                  <a:moveTo>
                    <a:pt x="9314" y="21211"/>
                  </a:moveTo>
                  <a:lnTo>
                    <a:pt x="10663" y="21211"/>
                  </a:lnTo>
                  <a:lnTo>
                    <a:pt x="29319" y="18519"/>
                  </a:lnTo>
                  <a:cubicBezTo>
                    <a:pt x="34354" y="17162"/>
                    <a:pt x="37332" y="11991"/>
                    <a:pt x="35973" y="6965"/>
                  </a:cubicBezTo>
                  <a:cubicBezTo>
                    <a:pt x="34815" y="2692"/>
                    <a:pt x="30836" y="-202"/>
                    <a:pt x="26397" y="11"/>
                  </a:cubicBezTo>
                  <a:lnTo>
                    <a:pt x="7966" y="2703"/>
                  </a:lnTo>
                  <a:cubicBezTo>
                    <a:pt x="2885" y="3455"/>
                    <a:pt x="-643" y="8166"/>
                    <a:pt x="98" y="13247"/>
                  </a:cubicBezTo>
                  <a:cubicBezTo>
                    <a:pt x="716" y="17835"/>
                    <a:pt x="4672" y="21256"/>
                    <a:pt x="9314" y="21211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2" name="Freeform 231">
              <a:extLst>
                <a:ext uri="{FF2B5EF4-FFF2-40B4-BE49-F238E27FC236}">
                  <a16:creationId xmlns:a16="http://schemas.microsoft.com/office/drawing/2014/main" id="{C8323FEA-D3EE-D54B-9209-B904A711031A}"/>
                </a:ext>
              </a:extLst>
            </p:cNvPr>
            <p:cNvSpPr/>
            <p:nvPr/>
          </p:nvSpPr>
          <p:spPr>
            <a:xfrm>
              <a:off x="8932331" y="2824660"/>
              <a:ext cx="20023" cy="37355"/>
            </a:xfrm>
            <a:custGeom>
              <a:avLst/>
              <a:gdLst>
                <a:gd name="connsiteX0" fmla="*/ 19124 w 20023"/>
                <a:gd name="connsiteY0" fmla="*/ 28042 h 37355"/>
                <a:gd name="connsiteX1" fmla="*/ 20023 w 20023"/>
                <a:gd name="connsiteY1" fmla="*/ 9086 h 37355"/>
                <a:gd name="connsiteX2" fmla="*/ 10582 w 20023"/>
                <a:gd name="connsiteY2" fmla="*/ 0 h 37355"/>
                <a:gd name="connsiteX3" fmla="*/ 917 w 20023"/>
                <a:gd name="connsiteY3" fmla="*/ 9086 h 37355"/>
                <a:gd name="connsiteX4" fmla="*/ 18 w 20023"/>
                <a:gd name="connsiteY4" fmla="*/ 27482 h 37355"/>
                <a:gd name="connsiteX5" fmla="*/ 8750 w 20023"/>
                <a:gd name="connsiteY5" fmla="*/ 37353 h 37355"/>
                <a:gd name="connsiteX6" fmla="*/ 8784 w 20023"/>
                <a:gd name="connsiteY6" fmla="*/ 37353 h 37355"/>
                <a:gd name="connsiteX7" fmla="*/ 9459 w 20023"/>
                <a:gd name="connsiteY7" fmla="*/ 37353 h 37355"/>
                <a:gd name="connsiteX8" fmla="*/ 19124 w 20023"/>
                <a:gd name="connsiteY8" fmla="*/ 28155 h 37355"/>
                <a:gd name="connsiteX9" fmla="*/ 19124 w 20023"/>
                <a:gd name="connsiteY9" fmla="*/ 28042 h 373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023" h="37355">
                  <a:moveTo>
                    <a:pt x="19124" y="28042"/>
                  </a:moveTo>
                  <a:cubicBezTo>
                    <a:pt x="19124" y="21649"/>
                    <a:pt x="19798" y="15255"/>
                    <a:pt x="20023" y="9086"/>
                  </a:cubicBezTo>
                  <a:cubicBezTo>
                    <a:pt x="19843" y="4016"/>
                    <a:pt x="15662" y="0"/>
                    <a:pt x="10582" y="0"/>
                  </a:cubicBezTo>
                  <a:cubicBezTo>
                    <a:pt x="5457" y="-11"/>
                    <a:pt x="1220" y="3982"/>
                    <a:pt x="917" y="9086"/>
                  </a:cubicBezTo>
                  <a:cubicBezTo>
                    <a:pt x="917" y="15031"/>
                    <a:pt x="917" y="21200"/>
                    <a:pt x="18" y="27482"/>
                  </a:cubicBezTo>
                  <a:cubicBezTo>
                    <a:pt x="-297" y="32619"/>
                    <a:pt x="3603" y="37027"/>
                    <a:pt x="8750" y="37353"/>
                  </a:cubicBezTo>
                  <a:cubicBezTo>
                    <a:pt x="8762" y="37353"/>
                    <a:pt x="8773" y="37353"/>
                    <a:pt x="8784" y="37353"/>
                  </a:cubicBezTo>
                  <a:lnTo>
                    <a:pt x="9459" y="37353"/>
                  </a:lnTo>
                  <a:cubicBezTo>
                    <a:pt x="14673" y="37476"/>
                    <a:pt x="19000" y="33359"/>
                    <a:pt x="19124" y="28155"/>
                  </a:cubicBezTo>
                  <a:cubicBezTo>
                    <a:pt x="19124" y="28121"/>
                    <a:pt x="19124" y="28076"/>
                    <a:pt x="19124" y="28042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3" name="Freeform 232">
              <a:extLst>
                <a:ext uri="{FF2B5EF4-FFF2-40B4-BE49-F238E27FC236}">
                  <a16:creationId xmlns:a16="http://schemas.microsoft.com/office/drawing/2014/main" id="{25A02871-7848-844A-B9DE-1ECA2AC6F507}"/>
                </a:ext>
              </a:extLst>
            </p:cNvPr>
            <p:cNvSpPr/>
            <p:nvPr/>
          </p:nvSpPr>
          <p:spPr>
            <a:xfrm>
              <a:off x="8931519" y="2749463"/>
              <a:ext cx="20177" cy="37283"/>
            </a:xfrm>
            <a:custGeom>
              <a:avLst/>
              <a:gdLst>
                <a:gd name="connsiteX0" fmla="*/ 10495 w 20177"/>
                <a:gd name="connsiteY0" fmla="*/ 37284 h 37283"/>
                <a:gd name="connsiteX1" fmla="*/ 11395 w 20177"/>
                <a:gd name="connsiteY1" fmla="*/ 37284 h 37283"/>
                <a:gd name="connsiteX2" fmla="*/ 20161 w 20177"/>
                <a:gd name="connsiteY2" fmla="*/ 27446 h 37283"/>
                <a:gd name="connsiteX3" fmla="*/ 20161 w 20177"/>
                <a:gd name="connsiteY3" fmla="*/ 27413 h 37283"/>
                <a:gd name="connsiteX4" fmla="*/ 18700 w 20177"/>
                <a:gd name="connsiteY4" fmla="*/ 8456 h 37283"/>
                <a:gd name="connsiteX5" fmla="*/ 8473 w 20177"/>
                <a:gd name="connsiteY5" fmla="*/ 43 h 37283"/>
                <a:gd name="connsiteX6" fmla="*/ 44 w 20177"/>
                <a:gd name="connsiteY6" fmla="*/ 10251 h 37283"/>
                <a:gd name="connsiteX7" fmla="*/ 1505 w 20177"/>
                <a:gd name="connsiteY7" fmla="*/ 28647 h 37283"/>
                <a:gd name="connsiteX8" fmla="*/ 10495 w 20177"/>
                <a:gd name="connsiteY8" fmla="*/ 37284 h 37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177" h="37283">
                  <a:moveTo>
                    <a:pt x="10495" y="37284"/>
                  </a:moveTo>
                  <a:lnTo>
                    <a:pt x="11395" y="37284"/>
                  </a:lnTo>
                  <a:cubicBezTo>
                    <a:pt x="16542" y="36981"/>
                    <a:pt x="20464" y="32584"/>
                    <a:pt x="20161" y="27446"/>
                  </a:cubicBezTo>
                  <a:cubicBezTo>
                    <a:pt x="20161" y="27435"/>
                    <a:pt x="20161" y="27424"/>
                    <a:pt x="20161" y="27413"/>
                  </a:cubicBezTo>
                  <a:cubicBezTo>
                    <a:pt x="20161" y="20795"/>
                    <a:pt x="19262" y="14513"/>
                    <a:pt x="18700" y="8456"/>
                  </a:cubicBezTo>
                  <a:cubicBezTo>
                    <a:pt x="18206" y="3319"/>
                    <a:pt x="13620" y="-450"/>
                    <a:pt x="8473" y="43"/>
                  </a:cubicBezTo>
                  <a:cubicBezTo>
                    <a:pt x="3325" y="537"/>
                    <a:pt x="-451" y="5113"/>
                    <a:pt x="44" y="10251"/>
                  </a:cubicBezTo>
                  <a:cubicBezTo>
                    <a:pt x="44" y="16084"/>
                    <a:pt x="1055" y="22253"/>
                    <a:pt x="1505" y="28647"/>
                  </a:cubicBezTo>
                  <a:cubicBezTo>
                    <a:pt x="1797" y="33425"/>
                    <a:pt x="5708" y="37172"/>
                    <a:pt x="10495" y="37284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4" name="Freeform 233">
              <a:extLst>
                <a:ext uri="{FF2B5EF4-FFF2-40B4-BE49-F238E27FC236}">
                  <a16:creationId xmlns:a16="http://schemas.microsoft.com/office/drawing/2014/main" id="{42E164A0-3225-A248-BCC7-835E87237A0E}"/>
                </a:ext>
              </a:extLst>
            </p:cNvPr>
            <p:cNvSpPr/>
            <p:nvPr/>
          </p:nvSpPr>
          <p:spPr>
            <a:xfrm>
              <a:off x="8902844" y="2971148"/>
              <a:ext cx="24561" cy="36129"/>
            </a:xfrm>
            <a:custGeom>
              <a:avLst/>
              <a:gdLst>
                <a:gd name="connsiteX0" fmla="*/ 6354 w 24561"/>
                <a:gd name="connsiteY0" fmla="*/ 6623 h 36129"/>
                <a:gd name="connsiteX1" fmla="*/ 509 w 24561"/>
                <a:gd name="connsiteY1" fmla="*/ 24010 h 36129"/>
                <a:gd name="connsiteX2" fmla="*/ 6241 w 24561"/>
                <a:gd name="connsiteY2" fmla="*/ 36012 h 36129"/>
                <a:gd name="connsiteX3" fmla="*/ 9388 w 24561"/>
                <a:gd name="connsiteY3" fmla="*/ 36012 h 36129"/>
                <a:gd name="connsiteX4" fmla="*/ 18267 w 24561"/>
                <a:gd name="connsiteY4" fmla="*/ 29731 h 36129"/>
                <a:gd name="connsiteX5" fmla="*/ 24224 w 24561"/>
                <a:gd name="connsiteY5" fmla="*/ 11671 h 36129"/>
                <a:gd name="connsiteX6" fmla="*/ 18154 w 24561"/>
                <a:gd name="connsiteY6" fmla="*/ 454 h 36129"/>
                <a:gd name="connsiteX7" fmla="*/ 6410 w 24561"/>
                <a:gd name="connsiteY7" fmla="*/ 6444 h 36129"/>
                <a:gd name="connsiteX8" fmla="*/ 6354 w 24561"/>
                <a:gd name="connsiteY8" fmla="*/ 6623 h 36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561" h="36129">
                  <a:moveTo>
                    <a:pt x="6354" y="6623"/>
                  </a:moveTo>
                  <a:cubicBezTo>
                    <a:pt x="4556" y="12456"/>
                    <a:pt x="2645" y="17840"/>
                    <a:pt x="509" y="24010"/>
                  </a:cubicBezTo>
                  <a:cubicBezTo>
                    <a:pt x="-1154" y="28900"/>
                    <a:pt x="1386" y="34217"/>
                    <a:pt x="6241" y="36012"/>
                  </a:cubicBezTo>
                  <a:cubicBezTo>
                    <a:pt x="7287" y="36169"/>
                    <a:pt x="8343" y="36169"/>
                    <a:pt x="9388" y="36012"/>
                  </a:cubicBezTo>
                  <a:cubicBezTo>
                    <a:pt x="13355" y="35933"/>
                    <a:pt x="16885" y="33443"/>
                    <a:pt x="18267" y="29731"/>
                  </a:cubicBezTo>
                  <a:cubicBezTo>
                    <a:pt x="20402" y="23673"/>
                    <a:pt x="22425" y="17728"/>
                    <a:pt x="24224" y="11671"/>
                  </a:cubicBezTo>
                  <a:cubicBezTo>
                    <a:pt x="25550" y="6915"/>
                    <a:pt x="22863" y="1957"/>
                    <a:pt x="18154" y="454"/>
                  </a:cubicBezTo>
                  <a:cubicBezTo>
                    <a:pt x="13254" y="-1127"/>
                    <a:pt x="7995" y="1553"/>
                    <a:pt x="6410" y="6444"/>
                  </a:cubicBezTo>
                  <a:cubicBezTo>
                    <a:pt x="6387" y="6511"/>
                    <a:pt x="6376" y="6567"/>
                    <a:pt x="6354" y="6623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5" name="Freeform 234">
              <a:extLst>
                <a:ext uri="{FF2B5EF4-FFF2-40B4-BE49-F238E27FC236}">
                  <a16:creationId xmlns:a16="http://schemas.microsoft.com/office/drawing/2014/main" id="{32881832-02D2-454E-9462-8169E726B934}"/>
                </a:ext>
              </a:extLst>
            </p:cNvPr>
            <p:cNvSpPr/>
            <p:nvPr/>
          </p:nvSpPr>
          <p:spPr>
            <a:xfrm>
              <a:off x="8923014" y="2899435"/>
              <a:ext cx="22054" cy="36273"/>
            </a:xfrm>
            <a:custGeom>
              <a:avLst/>
              <a:gdLst>
                <a:gd name="connsiteX0" fmla="*/ 3491 w 22054"/>
                <a:gd name="connsiteY0" fmla="*/ 6885 h 36273"/>
                <a:gd name="connsiteX1" fmla="*/ 232 w 22054"/>
                <a:gd name="connsiteY1" fmla="*/ 25056 h 36273"/>
                <a:gd name="connsiteX2" fmla="*/ 7267 w 22054"/>
                <a:gd name="connsiteY2" fmla="*/ 36195 h 36273"/>
                <a:gd name="connsiteX3" fmla="*/ 7649 w 22054"/>
                <a:gd name="connsiteY3" fmla="*/ 36273 h 36273"/>
                <a:gd name="connsiteX4" fmla="*/ 9447 w 22054"/>
                <a:gd name="connsiteY4" fmla="*/ 36273 h 36273"/>
                <a:gd name="connsiteX5" fmla="*/ 18663 w 22054"/>
                <a:gd name="connsiteY5" fmla="*/ 28758 h 36273"/>
                <a:gd name="connsiteX6" fmla="*/ 22035 w 22054"/>
                <a:gd name="connsiteY6" fmla="*/ 10026 h 36273"/>
                <a:gd name="connsiteX7" fmla="*/ 13224 w 22054"/>
                <a:gd name="connsiteY7" fmla="*/ 20 h 36273"/>
                <a:gd name="connsiteX8" fmla="*/ 3491 w 22054"/>
                <a:gd name="connsiteY8" fmla="*/ 6997 h 36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054" h="36273">
                  <a:moveTo>
                    <a:pt x="3491" y="6885"/>
                  </a:moveTo>
                  <a:cubicBezTo>
                    <a:pt x="2592" y="12942"/>
                    <a:pt x="1468" y="18887"/>
                    <a:pt x="232" y="25056"/>
                  </a:cubicBezTo>
                  <a:cubicBezTo>
                    <a:pt x="-904" y="30070"/>
                    <a:pt x="2244" y="35062"/>
                    <a:pt x="7267" y="36195"/>
                  </a:cubicBezTo>
                  <a:cubicBezTo>
                    <a:pt x="7391" y="36228"/>
                    <a:pt x="7525" y="36251"/>
                    <a:pt x="7649" y="36273"/>
                  </a:cubicBezTo>
                  <a:lnTo>
                    <a:pt x="9447" y="36273"/>
                  </a:lnTo>
                  <a:cubicBezTo>
                    <a:pt x="13932" y="36307"/>
                    <a:pt x="17798" y="33144"/>
                    <a:pt x="18663" y="28758"/>
                  </a:cubicBezTo>
                  <a:cubicBezTo>
                    <a:pt x="19899" y="22476"/>
                    <a:pt x="21023" y="16195"/>
                    <a:pt x="22035" y="10026"/>
                  </a:cubicBezTo>
                  <a:cubicBezTo>
                    <a:pt x="22372" y="4832"/>
                    <a:pt x="18427" y="356"/>
                    <a:pt x="13224" y="20"/>
                  </a:cubicBezTo>
                  <a:cubicBezTo>
                    <a:pt x="8728" y="-272"/>
                    <a:pt x="4649" y="2656"/>
                    <a:pt x="3491" y="6997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6" name="Freeform 235">
              <a:extLst>
                <a:ext uri="{FF2B5EF4-FFF2-40B4-BE49-F238E27FC236}">
                  <a16:creationId xmlns:a16="http://schemas.microsoft.com/office/drawing/2014/main" id="{A6B80948-9886-814B-96B4-E993BCE6061A}"/>
                </a:ext>
              </a:extLst>
            </p:cNvPr>
            <p:cNvSpPr/>
            <p:nvPr/>
          </p:nvSpPr>
          <p:spPr>
            <a:xfrm>
              <a:off x="8918945" y="2676429"/>
              <a:ext cx="22858" cy="36172"/>
            </a:xfrm>
            <a:custGeom>
              <a:avLst/>
              <a:gdLst>
                <a:gd name="connsiteX0" fmla="*/ 18236 w 22858"/>
                <a:gd name="connsiteY0" fmla="*/ 5999 h 36172"/>
                <a:gd name="connsiteX1" fmla="*/ 6008 w 22858"/>
                <a:gd name="connsiteY1" fmla="*/ 649 h 36172"/>
                <a:gd name="connsiteX2" fmla="*/ 142 w 22858"/>
                <a:gd name="connsiteY2" fmla="*/ 11047 h 36172"/>
                <a:gd name="connsiteX3" fmla="*/ 4300 w 22858"/>
                <a:gd name="connsiteY3" fmla="*/ 28658 h 36172"/>
                <a:gd name="connsiteX4" fmla="*/ 13404 w 22858"/>
                <a:gd name="connsiteY4" fmla="*/ 36173 h 36172"/>
                <a:gd name="connsiteX5" fmla="*/ 15314 w 22858"/>
                <a:gd name="connsiteY5" fmla="*/ 36173 h 36172"/>
                <a:gd name="connsiteX6" fmla="*/ 22687 w 22858"/>
                <a:gd name="connsiteY6" fmla="*/ 25248 h 36172"/>
                <a:gd name="connsiteX7" fmla="*/ 22620 w 22858"/>
                <a:gd name="connsiteY7" fmla="*/ 24956 h 36172"/>
                <a:gd name="connsiteX8" fmla="*/ 18236 w 22858"/>
                <a:gd name="connsiteY8" fmla="*/ 5999 h 36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858" h="36172">
                  <a:moveTo>
                    <a:pt x="18236" y="5999"/>
                  </a:moveTo>
                  <a:cubicBezTo>
                    <a:pt x="16337" y="1154"/>
                    <a:pt x="10864" y="-1247"/>
                    <a:pt x="6008" y="649"/>
                  </a:cubicBezTo>
                  <a:cubicBezTo>
                    <a:pt x="1828" y="2275"/>
                    <a:pt x="-634" y="6628"/>
                    <a:pt x="142" y="11047"/>
                  </a:cubicBezTo>
                  <a:cubicBezTo>
                    <a:pt x="142" y="11047"/>
                    <a:pt x="1940" y="17441"/>
                    <a:pt x="4300" y="28658"/>
                  </a:cubicBezTo>
                  <a:cubicBezTo>
                    <a:pt x="5154" y="33010"/>
                    <a:pt x="8964" y="36150"/>
                    <a:pt x="13404" y="36173"/>
                  </a:cubicBezTo>
                  <a:lnTo>
                    <a:pt x="15314" y="36173"/>
                  </a:lnTo>
                  <a:cubicBezTo>
                    <a:pt x="20372" y="35186"/>
                    <a:pt x="23665" y="30295"/>
                    <a:pt x="22687" y="25248"/>
                  </a:cubicBezTo>
                  <a:cubicBezTo>
                    <a:pt x="22664" y="25158"/>
                    <a:pt x="22642" y="25057"/>
                    <a:pt x="22620" y="24956"/>
                  </a:cubicBezTo>
                  <a:cubicBezTo>
                    <a:pt x="20147" y="12954"/>
                    <a:pt x="18349" y="6336"/>
                    <a:pt x="18236" y="5999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7" name="Freeform 236">
              <a:extLst>
                <a:ext uri="{FF2B5EF4-FFF2-40B4-BE49-F238E27FC236}">
                  <a16:creationId xmlns:a16="http://schemas.microsoft.com/office/drawing/2014/main" id="{23A62559-0627-A248-AB32-9442CBE278EF}"/>
                </a:ext>
              </a:extLst>
            </p:cNvPr>
            <p:cNvSpPr/>
            <p:nvPr/>
          </p:nvSpPr>
          <p:spPr>
            <a:xfrm>
              <a:off x="6267694" y="3390614"/>
              <a:ext cx="37829" cy="21267"/>
            </a:xfrm>
            <a:custGeom>
              <a:avLst/>
              <a:gdLst>
                <a:gd name="connsiteX0" fmla="*/ 10972 w 37829"/>
                <a:gd name="connsiteY0" fmla="*/ 21142 h 21267"/>
                <a:gd name="connsiteX1" fmla="*/ 30190 w 37829"/>
                <a:gd name="connsiteY1" fmla="*/ 18562 h 21267"/>
                <a:gd name="connsiteX2" fmla="*/ 37664 w 37829"/>
                <a:gd name="connsiteY2" fmla="*/ 7625 h 21267"/>
                <a:gd name="connsiteX3" fmla="*/ 26706 w 37829"/>
                <a:gd name="connsiteY3" fmla="*/ 166 h 21267"/>
                <a:gd name="connsiteX4" fmla="*/ 8837 w 37829"/>
                <a:gd name="connsiteY4" fmla="*/ 2634 h 21267"/>
                <a:gd name="connsiteX5" fmla="*/ 14 w 37829"/>
                <a:gd name="connsiteY5" fmla="*/ 12448 h 21267"/>
                <a:gd name="connsiteX6" fmla="*/ 9848 w 37829"/>
                <a:gd name="connsiteY6" fmla="*/ 21254 h 21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829" h="21267">
                  <a:moveTo>
                    <a:pt x="10972" y="21142"/>
                  </a:moveTo>
                  <a:cubicBezTo>
                    <a:pt x="23110" y="19796"/>
                    <a:pt x="29965" y="18562"/>
                    <a:pt x="30190" y="18562"/>
                  </a:cubicBezTo>
                  <a:cubicBezTo>
                    <a:pt x="35281" y="17597"/>
                    <a:pt x="38630" y="12706"/>
                    <a:pt x="37664" y="7625"/>
                  </a:cubicBezTo>
                  <a:cubicBezTo>
                    <a:pt x="36697" y="2544"/>
                    <a:pt x="31797" y="-799"/>
                    <a:pt x="26706" y="166"/>
                  </a:cubicBezTo>
                  <a:cubicBezTo>
                    <a:pt x="26706" y="166"/>
                    <a:pt x="20300" y="1288"/>
                    <a:pt x="8837" y="2634"/>
                  </a:cubicBezTo>
                  <a:cubicBezTo>
                    <a:pt x="3689" y="2914"/>
                    <a:pt x="-267" y="7311"/>
                    <a:pt x="14" y="12448"/>
                  </a:cubicBezTo>
                  <a:cubicBezTo>
                    <a:pt x="295" y="17586"/>
                    <a:pt x="4701" y="21534"/>
                    <a:pt x="9848" y="21254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8" name="Freeform 237">
              <a:extLst>
                <a:ext uri="{FF2B5EF4-FFF2-40B4-BE49-F238E27FC236}">
                  <a16:creationId xmlns:a16="http://schemas.microsoft.com/office/drawing/2014/main" id="{C233AE2A-6E9E-354A-9AC3-3FC8EBCB4EDF}"/>
                </a:ext>
              </a:extLst>
            </p:cNvPr>
            <p:cNvSpPr/>
            <p:nvPr/>
          </p:nvSpPr>
          <p:spPr>
            <a:xfrm>
              <a:off x="6118634" y="3389111"/>
              <a:ext cx="37996" cy="21316"/>
            </a:xfrm>
            <a:custGeom>
              <a:avLst/>
              <a:gdLst>
                <a:gd name="connsiteX0" fmla="*/ 26966 w 37996"/>
                <a:gd name="connsiteY0" fmla="*/ 21299 h 21316"/>
                <a:gd name="connsiteX1" fmla="*/ 28090 w 37996"/>
                <a:gd name="connsiteY1" fmla="*/ 21299 h 21316"/>
                <a:gd name="connsiteX2" fmla="*/ 37979 w 37996"/>
                <a:gd name="connsiteY2" fmla="*/ 12550 h 21316"/>
                <a:gd name="connsiteX3" fmla="*/ 29213 w 37996"/>
                <a:gd name="connsiteY3" fmla="*/ 2679 h 21316"/>
                <a:gd name="connsiteX4" fmla="*/ 10894 w 37996"/>
                <a:gd name="connsiteY4" fmla="*/ 99 h 21316"/>
                <a:gd name="connsiteX5" fmla="*/ 217 w 37996"/>
                <a:gd name="connsiteY5" fmla="*/ 7951 h 21316"/>
                <a:gd name="connsiteX6" fmla="*/ 7331 w 37996"/>
                <a:gd name="connsiteY6" fmla="*/ 19033 h 21316"/>
                <a:gd name="connsiteX7" fmla="*/ 8085 w 37996"/>
                <a:gd name="connsiteY7" fmla="*/ 19168 h 21316"/>
                <a:gd name="connsiteX8" fmla="*/ 26966 w 37996"/>
                <a:gd name="connsiteY8" fmla="*/ 21299 h 21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7996" h="21316">
                  <a:moveTo>
                    <a:pt x="26966" y="21299"/>
                  </a:moveTo>
                  <a:lnTo>
                    <a:pt x="28090" y="21299"/>
                  </a:lnTo>
                  <a:cubicBezTo>
                    <a:pt x="33237" y="21613"/>
                    <a:pt x="37665" y="17687"/>
                    <a:pt x="37979" y="12550"/>
                  </a:cubicBezTo>
                  <a:cubicBezTo>
                    <a:pt x="38294" y="7412"/>
                    <a:pt x="34361" y="2993"/>
                    <a:pt x="29213" y="2679"/>
                  </a:cubicBezTo>
                  <a:cubicBezTo>
                    <a:pt x="23144" y="1894"/>
                    <a:pt x="17075" y="1108"/>
                    <a:pt x="10894" y="99"/>
                  </a:cubicBezTo>
                  <a:cubicBezTo>
                    <a:pt x="5780" y="-641"/>
                    <a:pt x="1026" y="2858"/>
                    <a:pt x="217" y="7951"/>
                  </a:cubicBezTo>
                  <a:cubicBezTo>
                    <a:pt x="-884" y="12976"/>
                    <a:pt x="2308" y="17934"/>
                    <a:pt x="7331" y="19033"/>
                  </a:cubicBezTo>
                  <a:cubicBezTo>
                    <a:pt x="7579" y="19089"/>
                    <a:pt x="7837" y="19134"/>
                    <a:pt x="8085" y="19168"/>
                  </a:cubicBezTo>
                  <a:cubicBezTo>
                    <a:pt x="14603" y="19728"/>
                    <a:pt x="20784" y="20626"/>
                    <a:pt x="26966" y="21299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9" name="Freeform 238">
              <a:extLst>
                <a:ext uri="{FF2B5EF4-FFF2-40B4-BE49-F238E27FC236}">
                  <a16:creationId xmlns:a16="http://schemas.microsoft.com/office/drawing/2014/main" id="{A7EF6DD4-AE58-1540-9DF5-72E007503291}"/>
                </a:ext>
              </a:extLst>
            </p:cNvPr>
            <p:cNvSpPr/>
            <p:nvPr/>
          </p:nvSpPr>
          <p:spPr>
            <a:xfrm>
              <a:off x="6193361" y="3396164"/>
              <a:ext cx="37540" cy="18732"/>
            </a:xfrm>
            <a:custGeom>
              <a:avLst/>
              <a:gdLst>
                <a:gd name="connsiteX0" fmla="*/ 37540 w 37540"/>
                <a:gd name="connsiteY0" fmla="*/ 9422 h 18732"/>
                <a:gd name="connsiteX1" fmla="*/ 28100 w 37540"/>
                <a:gd name="connsiteY1" fmla="*/ 0 h 18732"/>
                <a:gd name="connsiteX2" fmla="*/ 25739 w 37540"/>
                <a:gd name="connsiteY2" fmla="*/ 0 h 18732"/>
                <a:gd name="connsiteX3" fmla="*/ 9668 w 37540"/>
                <a:gd name="connsiteY3" fmla="*/ 0 h 18732"/>
                <a:gd name="connsiteX4" fmla="*/ 3 w 37540"/>
                <a:gd name="connsiteY4" fmla="*/ 9086 h 18732"/>
                <a:gd name="connsiteX5" fmla="*/ 9106 w 37540"/>
                <a:gd name="connsiteY5" fmla="*/ 18732 h 18732"/>
                <a:gd name="connsiteX6" fmla="*/ 25739 w 37540"/>
                <a:gd name="connsiteY6" fmla="*/ 18732 h 18732"/>
                <a:gd name="connsiteX7" fmla="*/ 28100 w 37540"/>
                <a:gd name="connsiteY7" fmla="*/ 18732 h 18732"/>
                <a:gd name="connsiteX8" fmla="*/ 37540 w 37540"/>
                <a:gd name="connsiteY8" fmla="*/ 9422 h 18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7540" h="18732">
                  <a:moveTo>
                    <a:pt x="37540" y="9422"/>
                  </a:moveTo>
                  <a:cubicBezTo>
                    <a:pt x="37484" y="4240"/>
                    <a:pt x="33292" y="56"/>
                    <a:pt x="28100" y="0"/>
                  </a:cubicBezTo>
                  <a:lnTo>
                    <a:pt x="25739" y="0"/>
                  </a:lnTo>
                  <a:cubicBezTo>
                    <a:pt x="20569" y="0"/>
                    <a:pt x="15175" y="0"/>
                    <a:pt x="9668" y="0"/>
                  </a:cubicBezTo>
                  <a:cubicBezTo>
                    <a:pt x="4588" y="101"/>
                    <a:pt x="407" y="4027"/>
                    <a:pt x="3" y="9086"/>
                  </a:cubicBezTo>
                  <a:cubicBezTo>
                    <a:pt x="-121" y="14246"/>
                    <a:pt x="3936" y="18553"/>
                    <a:pt x="9106" y="18732"/>
                  </a:cubicBezTo>
                  <a:lnTo>
                    <a:pt x="25739" y="18732"/>
                  </a:lnTo>
                  <a:lnTo>
                    <a:pt x="28100" y="18732"/>
                  </a:lnTo>
                  <a:cubicBezTo>
                    <a:pt x="33269" y="18732"/>
                    <a:pt x="37484" y="14582"/>
                    <a:pt x="37540" y="9422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0" name="Freeform 239">
              <a:extLst>
                <a:ext uri="{FF2B5EF4-FFF2-40B4-BE49-F238E27FC236}">
                  <a16:creationId xmlns:a16="http://schemas.microsoft.com/office/drawing/2014/main" id="{9633A80A-FDF6-C346-A78C-7E27FE453483}"/>
                </a:ext>
              </a:extLst>
            </p:cNvPr>
            <p:cNvSpPr/>
            <p:nvPr/>
          </p:nvSpPr>
          <p:spPr>
            <a:xfrm>
              <a:off x="5910230" y="3310212"/>
              <a:ext cx="34540" cy="28746"/>
            </a:xfrm>
            <a:custGeom>
              <a:avLst/>
              <a:gdLst>
                <a:gd name="connsiteX0" fmla="*/ 25093 w 34540"/>
                <a:gd name="connsiteY0" fmla="*/ 28746 h 28746"/>
                <a:gd name="connsiteX1" fmla="*/ 33184 w 34540"/>
                <a:gd name="connsiteY1" fmla="*/ 24259 h 28746"/>
                <a:gd name="connsiteX2" fmla="*/ 30038 w 34540"/>
                <a:gd name="connsiteY2" fmla="*/ 11360 h 28746"/>
                <a:gd name="connsiteX3" fmla="*/ 14529 w 34540"/>
                <a:gd name="connsiteY3" fmla="*/ 1601 h 28746"/>
                <a:gd name="connsiteX4" fmla="*/ 1716 w 34540"/>
                <a:gd name="connsiteY4" fmla="*/ 4001 h 28746"/>
                <a:gd name="connsiteX5" fmla="*/ 1604 w 34540"/>
                <a:gd name="connsiteY5" fmla="*/ 4181 h 28746"/>
                <a:gd name="connsiteX6" fmla="*/ 4009 w 34540"/>
                <a:gd name="connsiteY6" fmla="*/ 16968 h 28746"/>
                <a:gd name="connsiteX7" fmla="*/ 4189 w 34540"/>
                <a:gd name="connsiteY7" fmla="*/ 17080 h 28746"/>
                <a:gd name="connsiteX8" fmla="*/ 20260 w 34540"/>
                <a:gd name="connsiteY8" fmla="*/ 27400 h 28746"/>
                <a:gd name="connsiteX9" fmla="*/ 25093 w 34540"/>
                <a:gd name="connsiteY9" fmla="*/ 28746 h 28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4540" h="28746">
                  <a:moveTo>
                    <a:pt x="25093" y="28746"/>
                  </a:moveTo>
                  <a:cubicBezTo>
                    <a:pt x="28397" y="28791"/>
                    <a:pt x="31476" y="27075"/>
                    <a:pt x="33184" y="24259"/>
                  </a:cubicBezTo>
                  <a:cubicBezTo>
                    <a:pt x="35859" y="19828"/>
                    <a:pt x="34455" y="14063"/>
                    <a:pt x="30038" y="11360"/>
                  </a:cubicBezTo>
                  <a:lnTo>
                    <a:pt x="14529" y="1601"/>
                  </a:lnTo>
                  <a:cubicBezTo>
                    <a:pt x="10325" y="-1260"/>
                    <a:pt x="4593" y="-183"/>
                    <a:pt x="1716" y="4001"/>
                  </a:cubicBezTo>
                  <a:cubicBezTo>
                    <a:pt x="1683" y="4068"/>
                    <a:pt x="1638" y="4125"/>
                    <a:pt x="1604" y="4181"/>
                  </a:cubicBezTo>
                  <a:cubicBezTo>
                    <a:pt x="-1262" y="8376"/>
                    <a:pt x="-183" y="14097"/>
                    <a:pt x="4009" y="16968"/>
                  </a:cubicBezTo>
                  <a:cubicBezTo>
                    <a:pt x="4076" y="17002"/>
                    <a:pt x="4133" y="17047"/>
                    <a:pt x="4189" y="17080"/>
                  </a:cubicBezTo>
                  <a:cubicBezTo>
                    <a:pt x="9471" y="20670"/>
                    <a:pt x="15427" y="24035"/>
                    <a:pt x="20260" y="27400"/>
                  </a:cubicBezTo>
                  <a:cubicBezTo>
                    <a:pt x="21732" y="28252"/>
                    <a:pt x="23396" y="28724"/>
                    <a:pt x="25093" y="28746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1" name="Freeform 240">
              <a:extLst>
                <a:ext uri="{FF2B5EF4-FFF2-40B4-BE49-F238E27FC236}">
                  <a16:creationId xmlns:a16="http://schemas.microsoft.com/office/drawing/2014/main" id="{5F301BEA-5C4D-B04D-AB49-F1FA44EAD8EE}"/>
                </a:ext>
              </a:extLst>
            </p:cNvPr>
            <p:cNvSpPr/>
            <p:nvPr/>
          </p:nvSpPr>
          <p:spPr>
            <a:xfrm>
              <a:off x="6046180" y="3373130"/>
              <a:ext cx="36485" cy="23597"/>
            </a:xfrm>
            <a:custGeom>
              <a:avLst/>
              <a:gdLst>
                <a:gd name="connsiteX0" fmla="*/ 24570 w 36485"/>
                <a:gd name="connsiteY0" fmla="*/ 23595 h 23597"/>
                <a:gd name="connsiteX1" fmla="*/ 26930 w 36485"/>
                <a:gd name="connsiteY1" fmla="*/ 23595 h 23597"/>
                <a:gd name="connsiteX2" fmla="*/ 36483 w 36485"/>
                <a:gd name="connsiteY2" fmla="*/ 14509 h 23597"/>
                <a:gd name="connsiteX3" fmla="*/ 29178 w 36485"/>
                <a:gd name="connsiteY3" fmla="*/ 5199 h 23597"/>
                <a:gd name="connsiteX4" fmla="*/ 11533 w 36485"/>
                <a:gd name="connsiteY4" fmla="*/ 264 h 23597"/>
                <a:gd name="connsiteX5" fmla="*/ 294 w 36485"/>
                <a:gd name="connsiteY5" fmla="*/ 6658 h 23597"/>
                <a:gd name="connsiteX6" fmla="*/ 6588 w 36485"/>
                <a:gd name="connsiteY6" fmla="*/ 17875 h 23597"/>
                <a:gd name="connsiteX7" fmla="*/ 24570 w 36485"/>
                <a:gd name="connsiteY7" fmla="*/ 23595 h 23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485" h="23597">
                  <a:moveTo>
                    <a:pt x="24570" y="23595"/>
                  </a:moveTo>
                  <a:lnTo>
                    <a:pt x="26930" y="23595"/>
                  </a:lnTo>
                  <a:cubicBezTo>
                    <a:pt x="32077" y="23719"/>
                    <a:pt x="36359" y="19647"/>
                    <a:pt x="36483" y="14509"/>
                  </a:cubicBezTo>
                  <a:cubicBezTo>
                    <a:pt x="36584" y="10068"/>
                    <a:pt x="33527" y="6164"/>
                    <a:pt x="29178" y="5199"/>
                  </a:cubicBezTo>
                  <a:cubicBezTo>
                    <a:pt x="23334" y="3741"/>
                    <a:pt x="17939" y="2059"/>
                    <a:pt x="11533" y="264"/>
                  </a:cubicBezTo>
                  <a:cubicBezTo>
                    <a:pt x="6678" y="-903"/>
                    <a:pt x="1755" y="1901"/>
                    <a:pt x="294" y="6658"/>
                  </a:cubicBezTo>
                  <a:cubicBezTo>
                    <a:pt x="-942" y="11470"/>
                    <a:pt x="1823" y="16416"/>
                    <a:pt x="6588" y="17875"/>
                  </a:cubicBezTo>
                  <a:cubicBezTo>
                    <a:pt x="12320" y="20006"/>
                    <a:pt x="18389" y="21688"/>
                    <a:pt x="24570" y="23595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2" name="Freeform 241">
              <a:extLst>
                <a:ext uri="{FF2B5EF4-FFF2-40B4-BE49-F238E27FC236}">
                  <a16:creationId xmlns:a16="http://schemas.microsoft.com/office/drawing/2014/main" id="{F7546A25-CA15-414E-A6EF-4B27C621151A}"/>
                </a:ext>
              </a:extLst>
            </p:cNvPr>
            <p:cNvSpPr/>
            <p:nvPr/>
          </p:nvSpPr>
          <p:spPr>
            <a:xfrm>
              <a:off x="5976085" y="3346932"/>
              <a:ext cx="35324" cy="25902"/>
            </a:xfrm>
            <a:custGeom>
              <a:avLst/>
              <a:gdLst>
                <a:gd name="connsiteX0" fmla="*/ 22287 w 35324"/>
                <a:gd name="connsiteY0" fmla="*/ 25228 h 25902"/>
                <a:gd name="connsiteX1" fmla="*/ 25883 w 35324"/>
                <a:gd name="connsiteY1" fmla="*/ 25901 h 25902"/>
                <a:gd name="connsiteX2" fmla="*/ 35324 w 35324"/>
                <a:gd name="connsiteY2" fmla="*/ 16703 h 25902"/>
                <a:gd name="connsiteX3" fmla="*/ 29480 w 35324"/>
                <a:gd name="connsiteY3" fmla="*/ 7954 h 25902"/>
                <a:gd name="connsiteX4" fmla="*/ 12622 w 35324"/>
                <a:gd name="connsiteY4" fmla="*/ 551 h 25902"/>
                <a:gd name="connsiteX5" fmla="*/ 551 w 35324"/>
                <a:gd name="connsiteY5" fmla="*/ 6249 h 25902"/>
                <a:gd name="connsiteX6" fmla="*/ 4755 w 35324"/>
                <a:gd name="connsiteY6" fmla="*/ 17601 h 25902"/>
                <a:gd name="connsiteX7" fmla="*/ 22287 w 35324"/>
                <a:gd name="connsiteY7" fmla="*/ 25228 h 25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324" h="25902">
                  <a:moveTo>
                    <a:pt x="22287" y="25228"/>
                  </a:moveTo>
                  <a:cubicBezTo>
                    <a:pt x="23433" y="25677"/>
                    <a:pt x="24658" y="25901"/>
                    <a:pt x="25883" y="25901"/>
                  </a:cubicBezTo>
                  <a:cubicBezTo>
                    <a:pt x="31031" y="25969"/>
                    <a:pt x="35268" y="21852"/>
                    <a:pt x="35324" y="16703"/>
                  </a:cubicBezTo>
                  <a:cubicBezTo>
                    <a:pt x="35380" y="12867"/>
                    <a:pt x="33054" y="9390"/>
                    <a:pt x="29480" y="7954"/>
                  </a:cubicBezTo>
                  <a:lnTo>
                    <a:pt x="12622" y="551"/>
                  </a:lnTo>
                  <a:cubicBezTo>
                    <a:pt x="7710" y="-1199"/>
                    <a:pt x="2304" y="1359"/>
                    <a:pt x="551" y="6249"/>
                  </a:cubicBezTo>
                  <a:cubicBezTo>
                    <a:pt x="-989" y="10557"/>
                    <a:pt x="787" y="15335"/>
                    <a:pt x="4755" y="17601"/>
                  </a:cubicBezTo>
                  <a:cubicBezTo>
                    <a:pt x="11048" y="20293"/>
                    <a:pt x="16555" y="22761"/>
                    <a:pt x="22287" y="25228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3" name="Freeform 242">
              <a:extLst>
                <a:ext uri="{FF2B5EF4-FFF2-40B4-BE49-F238E27FC236}">
                  <a16:creationId xmlns:a16="http://schemas.microsoft.com/office/drawing/2014/main" id="{63F77013-898E-B94A-97F3-0F9E722D16AA}"/>
                </a:ext>
              </a:extLst>
            </p:cNvPr>
            <p:cNvSpPr/>
            <p:nvPr/>
          </p:nvSpPr>
          <p:spPr>
            <a:xfrm>
              <a:off x="6264180" y="4538164"/>
              <a:ext cx="36173" cy="22433"/>
            </a:xfrm>
            <a:custGeom>
              <a:avLst/>
              <a:gdLst>
                <a:gd name="connsiteX0" fmla="*/ 25388 w 36173"/>
                <a:gd name="connsiteY0" fmla="*/ 0 h 22433"/>
                <a:gd name="connsiteX1" fmla="*/ 7406 w 36173"/>
                <a:gd name="connsiteY1" fmla="*/ 3814 h 22433"/>
                <a:gd name="connsiteX2" fmla="*/ 224 w 36173"/>
                <a:gd name="connsiteY2" fmla="*/ 15042 h 22433"/>
                <a:gd name="connsiteX3" fmla="*/ 9204 w 36173"/>
                <a:gd name="connsiteY3" fmla="*/ 22434 h 22433"/>
                <a:gd name="connsiteX4" fmla="*/ 11002 w 36173"/>
                <a:gd name="connsiteY4" fmla="*/ 22434 h 22433"/>
                <a:gd name="connsiteX5" fmla="*/ 29658 w 36173"/>
                <a:gd name="connsiteY5" fmla="*/ 18508 h 22433"/>
                <a:gd name="connsiteX6" fmla="*/ 35705 w 36173"/>
                <a:gd name="connsiteY6" fmla="*/ 6629 h 22433"/>
                <a:gd name="connsiteX7" fmla="*/ 25388 w 36173"/>
                <a:gd name="connsiteY7" fmla="*/ 224 h 22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173" h="22433">
                  <a:moveTo>
                    <a:pt x="25388" y="0"/>
                  </a:moveTo>
                  <a:cubicBezTo>
                    <a:pt x="19544" y="1458"/>
                    <a:pt x="13475" y="2692"/>
                    <a:pt x="7406" y="3814"/>
                  </a:cubicBezTo>
                  <a:cubicBezTo>
                    <a:pt x="2314" y="4935"/>
                    <a:pt x="-900" y="9961"/>
                    <a:pt x="224" y="15042"/>
                  </a:cubicBezTo>
                  <a:cubicBezTo>
                    <a:pt x="1157" y="19282"/>
                    <a:pt x="4866" y="22322"/>
                    <a:pt x="9204" y="22434"/>
                  </a:cubicBezTo>
                  <a:lnTo>
                    <a:pt x="11002" y="22434"/>
                  </a:lnTo>
                  <a:lnTo>
                    <a:pt x="29658" y="18508"/>
                  </a:lnTo>
                  <a:cubicBezTo>
                    <a:pt x="34614" y="16893"/>
                    <a:pt x="37323" y="11576"/>
                    <a:pt x="35705" y="6629"/>
                  </a:cubicBezTo>
                  <a:cubicBezTo>
                    <a:pt x="34277" y="2277"/>
                    <a:pt x="29928" y="-427"/>
                    <a:pt x="25388" y="224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4" name="Freeform 243">
              <a:extLst>
                <a:ext uri="{FF2B5EF4-FFF2-40B4-BE49-F238E27FC236}">
                  <a16:creationId xmlns:a16="http://schemas.microsoft.com/office/drawing/2014/main" id="{DE72EE93-DFD1-E94E-B5B7-D673FCE0C71F}"/>
                </a:ext>
              </a:extLst>
            </p:cNvPr>
            <p:cNvSpPr/>
            <p:nvPr/>
          </p:nvSpPr>
          <p:spPr>
            <a:xfrm>
              <a:off x="6336216" y="4515395"/>
              <a:ext cx="36234" cy="25354"/>
            </a:xfrm>
            <a:custGeom>
              <a:avLst/>
              <a:gdLst>
                <a:gd name="connsiteX0" fmla="*/ 23368 w 36234"/>
                <a:gd name="connsiteY0" fmla="*/ 671 h 25354"/>
                <a:gd name="connsiteX1" fmla="*/ 6173 w 36234"/>
                <a:gd name="connsiteY1" fmla="*/ 7177 h 25354"/>
                <a:gd name="connsiteX2" fmla="*/ 553 w 36234"/>
                <a:gd name="connsiteY2" fmla="*/ 19179 h 25354"/>
                <a:gd name="connsiteX3" fmla="*/ 9320 w 36234"/>
                <a:gd name="connsiteY3" fmla="*/ 25348 h 25354"/>
                <a:gd name="connsiteX4" fmla="*/ 12467 w 36234"/>
                <a:gd name="connsiteY4" fmla="*/ 24788 h 25354"/>
                <a:gd name="connsiteX5" fmla="*/ 30336 w 36234"/>
                <a:gd name="connsiteY5" fmla="*/ 18057 h 25354"/>
                <a:gd name="connsiteX6" fmla="*/ 35562 w 36234"/>
                <a:gd name="connsiteY6" fmla="*/ 5887 h 25354"/>
                <a:gd name="connsiteX7" fmla="*/ 23368 w 36234"/>
                <a:gd name="connsiteY7" fmla="*/ 671 h 25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234" h="25354">
                  <a:moveTo>
                    <a:pt x="23368" y="671"/>
                  </a:moveTo>
                  <a:cubicBezTo>
                    <a:pt x="17749" y="2914"/>
                    <a:pt x="12130" y="5158"/>
                    <a:pt x="6173" y="7177"/>
                  </a:cubicBezTo>
                  <a:cubicBezTo>
                    <a:pt x="1318" y="8972"/>
                    <a:pt x="-1189" y="14322"/>
                    <a:pt x="553" y="19179"/>
                  </a:cubicBezTo>
                  <a:cubicBezTo>
                    <a:pt x="1880" y="22870"/>
                    <a:pt x="5386" y="25337"/>
                    <a:pt x="9320" y="25348"/>
                  </a:cubicBezTo>
                  <a:cubicBezTo>
                    <a:pt x="10398" y="25393"/>
                    <a:pt x="11466" y="25203"/>
                    <a:pt x="12467" y="24788"/>
                  </a:cubicBezTo>
                  <a:cubicBezTo>
                    <a:pt x="18535" y="22623"/>
                    <a:pt x="24492" y="20379"/>
                    <a:pt x="30336" y="18057"/>
                  </a:cubicBezTo>
                  <a:cubicBezTo>
                    <a:pt x="35146" y="16139"/>
                    <a:pt x="37484" y="10688"/>
                    <a:pt x="35562" y="5887"/>
                  </a:cubicBezTo>
                  <a:cubicBezTo>
                    <a:pt x="33640" y="1086"/>
                    <a:pt x="28178" y="-1247"/>
                    <a:pt x="23368" y="671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5" name="Freeform 244">
              <a:extLst>
                <a:ext uri="{FF2B5EF4-FFF2-40B4-BE49-F238E27FC236}">
                  <a16:creationId xmlns:a16="http://schemas.microsoft.com/office/drawing/2014/main" id="{5BD4333D-1C57-2545-BD8F-927EE4B3EBB1}"/>
                </a:ext>
              </a:extLst>
            </p:cNvPr>
            <p:cNvSpPr/>
            <p:nvPr/>
          </p:nvSpPr>
          <p:spPr>
            <a:xfrm>
              <a:off x="6526271" y="4391575"/>
              <a:ext cx="31972" cy="31615"/>
            </a:xfrm>
            <a:custGeom>
              <a:avLst/>
              <a:gdLst>
                <a:gd name="connsiteX0" fmla="*/ 15493 w 31972"/>
                <a:gd name="connsiteY0" fmla="*/ 29147 h 31615"/>
                <a:gd name="connsiteX1" fmla="*/ 29204 w 31972"/>
                <a:gd name="connsiteY1" fmla="*/ 15911 h 31615"/>
                <a:gd name="connsiteX2" fmla="*/ 29271 w 31972"/>
                <a:gd name="connsiteY2" fmla="*/ 2743 h 31615"/>
                <a:gd name="connsiteX3" fmla="*/ 29204 w 31972"/>
                <a:gd name="connsiteY3" fmla="*/ 2675 h 31615"/>
                <a:gd name="connsiteX4" fmla="*/ 15942 w 31972"/>
                <a:gd name="connsiteY4" fmla="*/ 2675 h 31615"/>
                <a:gd name="connsiteX5" fmla="*/ 2680 w 31972"/>
                <a:gd name="connsiteY5" fmla="*/ 15463 h 31615"/>
                <a:gd name="connsiteX6" fmla="*/ 2680 w 31972"/>
                <a:gd name="connsiteY6" fmla="*/ 28699 h 31615"/>
                <a:gd name="connsiteX7" fmla="*/ 9536 w 31972"/>
                <a:gd name="connsiteY7" fmla="*/ 31615 h 31615"/>
                <a:gd name="connsiteX8" fmla="*/ 15493 w 31972"/>
                <a:gd name="connsiteY8" fmla="*/ 29147 h 31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972" h="31615">
                  <a:moveTo>
                    <a:pt x="15493" y="29147"/>
                  </a:moveTo>
                  <a:cubicBezTo>
                    <a:pt x="20325" y="24661"/>
                    <a:pt x="24933" y="20174"/>
                    <a:pt x="29204" y="15911"/>
                  </a:cubicBezTo>
                  <a:cubicBezTo>
                    <a:pt x="32868" y="12299"/>
                    <a:pt x="32901" y="6399"/>
                    <a:pt x="29271" y="2743"/>
                  </a:cubicBezTo>
                  <a:cubicBezTo>
                    <a:pt x="29249" y="2720"/>
                    <a:pt x="29226" y="2698"/>
                    <a:pt x="29204" y="2675"/>
                  </a:cubicBezTo>
                  <a:cubicBezTo>
                    <a:pt x="25506" y="-892"/>
                    <a:pt x="19640" y="-892"/>
                    <a:pt x="15942" y="2675"/>
                  </a:cubicBezTo>
                  <a:cubicBezTo>
                    <a:pt x="11784" y="6825"/>
                    <a:pt x="7401" y="11088"/>
                    <a:pt x="2680" y="15463"/>
                  </a:cubicBezTo>
                  <a:cubicBezTo>
                    <a:pt x="-893" y="19153"/>
                    <a:pt x="-893" y="25008"/>
                    <a:pt x="2680" y="28699"/>
                  </a:cubicBezTo>
                  <a:cubicBezTo>
                    <a:pt x="4490" y="30538"/>
                    <a:pt x="6951" y="31581"/>
                    <a:pt x="9536" y="31615"/>
                  </a:cubicBezTo>
                  <a:cubicBezTo>
                    <a:pt x="11750" y="31525"/>
                    <a:pt x="13863" y="30651"/>
                    <a:pt x="15493" y="29147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6" name="Freeform 245">
              <a:extLst>
                <a:ext uri="{FF2B5EF4-FFF2-40B4-BE49-F238E27FC236}">
                  <a16:creationId xmlns:a16="http://schemas.microsoft.com/office/drawing/2014/main" id="{5A6C4489-18DC-AB4F-8AC1-1463CBF32AF4}"/>
                </a:ext>
              </a:extLst>
            </p:cNvPr>
            <p:cNvSpPr/>
            <p:nvPr/>
          </p:nvSpPr>
          <p:spPr>
            <a:xfrm>
              <a:off x="5970035" y="4510723"/>
              <a:ext cx="36257" cy="25197"/>
            </a:xfrm>
            <a:custGeom>
              <a:avLst/>
              <a:gdLst>
                <a:gd name="connsiteX0" fmla="*/ 12715 w 36257"/>
                <a:gd name="connsiteY0" fmla="*/ 632 h 25197"/>
                <a:gd name="connsiteX1" fmla="*/ 634 w 36257"/>
                <a:gd name="connsiteY1" fmla="*/ 5961 h 25197"/>
                <a:gd name="connsiteX2" fmla="*/ 5972 w 36257"/>
                <a:gd name="connsiteY2" fmla="*/ 18019 h 25197"/>
                <a:gd name="connsiteX3" fmla="*/ 23729 w 36257"/>
                <a:gd name="connsiteY3" fmla="*/ 24637 h 25197"/>
                <a:gd name="connsiteX4" fmla="*/ 26876 w 36257"/>
                <a:gd name="connsiteY4" fmla="*/ 25198 h 25197"/>
                <a:gd name="connsiteX5" fmla="*/ 35755 w 36257"/>
                <a:gd name="connsiteY5" fmla="*/ 18916 h 25197"/>
                <a:gd name="connsiteX6" fmla="*/ 30023 w 36257"/>
                <a:gd name="connsiteY6" fmla="*/ 7026 h 25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257" h="25197">
                  <a:moveTo>
                    <a:pt x="12715" y="632"/>
                  </a:moveTo>
                  <a:cubicBezTo>
                    <a:pt x="7905" y="-1229"/>
                    <a:pt x="2499" y="1160"/>
                    <a:pt x="634" y="5961"/>
                  </a:cubicBezTo>
                  <a:cubicBezTo>
                    <a:pt x="-1232" y="10762"/>
                    <a:pt x="1162" y="16157"/>
                    <a:pt x="5972" y="18019"/>
                  </a:cubicBezTo>
                  <a:cubicBezTo>
                    <a:pt x="11929" y="20374"/>
                    <a:pt x="17885" y="22618"/>
                    <a:pt x="23729" y="24637"/>
                  </a:cubicBezTo>
                  <a:cubicBezTo>
                    <a:pt x="24741" y="24973"/>
                    <a:pt x="25808" y="25164"/>
                    <a:pt x="26876" y="25198"/>
                  </a:cubicBezTo>
                  <a:cubicBezTo>
                    <a:pt x="30877" y="25220"/>
                    <a:pt x="34451" y="22696"/>
                    <a:pt x="35755" y="18916"/>
                  </a:cubicBezTo>
                  <a:cubicBezTo>
                    <a:pt x="37407" y="14059"/>
                    <a:pt x="34855" y="8765"/>
                    <a:pt x="30023" y="7026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7" name="Freeform 246">
              <a:extLst>
                <a:ext uri="{FF2B5EF4-FFF2-40B4-BE49-F238E27FC236}">
                  <a16:creationId xmlns:a16="http://schemas.microsoft.com/office/drawing/2014/main" id="{7A1F1A11-5974-2047-82AA-986A0C2B073E}"/>
                </a:ext>
              </a:extLst>
            </p:cNvPr>
            <p:cNvSpPr/>
            <p:nvPr/>
          </p:nvSpPr>
          <p:spPr>
            <a:xfrm>
              <a:off x="6189430" y="4549226"/>
              <a:ext cx="37683" cy="19672"/>
            </a:xfrm>
            <a:custGeom>
              <a:avLst/>
              <a:gdLst>
                <a:gd name="connsiteX0" fmla="*/ 37650 w 37683"/>
                <a:gd name="connsiteY0" fmla="*/ 8680 h 19672"/>
                <a:gd name="connsiteX1" fmla="*/ 28153 w 37683"/>
                <a:gd name="connsiteY1" fmla="*/ 9 h 19672"/>
                <a:gd name="connsiteX2" fmla="*/ 27647 w 37683"/>
                <a:gd name="connsiteY2" fmla="*/ 43 h 19672"/>
                <a:gd name="connsiteX3" fmla="*/ 9328 w 37683"/>
                <a:gd name="connsiteY3" fmla="*/ 1052 h 19672"/>
                <a:gd name="connsiteX4" fmla="*/ 0 w 37683"/>
                <a:gd name="connsiteY4" fmla="*/ 10363 h 19672"/>
                <a:gd name="connsiteX5" fmla="*/ 9328 w 37683"/>
                <a:gd name="connsiteY5" fmla="*/ 19673 h 19672"/>
                <a:gd name="connsiteX6" fmla="*/ 9328 w 37683"/>
                <a:gd name="connsiteY6" fmla="*/ 19673 h 19672"/>
                <a:gd name="connsiteX7" fmla="*/ 28321 w 37683"/>
                <a:gd name="connsiteY7" fmla="*/ 18663 h 19672"/>
                <a:gd name="connsiteX8" fmla="*/ 37683 w 37683"/>
                <a:gd name="connsiteY8" fmla="*/ 9611 h 19672"/>
                <a:gd name="connsiteX9" fmla="*/ 37650 w 37683"/>
                <a:gd name="connsiteY9" fmla="*/ 8680 h 19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7683" h="19672">
                  <a:moveTo>
                    <a:pt x="37650" y="8680"/>
                  </a:moveTo>
                  <a:cubicBezTo>
                    <a:pt x="37425" y="3666"/>
                    <a:pt x="33177" y="-215"/>
                    <a:pt x="28153" y="9"/>
                  </a:cubicBezTo>
                  <a:cubicBezTo>
                    <a:pt x="27984" y="9"/>
                    <a:pt x="27816" y="20"/>
                    <a:pt x="27647" y="43"/>
                  </a:cubicBezTo>
                  <a:cubicBezTo>
                    <a:pt x="21578" y="43"/>
                    <a:pt x="15509" y="828"/>
                    <a:pt x="9328" y="1052"/>
                  </a:cubicBezTo>
                  <a:cubicBezTo>
                    <a:pt x="4181" y="1052"/>
                    <a:pt x="0" y="5225"/>
                    <a:pt x="0" y="10363"/>
                  </a:cubicBezTo>
                  <a:cubicBezTo>
                    <a:pt x="0" y="15500"/>
                    <a:pt x="4181" y="19673"/>
                    <a:pt x="9328" y="19673"/>
                  </a:cubicBezTo>
                  <a:lnTo>
                    <a:pt x="9328" y="19673"/>
                  </a:lnTo>
                  <a:cubicBezTo>
                    <a:pt x="15734" y="19673"/>
                    <a:pt x="22028" y="19112"/>
                    <a:pt x="28321" y="18663"/>
                  </a:cubicBezTo>
                  <a:cubicBezTo>
                    <a:pt x="33413" y="18741"/>
                    <a:pt x="37605" y="14692"/>
                    <a:pt x="37683" y="9611"/>
                  </a:cubicBezTo>
                  <a:cubicBezTo>
                    <a:pt x="37683" y="9297"/>
                    <a:pt x="37672" y="8994"/>
                    <a:pt x="37650" y="8680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8" name="Freeform 247">
              <a:extLst>
                <a:ext uri="{FF2B5EF4-FFF2-40B4-BE49-F238E27FC236}">
                  <a16:creationId xmlns:a16="http://schemas.microsoft.com/office/drawing/2014/main" id="{829E9C09-FEE9-6840-B4E1-8975CBBFF4B3}"/>
                </a:ext>
              </a:extLst>
            </p:cNvPr>
            <p:cNvSpPr/>
            <p:nvPr/>
          </p:nvSpPr>
          <p:spPr>
            <a:xfrm>
              <a:off x="6577194" y="4335042"/>
              <a:ext cx="30411" cy="33636"/>
            </a:xfrm>
            <a:custGeom>
              <a:avLst/>
              <a:gdLst>
                <a:gd name="connsiteX0" fmla="*/ 16830 w 30411"/>
                <a:gd name="connsiteY0" fmla="*/ 30156 h 33636"/>
                <a:gd name="connsiteX1" fmla="*/ 28743 w 30411"/>
                <a:gd name="connsiteY1" fmla="*/ 14676 h 33636"/>
                <a:gd name="connsiteX2" fmla="*/ 26383 w 30411"/>
                <a:gd name="connsiteY2" fmla="*/ 1665 h 33636"/>
                <a:gd name="connsiteX3" fmla="*/ 13346 w 30411"/>
                <a:gd name="connsiteY3" fmla="*/ 4021 h 33636"/>
                <a:gd name="connsiteX4" fmla="*/ 2107 w 30411"/>
                <a:gd name="connsiteY4" fmla="*/ 18378 h 33636"/>
                <a:gd name="connsiteX5" fmla="*/ 3422 w 30411"/>
                <a:gd name="connsiteY5" fmla="*/ 31480 h 33636"/>
                <a:gd name="connsiteX6" fmla="*/ 3456 w 30411"/>
                <a:gd name="connsiteY6" fmla="*/ 31502 h 33636"/>
                <a:gd name="connsiteX7" fmla="*/ 9300 w 30411"/>
                <a:gd name="connsiteY7" fmla="*/ 33633 h 33636"/>
                <a:gd name="connsiteX8" fmla="*/ 16830 w 30411"/>
                <a:gd name="connsiteY8" fmla="*/ 30156 h 33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411" h="33636">
                  <a:moveTo>
                    <a:pt x="16830" y="30156"/>
                  </a:moveTo>
                  <a:cubicBezTo>
                    <a:pt x="24585" y="20734"/>
                    <a:pt x="28069" y="14901"/>
                    <a:pt x="28743" y="14676"/>
                  </a:cubicBezTo>
                  <a:cubicBezTo>
                    <a:pt x="31688" y="10437"/>
                    <a:pt x="30631" y="4604"/>
                    <a:pt x="26383" y="1665"/>
                  </a:cubicBezTo>
                  <a:cubicBezTo>
                    <a:pt x="22135" y="-1274"/>
                    <a:pt x="16291" y="-220"/>
                    <a:pt x="13346" y="4021"/>
                  </a:cubicBezTo>
                  <a:cubicBezTo>
                    <a:pt x="13346" y="4021"/>
                    <a:pt x="9525" y="9517"/>
                    <a:pt x="2107" y="18378"/>
                  </a:cubicBezTo>
                  <a:cubicBezTo>
                    <a:pt x="-1152" y="22360"/>
                    <a:pt x="-567" y="28227"/>
                    <a:pt x="3422" y="31480"/>
                  </a:cubicBezTo>
                  <a:cubicBezTo>
                    <a:pt x="3434" y="31491"/>
                    <a:pt x="3445" y="31491"/>
                    <a:pt x="3456" y="31502"/>
                  </a:cubicBezTo>
                  <a:cubicBezTo>
                    <a:pt x="5086" y="32882"/>
                    <a:pt x="7165" y="33644"/>
                    <a:pt x="9300" y="33633"/>
                  </a:cubicBezTo>
                  <a:cubicBezTo>
                    <a:pt x="12222" y="33712"/>
                    <a:pt x="14998" y="32422"/>
                    <a:pt x="16830" y="30156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9" name="Freeform 248">
              <a:extLst>
                <a:ext uri="{FF2B5EF4-FFF2-40B4-BE49-F238E27FC236}">
                  <a16:creationId xmlns:a16="http://schemas.microsoft.com/office/drawing/2014/main" id="{3EDB376C-8404-254A-B9D1-2CBE4FA58BAD}"/>
                </a:ext>
              </a:extLst>
            </p:cNvPr>
            <p:cNvSpPr/>
            <p:nvPr/>
          </p:nvSpPr>
          <p:spPr>
            <a:xfrm>
              <a:off x="6468147" y="4441637"/>
              <a:ext cx="33316" cy="29337"/>
            </a:xfrm>
            <a:custGeom>
              <a:avLst/>
              <a:gdLst>
                <a:gd name="connsiteX0" fmla="*/ 18659 w 33316"/>
                <a:gd name="connsiteY0" fmla="*/ 1183 h 29337"/>
                <a:gd name="connsiteX1" fmla="*/ 3824 w 33316"/>
                <a:gd name="connsiteY1" fmla="*/ 12400 h 29337"/>
                <a:gd name="connsiteX2" fmla="*/ 1801 w 33316"/>
                <a:gd name="connsiteY2" fmla="*/ 25412 h 29337"/>
                <a:gd name="connsiteX3" fmla="*/ 1801 w 33316"/>
                <a:gd name="connsiteY3" fmla="*/ 25412 h 29337"/>
                <a:gd name="connsiteX4" fmla="*/ 9331 w 33316"/>
                <a:gd name="connsiteY4" fmla="*/ 29338 h 29337"/>
                <a:gd name="connsiteX5" fmla="*/ 14838 w 33316"/>
                <a:gd name="connsiteY5" fmla="*/ 27543 h 29337"/>
                <a:gd name="connsiteX6" fmla="*/ 30123 w 33316"/>
                <a:gd name="connsiteY6" fmla="*/ 16326 h 29337"/>
                <a:gd name="connsiteX7" fmla="*/ 31022 w 33316"/>
                <a:gd name="connsiteY7" fmla="*/ 3191 h 29337"/>
                <a:gd name="connsiteX8" fmla="*/ 18884 w 33316"/>
                <a:gd name="connsiteY8" fmla="*/ 1520 h 29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316" h="29337">
                  <a:moveTo>
                    <a:pt x="18659" y="1183"/>
                  </a:moveTo>
                  <a:cubicBezTo>
                    <a:pt x="13827" y="4885"/>
                    <a:pt x="8882" y="8474"/>
                    <a:pt x="3824" y="12400"/>
                  </a:cubicBezTo>
                  <a:cubicBezTo>
                    <a:pt x="-334" y="15440"/>
                    <a:pt x="-1244" y="21261"/>
                    <a:pt x="1801" y="25412"/>
                  </a:cubicBezTo>
                  <a:cubicBezTo>
                    <a:pt x="1801" y="25412"/>
                    <a:pt x="1801" y="25412"/>
                    <a:pt x="1801" y="25412"/>
                  </a:cubicBezTo>
                  <a:cubicBezTo>
                    <a:pt x="3510" y="27880"/>
                    <a:pt x="6331" y="29349"/>
                    <a:pt x="9331" y="29338"/>
                  </a:cubicBezTo>
                  <a:cubicBezTo>
                    <a:pt x="11309" y="29349"/>
                    <a:pt x="13242" y="28721"/>
                    <a:pt x="14838" y="27543"/>
                  </a:cubicBezTo>
                  <a:cubicBezTo>
                    <a:pt x="20008" y="23729"/>
                    <a:pt x="25178" y="20028"/>
                    <a:pt x="30123" y="16326"/>
                  </a:cubicBezTo>
                  <a:cubicBezTo>
                    <a:pt x="34000" y="12950"/>
                    <a:pt x="34405" y="7061"/>
                    <a:pt x="31022" y="3191"/>
                  </a:cubicBezTo>
                  <a:cubicBezTo>
                    <a:pt x="27954" y="-309"/>
                    <a:pt x="22784" y="-1027"/>
                    <a:pt x="18884" y="1520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0" name="Freeform 249">
              <a:extLst>
                <a:ext uri="{FF2B5EF4-FFF2-40B4-BE49-F238E27FC236}">
                  <a16:creationId xmlns:a16="http://schemas.microsoft.com/office/drawing/2014/main" id="{66688452-045C-1347-88A1-69420EEE7AD2}"/>
                </a:ext>
              </a:extLst>
            </p:cNvPr>
            <p:cNvSpPr/>
            <p:nvPr/>
          </p:nvSpPr>
          <p:spPr>
            <a:xfrm>
              <a:off x="6113880" y="4547022"/>
              <a:ext cx="38751" cy="20650"/>
            </a:xfrm>
            <a:custGeom>
              <a:avLst/>
              <a:gdLst>
                <a:gd name="connsiteX0" fmla="*/ 11489 w 38751"/>
                <a:gd name="connsiteY0" fmla="*/ 228 h 20650"/>
                <a:gd name="connsiteX1" fmla="*/ 228 w 38751"/>
                <a:gd name="connsiteY1" fmla="*/ 7384 h 20650"/>
                <a:gd name="connsiteX2" fmla="*/ 7398 w 38751"/>
                <a:gd name="connsiteY2" fmla="*/ 18623 h 20650"/>
                <a:gd name="connsiteX3" fmla="*/ 9354 w 38751"/>
                <a:gd name="connsiteY3" fmla="*/ 18848 h 20650"/>
                <a:gd name="connsiteX4" fmla="*/ 28347 w 38751"/>
                <a:gd name="connsiteY4" fmla="*/ 20643 h 20650"/>
                <a:gd name="connsiteX5" fmla="*/ 29021 w 38751"/>
                <a:gd name="connsiteY5" fmla="*/ 20643 h 20650"/>
                <a:gd name="connsiteX6" fmla="*/ 38743 w 38751"/>
                <a:gd name="connsiteY6" fmla="*/ 11725 h 20650"/>
                <a:gd name="connsiteX7" fmla="*/ 29808 w 38751"/>
                <a:gd name="connsiteY7" fmla="*/ 2022 h 20650"/>
                <a:gd name="connsiteX8" fmla="*/ 11489 w 38751"/>
                <a:gd name="connsiteY8" fmla="*/ 228 h 20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751" h="20650">
                  <a:moveTo>
                    <a:pt x="11489" y="228"/>
                  </a:moveTo>
                  <a:cubicBezTo>
                    <a:pt x="6398" y="-905"/>
                    <a:pt x="1352" y="2303"/>
                    <a:pt x="228" y="7384"/>
                  </a:cubicBezTo>
                  <a:cubicBezTo>
                    <a:pt x="-907" y="12465"/>
                    <a:pt x="2307" y="17501"/>
                    <a:pt x="7398" y="18623"/>
                  </a:cubicBezTo>
                  <a:cubicBezTo>
                    <a:pt x="8039" y="18769"/>
                    <a:pt x="8691" y="18837"/>
                    <a:pt x="9354" y="18848"/>
                  </a:cubicBezTo>
                  <a:cubicBezTo>
                    <a:pt x="15648" y="19521"/>
                    <a:pt x="22053" y="20194"/>
                    <a:pt x="28347" y="20643"/>
                  </a:cubicBezTo>
                  <a:lnTo>
                    <a:pt x="29021" y="20643"/>
                  </a:lnTo>
                  <a:cubicBezTo>
                    <a:pt x="34169" y="20855"/>
                    <a:pt x="38529" y="16862"/>
                    <a:pt x="38743" y="11725"/>
                  </a:cubicBezTo>
                  <a:cubicBezTo>
                    <a:pt x="38956" y="6587"/>
                    <a:pt x="34956" y="2235"/>
                    <a:pt x="29808" y="2022"/>
                  </a:cubicBezTo>
                  <a:cubicBezTo>
                    <a:pt x="23740" y="1574"/>
                    <a:pt x="17671" y="901"/>
                    <a:pt x="11489" y="228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1" name="Freeform 250">
              <a:extLst>
                <a:ext uri="{FF2B5EF4-FFF2-40B4-BE49-F238E27FC236}">
                  <a16:creationId xmlns:a16="http://schemas.microsoft.com/office/drawing/2014/main" id="{9F438EE8-2034-1F47-8833-5CA8EE865229}"/>
                </a:ext>
              </a:extLst>
            </p:cNvPr>
            <p:cNvSpPr/>
            <p:nvPr/>
          </p:nvSpPr>
          <p:spPr>
            <a:xfrm>
              <a:off x="6404264" y="4482627"/>
              <a:ext cx="35184" cy="27720"/>
            </a:xfrm>
            <a:custGeom>
              <a:avLst/>
              <a:gdLst>
                <a:gd name="connsiteX0" fmla="*/ 21179 w 35184"/>
                <a:gd name="connsiteY0" fmla="*/ 1247 h 27720"/>
                <a:gd name="connsiteX1" fmla="*/ 5107 w 35184"/>
                <a:gd name="connsiteY1" fmla="*/ 10108 h 27720"/>
                <a:gd name="connsiteX2" fmla="*/ 1016 w 35184"/>
                <a:gd name="connsiteY2" fmla="*/ 22626 h 27720"/>
                <a:gd name="connsiteX3" fmla="*/ 9490 w 35184"/>
                <a:gd name="connsiteY3" fmla="*/ 27719 h 27720"/>
                <a:gd name="connsiteX4" fmla="*/ 13874 w 35184"/>
                <a:gd name="connsiteY4" fmla="*/ 26597 h 27720"/>
                <a:gd name="connsiteX5" fmla="*/ 30507 w 35184"/>
                <a:gd name="connsiteY5" fmla="*/ 17399 h 27720"/>
                <a:gd name="connsiteX6" fmla="*/ 33935 w 35184"/>
                <a:gd name="connsiteY6" fmla="*/ 4668 h 27720"/>
                <a:gd name="connsiteX7" fmla="*/ 21179 w 35184"/>
                <a:gd name="connsiteY7" fmla="*/ 1247 h 27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184" h="27720">
                  <a:moveTo>
                    <a:pt x="21179" y="1247"/>
                  </a:moveTo>
                  <a:cubicBezTo>
                    <a:pt x="15896" y="4275"/>
                    <a:pt x="10502" y="7192"/>
                    <a:pt x="5107" y="10108"/>
                  </a:cubicBezTo>
                  <a:cubicBezTo>
                    <a:pt x="511" y="12430"/>
                    <a:pt x="-1321" y="18039"/>
                    <a:pt x="1016" y="22626"/>
                  </a:cubicBezTo>
                  <a:cubicBezTo>
                    <a:pt x="2624" y="25801"/>
                    <a:pt x="5916" y="27775"/>
                    <a:pt x="9490" y="27719"/>
                  </a:cubicBezTo>
                  <a:cubicBezTo>
                    <a:pt x="11019" y="27730"/>
                    <a:pt x="12536" y="27349"/>
                    <a:pt x="13874" y="26597"/>
                  </a:cubicBezTo>
                  <a:cubicBezTo>
                    <a:pt x="19605" y="23569"/>
                    <a:pt x="25112" y="20540"/>
                    <a:pt x="30507" y="17399"/>
                  </a:cubicBezTo>
                  <a:cubicBezTo>
                    <a:pt x="34980" y="14831"/>
                    <a:pt x="36508" y="9132"/>
                    <a:pt x="33935" y="4668"/>
                  </a:cubicBezTo>
                  <a:cubicBezTo>
                    <a:pt x="31361" y="204"/>
                    <a:pt x="25652" y="-1322"/>
                    <a:pt x="21179" y="1247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2" name="Freeform 251">
              <a:extLst>
                <a:ext uri="{FF2B5EF4-FFF2-40B4-BE49-F238E27FC236}">
                  <a16:creationId xmlns:a16="http://schemas.microsoft.com/office/drawing/2014/main" id="{784AB1A0-CBE6-8744-B86C-264C4022F412}"/>
                </a:ext>
              </a:extLst>
            </p:cNvPr>
            <p:cNvSpPr/>
            <p:nvPr/>
          </p:nvSpPr>
          <p:spPr>
            <a:xfrm>
              <a:off x="6041351" y="4533612"/>
              <a:ext cx="36805" cy="22808"/>
            </a:xfrm>
            <a:custGeom>
              <a:avLst/>
              <a:gdLst>
                <a:gd name="connsiteX0" fmla="*/ 11641 w 36805"/>
                <a:gd name="connsiteY0" fmla="*/ 290 h 22808"/>
                <a:gd name="connsiteX1" fmla="*/ 290 w 36805"/>
                <a:gd name="connsiteY1" fmla="*/ 7020 h 22808"/>
                <a:gd name="connsiteX2" fmla="*/ 7034 w 36805"/>
                <a:gd name="connsiteY2" fmla="*/ 18349 h 22808"/>
                <a:gd name="connsiteX3" fmla="*/ 25465 w 36805"/>
                <a:gd name="connsiteY3" fmla="*/ 22724 h 22808"/>
                <a:gd name="connsiteX4" fmla="*/ 27600 w 36805"/>
                <a:gd name="connsiteY4" fmla="*/ 22724 h 22808"/>
                <a:gd name="connsiteX5" fmla="*/ 36805 w 36805"/>
                <a:gd name="connsiteY5" fmla="*/ 13290 h 22808"/>
                <a:gd name="connsiteX6" fmla="*/ 29511 w 36805"/>
                <a:gd name="connsiteY6" fmla="*/ 4328 h 22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805" h="22808">
                  <a:moveTo>
                    <a:pt x="11641" y="290"/>
                  </a:moveTo>
                  <a:cubicBezTo>
                    <a:pt x="6640" y="-978"/>
                    <a:pt x="1561" y="2029"/>
                    <a:pt x="290" y="7020"/>
                  </a:cubicBezTo>
                  <a:cubicBezTo>
                    <a:pt x="-980" y="12011"/>
                    <a:pt x="2032" y="17082"/>
                    <a:pt x="7034" y="18349"/>
                  </a:cubicBezTo>
                  <a:lnTo>
                    <a:pt x="25465" y="22724"/>
                  </a:lnTo>
                  <a:cubicBezTo>
                    <a:pt x="26173" y="22836"/>
                    <a:pt x="26893" y="22836"/>
                    <a:pt x="27600" y="22724"/>
                  </a:cubicBezTo>
                  <a:cubicBezTo>
                    <a:pt x="32748" y="22656"/>
                    <a:pt x="36873" y="18439"/>
                    <a:pt x="36805" y="13290"/>
                  </a:cubicBezTo>
                  <a:cubicBezTo>
                    <a:pt x="36749" y="8983"/>
                    <a:pt x="33726" y="5270"/>
                    <a:pt x="29511" y="4328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3" name="Freeform 252">
              <a:extLst>
                <a:ext uri="{FF2B5EF4-FFF2-40B4-BE49-F238E27FC236}">
                  <a16:creationId xmlns:a16="http://schemas.microsoft.com/office/drawing/2014/main" id="{39948190-623E-C743-9617-529E953BE937}"/>
                </a:ext>
              </a:extLst>
            </p:cNvPr>
            <p:cNvSpPr/>
            <p:nvPr/>
          </p:nvSpPr>
          <p:spPr>
            <a:xfrm>
              <a:off x="5901600" y="4480201"/>
              <a:ext cx="35433" cy="27004"/>
            </a:xfrm>
            <a:custGeom>
              <a:avLst/>
              <a:gdLst>
                <a:gd name="connsiteX0" fmla="*/ 13606 w 35433"/>
                <a:gd name="connsiteY0" fmla="*/ 981 h 27004"/>
                <a:gd name="connsiteX1" fmla="*/ 1019 w 35433"/>
                <a:gd name="connsiteY1" fmla="*/ 5131 h 27004"/>
                <a:gd name="connsiteX2" fmla="*/ 5098 w 35433"/>
                <a:gd name="connsiteY2" fmla="*/ 17649 h 27004"/>
                <a:gd name="connsiteX3" fmla="*/ 5177 w 35433"/>
                <a:gd name="connsiteY3" fmla="*/ 17694 h 27004"/>
                <a:gd name="connsiteX4" fmla="*/ 22147 w 35433"/>
                <a:gd name="connsiteY4" fmla="*/ 26107 h 27004"/>
                <a:gd name="connsiteX5" fmla="*/ 26193 w 35433"/>
                <a:gd name="connsiteY5" fmla="*/ 27004 h 27004"/>
                <a:gd name="connsiteX6" fmla="*/ 35431 w 35433"/>
                <a:gd name="connsiteY6" fmla="*/ 17380 h 27004"/>
                <a:gd name="connsiteX7" fmla="*/ 30239 w 35433"/>
                <a:gd name="connsiteY7" fmla="*/ 9169 h 27004"/>
                <a:gd name="connsiteX8" fmla="*/ 13606 w 35433"/>
                <a:gd name="connsiteY8" fmla="*/ 981 h 27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5433" h="27004">
                  <a:moveTo>
                    <a:pt x="13606" y="981"/>
                  </a:moveTo>
                  <a:cubicBezTo>
                    <a:pt x="8976" y="-1307"/>
                    <a:pt x="3367" y="543"/>
                    <a:pt x="1019" y="5131"/>
                  </a:cubicBezTo>
                  <a:cubicBezTo>
                    <a:pt x="-1319" y="9708"/>
                    <a:pt x="502" y="15316"/>
                    <a:pt x="5098" y="17649"/>
                  </a:cubicBezTo>
                  <a:cubicBezTo>
                    <a:pt x="5121" y="17672"/>
                    <a:pt x="5154" y="17683"/>
                    <a:pt x="5177" y="17694"/>
                  </a:cubicBezTo>
                  <a:lnTo>
                    <a:pt x="22147" y="26107"/>
                  </a:lnTo>
                  <a:cubicBezTo>
                    <a:pt x="23429" y="26668"/>
                    <a:pt x="24800" y="26971"/>
                    <a:pt x="26193" y="27004"/>
                  </a:cubicBezTo>
                  <a:cubicBezTo>
                    <a:pt x="31408" y="26892"/>
                    <a:pt x="35544" y="22584"/>
                    <a:pt x="35431" y="17380"/>
                  </a:cubicBezTo>
                  <a:cubicBezTo>
                    <a:pt x="35353" y="13903"/>
                    <a:pt x="33364" y="10739"/>
                    <a:pt x="30239" y="9169"/>
                  </a:cubicBezTo>
                  <a:cubicBezTo>
                    <a:pt x="24732" y="6589"/>
                    <a:pt x="19225" y="3897"/>
                    <a:pt x="13606" y="981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4" name="Freeform 253">
              <a:extLst>
                <a:ext uri="{FF2B5EF4-FFF2-40B4-BE49-F238E27FC236}">
                  <a16:creationId xmlns:a16="http://schemas.microsoft.com/office/drawing/2014/main" id="{C18324CB-0829-0442-A688-C49292F7A811}"/>
                </a:ext>
              </a:extLst>
            </p:cNvPr>
            <p:cNvSpPr/>
            <p:nvPr/>
          </p:nvSpPr>
          <p:spPr>
            <a:xfrm>
              <a:off x="8069890" y="1505987"/>
              <a:ext cx="1538467" cy="1183523"/>
            </a:xfrm>
            <a:custGeom>
              <a:avLst/>
              <a:gdLst>
                <a:gd name="connsiteX0" fmla="*/ 172514 w 1538467"/>
                <a:gd name="connsiteY0" fmla="*/ 783848 h 1183523"/>
                <a:gd name="connsiteX1" fmla="*/ 486187 w 1538467"/>
                <a:gd name="connsiteY1" fmla="*/ 1061916 h 1183523"/>
                <a:gd name="connsiteX2" fmla="*/ 495515 w 1538467"/>
                <a:gd name="connsiteY2" fmla="*/ 1061916 h 1183523"/>
                <a:gd name="connsiteX3" fmla="*/ 640045 w 1538467"/>
                <a:gd name="connsiteY3" fmla="*/ 1164327 h 1183523"/>
                <a:gd name="connsiteX4" fmla="*/ 753668 w 1538467"/>
                <a:gd name="connsiteY4" fmla="*/ 1183508 h 1183523"/>
                <a:gd name="connsiteX5" fmla="*/ 984287 w 1538467"/>
                <a:gd name="connsiteY5" fmla="*/ 1093773 h 1183523"/>
                <a:gd name="connsiteX6" fmla="*/ 986422 w 1538467"/>
                <a:gd name="connsiteY6" fmla="*/ 1093773 h 1183523"/>
                <a:gd name="connsiteX7" fmla="*/ 1300094 w 1538467"/>
                <a:gd name="connsiteY7" fmla="*/ 813348 h 1183523"/>
                <a:gd name="connsiteX8" fmla="*/ 1300094 w 1538467"/>
                <a:gd name="connsiteY8" fmla="*/ 805609 h 1183523"/>
                <a:gd name="connsiteX9" fmla="*/ 1538467 w 1538467"/>
                <a:gd name="connsiteY9" fmla="*/ 533597 h 1183523"/>
                <a:gd name="connsiteX10" fmla="*/ 1263231 w 1538467"/>
                <a:gd name="connsiteY10" fmla="*/ 255529 h 1183523"/>
                <a:gd name="connsiteX11" fmla="*/ 950907 w 1538467"/>
                <a:gd name="connsiteY11" fmla="*/ 6 h 1183523"/>
                <a:gd name="connsiteX12" fmla="*/ 778169 w 1538467"/>
                <a:gd name="connsiteY12" fmla="*/ 46332 h 1183523"/>
                <a:gd name="connsiteX13" fmla="*/ 605430 w 1538467"/>
                <a:gd name="connsiteY13" fmla="*/ 6 h 1183523"/>
                <a:gd name="connsiteX14" fmla="*/ 293218 w 1538467"/>
                <a:gd name="connsiteY14" fmla="*/ 254070 h 1183523"/>
                <a:gd name="connsiteX15" fmla="*/ 1 w 1538467"/>
                <a:gd name="connsiteY15" fmla="*/ 533597 h 1183523"/>
                <a:gd name="connsiteX16" fmla="*/ 172514 w 1538467"/>
                <a:gd name="connsiteY16" fmla="*/ 783848 h 1183523"/>
                <a:gd name="connsiteX17" fmla="*/ 311088 w 1538467"/>
                <a:gd name="connsiteY17" fmla="*/ 291086 h 1183523"/>
                <a:gd name="connsiteX18" fmla="*/ 329744 w 1538467"/>
                <a:gd name="connsiteY18" fmla="*/ 272915 h 1183523"/>
                <a:gd name="connsiteX19" fmla="*/ 605430 w 1538467"/>
                <a:gd name="connsiteY19" fmla="*/ 37358 h 1183523"/>
                <a:gd name="connsiteX20" fmla="*/ 767717 w 1538467"/>
                <a:gd name="connsiteY20" fmla="*/ 84806 h 1183523"/>
                <a:gd name="connsiteX21" fmla="*/ 788171 w 1538467"/>
                <a:gd name="connsiteY21" fmla="*/ 84806 h 1183523"/>
                <a:gd name="connsiteX22" fmla="*/ 950682 w 1538467"/>
                <a:gd name="connsiteY22" fmla="*/ 38144 h 1183523"/>
                <a:gd name="connsiteX23" fmla="*/ 1226368 w 1538467"/>
                <a:gd name="connsiteY23" fmla="*/ 273700 h 1183523"/>
                <a:gd name="connsiteX24" fmla="*/ 1243901 w 1538467"/>
                <a:gd name="connsiteY24" fmla="*/ 291759 h 1183523"/>
                <a:gd name="connsiteX25" fmla="*/ 1500368 w 1538467"/>
                <a:gd name="connsiteY25" fmla="*/ 533597 h 1183523"/>
                <a:gd name="connsiteX26" fmla="*/ 1276605 w 1538467"/>
                <a:gd name="connsiteY26" fmla="*/ 771734 h 1183523"/>
                <a:gd name="connsiteX27" fmla="*/ 1260984 w 1538467"/>
                <a:gd name="connsiteY27" fmla="*/ 792148 h 1183523"/>
                <a:gd name="connsiteX28" fmla="*/ 1262107 w 1538467"/>
                <a:gd name="connsiteY28" fmla="*/ 813348 h 1183523"/>
                <a:gd name="connsiteX29" fmla="*/ 986197 w 1538467"/>
                <a:gd name="connsiteY29" fmla="*/ 1055972 h 1183523"/>
                <a:gd name="connsiteX30" fmla="*/ 979229 w 1538467"/>
                <a:gd name="connsiteY30" fmla="*/ 1055972 h 1183523"/>
                <a:gd name="connsiteX31" fmla="*/ 977094 w 1538467"/>
                <a:gd name="connsiteY31" fmla="*/ 1055972 h 1183523"/>
                <a:gd name="connsiteX32" fmla="*/ 963045 w 1538467"/>
                <a:gd name="connsiteY32" fmla="*/ 1061580 h 1183523"/>
                <a:gd name="connsiteX33" fmla="*/ 652182 w 1538467"/>
                <a:gd name="connsiteY33" fmla="*/ 1128882 h 1183523"/>
                <a:gd name="connsiteX34" fmla="*/ 519903 w 1538467"/>
                <a:gd name="connsiteY34" fmla="*/ 1031967 h 1183523"/>
                <a:gd name="connsiteX35" fmla="*/ 504506 w 1538467"/>
                <a:gd name="connsiteY35" fmla="*/ 1024003 h 1183523"/>
                <a:gd name="connsiteX36" fmla="*/ 503495 w 1538467"/>
                <a:gd name="connsiteY36" fmla="*/ 1024003 h 1183523"/>
                <a:gd name="connsiteX37" fmla="*/ 485962 w 1538467"/>
                <a:gd name="connsiteY37" fmla="*/ 1024564 h 1183523"/>
                <a:gd name="connsiteX38" fmla="*/ 209940 w 1538467"/>
                <a:gd name="connsiteY38" fmla="*/ 782053 h 1183523"/>
                <a:gd name="connsiteX39" fmla="*/ 209940 w 1538467"/>
                <a:gd name="connsiteY39" fmla="*/ 772743 h 1183523"/>
                <a:gd name="connsiteX40" fmla="*/ 198701 w 1538467"/>
                <a:gd name="connsiteY40" fmla="*/ 754459 h 1183523"/>
                <a:gd name="connsiteX41" fmla="*/ 37537 w 1538467"/>
                <a:gd name="connsiteY41" fmla="*/ 533934 h 1183523"/>
                <a:gd name="connsiteX42" fmla="*/ 311088 w 1538467"/>
                <a:gd name="connsiteY42" fmla="*/ 291086 h 1183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538467" h="1183523">
                  <a:moveTo>
                    <a:pt x="172514" y="783848"/>
                  </a:moveTo>
                  <a:cubicBezTo>
                    <a:pt x="173751" y="937408"/>
                    <a:pt x="314010" y="1061916"/>
                    <a:pt x="486187" y="1061916"/>
                  </a:cubicBezTo>
                  <a:lnTo>
                    <a:pt x="495515" y="1061916"/>
                  </a:lnTo>
                  <a:cubicBezTo>
                    <a:pt x="532580" y="1109465"/>
                    <a:pt x="582840" y="1145079"/>
                    <a:pt x="640045" y="1164327"/>
                  </a:cubicBezTo>
                  <a:cubicBezTo>
                    <a:pt x="676571" y="1177059"/>
                    <a:pt x="714984" y="1183542"/>
                    <a:pt x="753668" y="1183508"/>
                  </a:cubicBezTo>
                  <a:cubicBezTo>
                    <a:pt x="839251" y="1184327"/>
                    <a:pt x="921844" y="1152191"/>
                    <a:pt x="984287" y="1093773"/>
                  </a:cubicBezTo>
                  <a:lnTo>
                    <a:pt x="986422" y="1093773"/>
                  </a:lnTo>
                  <a:cubicBezTo>
                    <a:pt x="1159385" y="1093773"/>
                    <a:pt x="1300094" y="968143"/>
                    <a:pt x="1300094" y="813348"/>
                  </a:cubicBezTo>
                  <a:cubicBezTo>
                    <a:pt x="1300094" y="810769"/>
                    <a:pt x="1300094" y="808189"/>
                    <a:pt x="1300094" y="805609"/>
                  </a:cubicBezTo>
                  <a:cubicBezTo>
                    <a:pt x="1439229" y="774986"/>
                    <a:pt x="1538467" y="663041"/>
                    <a:pt x="1538467" y="533597"/>
                  </a:cubicBezTo>
                  <a:cubicBezTo>
                    <a:pt x="1538467" y="391927"/>
                    <a:pt x="1418887" y="272578"/>
                    <a:pt x="1263231" y="255529"/>
                  </a:cubicBezTo>
                  <a:cubicBezTo>
                    <a:pt x="1249408" y="110942"/>
                    <a:pt x="1115667" y="6"/>
                    <a:pt x="950907" y="6"/>
                  </a:cubicBezTo>
                  <a:cubicBezTo>
                    <a:pt x="890196" y="-355"/>
                    <a:pt x="830519" y="15650"/>
                    <a:pt x="778169" y="46332"/>
                  </a:cubicBezTo>
                  <a:cubicBezTo>
                    <a:pt x="725818" y="15650"/>
                    <a:pt x="666141" y="-355"/>
                    <a:pt x="605430" y="6"/>
                  </a:cubicBezTo>
                  <a:cubicBezTo>
                    <a:pt x="441457" y="6"/>
                    <a:pt x="307941" y="110157"/>
                    <a:pt x="293218" y="254070"/>
                  </a:cubicBezTo>
                  <a:cubicBezTo>
                    <a:pt x="130032" y="263493"/>
                    <a:pt x="1" y="385758"/>
                    <a:pt x="1" y="533597"/>
                  </a:cubicBezTo>
                  <a:cubicBezTo>
                    <a:pt x="-224" y="639485"/>
                    <a:pt x="67208" y="736512"/>
                    <a:pt x="172514" y="783848"/>
                  </a:cubicBezTo>
                  <a:close/>
                  <a:moveTo>
                    <a:pt x="311088" y="291086"/>
                  </a:moveTo>
                  <a:cubicBezTo>
                    <a:pt x="321191" y="291030"/>
                    <a:pt x="329441" y="282998"/>
                    <a:pt x="329744" y="272915"/>
                  </a:cubicBezTo>
                  <a:cubicBezTo>
                    <a:pt x="334127" y="141003"/>
                    <a:pt x="455281" y="37358"/>
                    <a:pt x="605430" y="37358"/>
                  </a:cubicBezTo>
                  <a:cubicBezTo>
                    <a:pt x="662972" y="37256"/>
                    <a:pt x="719322" y="53731"/>
                    <a:pt x="767717" y="84806"/>
                  </a:cubicBezTo>
                  <a:cubicBezTo>
                    <a:pt x="773954" y="88784"/>
                    <a:pt x="781934" y="88784"/>
                    <a:pt x="788171" y="84806"/>
                  </a:cubicBezTo>
                  <a:cubicBezTo>
                    <a:pt x="836711" y="53966"/>
                    <a:pt x="893140" y="37763"/>
                    <a:pt x="950682" y="38144"/>
                  </a:cubicBezTo>
                  <a:cubicBezTo>
                    <a:pt x="1101281" y="38144"/>
                    <a:pt x="1222323" y="141788"/>
                    <a:pt x="1226368" y="273700"/>
                  </a:cubicBezTo>
                  <a:cubicBezTo>
                    <a:pt x="1226796" y="283279"/>
                    <a:pt x="1234325" y="291031"/>
                    <a:pt x="1243901" y="291759"/>
                  </a:cubicBezTo>
                  <a:cubicBezTo>
                    <a:pt x="1387643" y="300509"/>
                    <a:pt x="1500368" y="406733"/>
                    <a:pt x="1500368" y="533597"/>
                  </a:cubicBezTo>
                  <a:cubicBezTo>
                    <a:pt x="1500368" y="649693"/>
                    <a:pt x="1406188" y="749860"/>
                    <a:pt x="1276605" y="771734"/>
                  </a:cubicBezTo>
                  <a:cubicBezTo>
                    <a:pt x="1266805" y="773337"/>
                    <a:pt x="1259961" y="782289"/>
                    <a:pt x="1260984" y="792148"/>
                  </a:cubicBezTo>
                  <a:cubicBezTo>
                    <a:pt x="1261725" y="799193"/>
                    <a:pt x="1262096" y="806271"/>
                    <a:pt x="1262107" y="813348"/>
                  </a:cubicBezTo>
                  <a:cubicBezTo>
                    <a:pt x="1262107" y="947167"/>
                    <a:pt x="1138482" y="1055972"/>
                    <a:pt x="986197" y="1055972"/>
                  </a:cubicBezTo>
                  <a:lnTo>
                    <a:pt x="979229" y="1055972"/>
                  </a:lnTo>
                  <a:lnTo>
                    <a:pt x="977094" y="1055972"/>
                  </a:lnTo>
                  <a:cubicBezTo>
                    <a:pt x="971823" y="1055758"/>
                    <a:pt x="966720" y="1057800"/>
                    <a:pt x="963045" y="1061580"/>
                  </a:cubicBezTo>
                  <a:cubicBezTo>
                    <a:pt x="886285" y="1140099"/>
                    <a:pt x="761423" y="1166907"/>
                    <a:pt x="652182" y="1128882"/>
                  </a:cubicBezTo>
                  <a:cubicBezTo>
                    <a:pt x="599024" y="1111170"/>
                    <a:pt x="552765" y="1077284"/>
                    <a:pt x="519903" y="1031967"/>
                  </a:cubicBezTo>
                  <a:cubicBezTo>
                    <a:pt x="516408" y="1026931"/>
                    <a:pt x="510642" y="1023947"/>
                    <a:pt x="504506" y="1024003"/>
                  </a:cubicBezTo>
                  <a:lnTo>
                    <a:pt x="503495" y="1024003"/>
                  </a:lnTo>
                  <a:cubicBezTo>
                    <a:pt x="497650" y="1024003"/>
                    <a:pt x="492256" y="1024564"/>
                    <a:pt x="485962" y="1024564"/>
                  </a:cubicBezTo>
                  <a:cubicBezTo>
                    <a:pt x="333790" y="1024564"/>
                    <a:pt x="209940" y="915759"/>
                    <a:pt x="209940" y="782053"/>
                  </a:cubicBezTo>
                  <a:cubicBezTo>
                    <a:pt x="209940" y="778912"/>
                    <a:pt x="209940" y="775772"/>
                    <a:pt x="209940" y="772743"/>
                  </a:cubicBezTo>
                  <a:cubicBezTo>
                    <a:pt x="210378" y="764902"/>
                    <a:pt x="205894" y="757622"/>
                    <a:pt x="198701" y="754459"/>
                  </a:cubicBezTo>
                  <a:cubicBezTo>
                    <a:pt x="100811" y="714976"/>
                    <a:pt x="37537" y="628381"/>
                    <a:pt x="37537" y="533934"/>
                  </a:cubicBezTo>
                  <a:cubicBezTo>
                    <a:pt x="37537" y="401125"/>
                    <a:pt x="160152" y="292320"/>
                    <a:pt x="311088" y="291086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5" name="Freeform 254">
              <a:extLst>
                <a:ext uri="{FF2B5EF4-FFF2-40B4-BE49-F238E27FC236}">
                  <a16:creationId xmlns:a16="http://schemas.microsoft.com/office/drawing/2014/main" id="{07B55137-C458-5E42-B74B-01A46A8217DA}"/>
                </a:ext>
              </a:extLst>
            </p:cNvPr>
            <p:cNvSpPr/>
            <p:nvPr/>
          </p:nvSpPr>
          <p:spPr>
            <a:xfrm>
              <a:off x="5833163" y="771949"/>
              <a:ext cx="1618935" cy="1233889"/>
            </a:xfrm>
            <a:custGeom>
              <a:avLst/>
              <a:gdLst>
                <a:gd name="connsiteX0" fmla="*/ 183528 w 1618935"/>
                <a:gd name="connsiteY0" fmla="*/ 815367 h 1233889"/>
                <a:gd name="connsiteX1" fmla="*/ 183528 w 1618935"/>
                <a:gd name="connsiteY1" fmla="*/ 816825 h 1233889"/>
                <a:gd name="connsiteX2" fmla="*/ 510013 w 1618935"/>
                <a:gd name="connsiteY2" fmla="*/ 1105886 h 1233889"/>
                <a:gd name="connsiteX3" fmla="*/ 522825 w 1618935"/>
                <a:gd name="connsiteY3" fmla="*/ 1105886 h 1233889"/>
                <a:gd name="connsiteX4" fmla="*/ 674997 w 1618935"/>
                <a:gd name="connsiteY4" fmla="*/ 1214130 h 1233889"/>
                <a:gd name="connsiteX5" fmla="*/ 793565 w 1618935"/>
                <a:gd name="connsiteY5" fmla="*/ 1233872 h 1233889"/>
                <a:gd name="connsiteX6" fmla="*/ 1035535 w 1618935"/>
                <a:gd name="connsiteY6" fmla="*/ 1139425 h 1233889"/>
                <a:gd name="connsiteX7" fmla="*/ 1040143 w 1618935"/>
                <a:gd name="connsiteY7" fmla="*/ 1139425 h 1233889"/>
                <a:gd name="connsiteX8" fmla="*/ 1366065 w 1618935"/>
                <a:gd name="connsiteY8" fmla="*/ 850364 h 1233889"/>
                <a:gd name="connsiteX9" fmla="*/ 1366065 w 1618935"/>
                <a:gd name="connsiteY9" fmla="*/ 837464 h 1233889"/>
                <a:gd name="connsiteX10" fmla="*/ 1618936 w 1618935"/>
                <a:gd name="connsiteY10" fmla="*/ 555918 h 1233889"/>
                <a:gd name="connsiteX11" fmla="*/ 1327741 w 1618935"/>
                <a:gd name="connsiteY11" fmla="*/ 268652 h 1233889"/>
                <a:gd name="connsiteX12" fmla="*/ 1002268 w 1618935"/>
                <a:gd name="connsiteY12" fmla="*/ 5 h 1233889"/>
                <a:gd name="connsiteX13" fmla="*/ 819190 w 1618935"/>
                <a:gd name="connsiteY13" fmla="*/ 49697 h 1233889"/>
                <a:gd name="connsiteX14" fmla="*/ 636223 w 1618935"/>
                <a:gd name="connsiteY14" fmla="*/ 5 h 1233889"/>
                <a:gd name="connsiteX15" fmla="*/ 310301 w 1618935"/>
                <a:gd name="connsiteY15" fmla="*/ 267081 h 1233889"/>
                <a:gd name="connsiteX16" fmla="*/ 0 w 1618935"/>
                <a:gd name="connsiteY16" fmla="*/ 555694 h 1233889"/>
                <a:gd name="connsiteX17" fmla="*/ 183528 w 1618935"/>
                <a:gd name="connsiteY17" fmla="*/ 815367 h 1233889"/>
                <a:gd name="connsiteX18" fmla="*/ 324125 w 1618935"/>
                <a:gd name="connsiteY18" fmla="*/ 294787 h 1233889"/>
                <a:gd name="connsiteX19" fmla="*/ 338061 w 1618935"/>
                <a:gd name="connsiteY19" fmla="*/ 281215 h 1233889"/>
                <a:gd name="connsiteX20" fmla="*/ 636223 w 1618935"/>
                <a:gd name="connsiteY20" fmla="*/ 28048 h 1233889"/>
                <a:gd name="connsiteX21" fmla="*/ 811659 w 1618935"/>
                <a:gd name="connsiteY21" fmla="*/ 78524 h 1233889"/>
                <a:gd name="connsiteX22" fmla="*/ 826832 w 1618935"/>
                <a:gd name="connsiteY22" fmla="*/ 78524 h 1233889"/>
                <a:gd name="connsiteX23" fmla="*/ 1002268 w 1618935"/>
                <a:gd name="connsiteY23" fmla="*/ 28048 h 1233889"/>
                <a:gd name="connsiteX24" fmla="*/ 1300319 w 1618935"/>
                <a:gd name="connsiteY24" fmla="*/ 281888 h 1233889"/>
                <a:gd name="connsiteX25" fmla="*/ 1313468 w 1618935"/>
                <a:gd name="connsiteY25" fmla="*/ 295460 h 1233889"/>
                <a:gd name="connsiteX26" fmla="*/ 1590839 w 1618935"/>
                <a:gd name="connsiteY26" fmla="*/ 555694 h 1233889"/>
                <a:gd name="connsiteX27" fmla="*/ 1348757 w 1618935"/>
                <a:gd name="connsiteY27" fmla="*/ 812002 h 1233889"/>
                <a:gd name="connsiteX28" fmla="*/ 1337519 w 1618935"/>
                <a:gd name="connsiteY28" fmla="*/ 827145 h 1233889"/>
                <a:gd name="connsiteX29" fmla="*/ 1338755 w 1618935"/>
                <a:gd name="connsiteY29" fmla="*/ 850140 h 1233889"/>
                <a:gd name="connsiteX30" fmla="*/ 1040367 w 1618935"/>
                <a:gd name="connsiteY30" fmla="*/ 1111158 h 1233889"/>
                <a:gd name="connsiteX31" fmla="*/ 1030590 w 1618935"/>
                <a:gd name="connsiteY31" fmla="*/ 1111158 h 1233889"/>
                <a:gd name="connsiteX32" fmla="*/ 1020250 w 1618935"/>
                <a:gd name="connsiteY32" fmla="*/ 1115309 h 1233889"/>
                <a:gd name="connsiteX33" fmla="*/ 684550 w 1618935"/>
                <a:gd name="connsiteY33" fmla="*/ 1187546 h 1233889"/>
                <a:gd name="connsiteX34" fmla="*/ 541481 w 1618935"/>
                <a:gd name="connsiteY34" fmla="*/ 1083340 h 1233889"/>
                <a:gd name="connsiteX35" fmla="*/ 530243 w 1618935"/>
                <a:gd name="connsiteY35" fmla="*/ 1077395 h 1233889"/>
                <a:gd name="connsiteX36" fmla="*/ 529456 w 1618935"/>
                <a:gd name="connsiteY36" fmla="*/ 1077395 h 1233889"/>
                <a:gd name="connsiteX37" fmla="*/ 510575 w 1618935"/>
                <a:gd name="connsiteY37" fmla="*/ 1078068 h 1233889"/>
                <a:gd name="connsiteX38" fmla="*/ 212187 w 1618935"/>
                <a:gd name="connsiteY38" fmla="*/ 817049 h 1233889"/>
                <a:gd name="connsiteX39" fmla="*/ 212187 w 1618935"/>
                <a:gd name="connsiteY39" fmla="*/ 806954 h 1233889"/>
                <a:gd name="connsiteX40" fmla="*/ 203421 w 1618935"/>
                <a:gd name="connsiteY40" fmla="*/ 793382 h 1233889"/>
                <a:gd name="connsiteX41" fmla="*/ 28884 w 1618935"/>
                <a:gd name="connsiteY41" fmla="*/ 555918 h 1233889"/>
                <a:gd name="connsiteX42" fmla="*/ 324125 w 1618935"/>
                <a:gd name="connsiteY42" fmla="*/ 294787 h 123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618935" h="1233889">
                  <a:moveTo>
                    <a:pt x="183528" y="815367"/>
                  </a:moveTo>
                  <a:lnTo>
                    <a:pt x="183528" y="816825"/>
                  </a:lnTo>
                  <a:cubicBezTo>
                    <a:pt x="183528" y="976218"/>
                    <a:pt x="329631" y="1105886"/>
                    <a:pt x="510013" y="1105886"/>
                  </a:cubicBezTo>
                  <a:cubicBezTo>
                    <a:pt x="514283" y="1105886"/>
                    <a:pt x="518554" y="1105886"/>
                    <a:pt x="522825" y="1105886"/>
                  </a:cubicBezTo>
                  <a:cubicBezTo>
                    <a:pt x="561632" y="1156273"/>
                    <a:pt x="614611" y="1193962"/>
                    <a:pt x="674997" y="1214130"/>
                  </a:cubicBezTo>
                  <a:cubicBezTo>
                    <a:pt x="713141" y="1227265"/>
                    <a:pt x="753218" y="1233939"/>
                    <a:pt x="793565" y="1233872"/>
                  </a:cubicBezTo>
                  <a:cubicBezTo>
                    <a:pt x="883419" y="1234781"/>
                    <a:pt x="970137" y="1200928"/>
                    <a:pt x="1035535" y="1139425"/>
                  </a:cubicBezTo>
                  <a:lnTo>
                    <a:pt x="1040143" y="1139425"/>
                  </a:lnTo>
                  <a:cubicBezTo>
                    <a:pt x="1219962" y="1139425"/>
                    <a:pt x="1366065" y="1009757"/>
                    <a:pt x="1366065" y="850364"/>
                  </a:cubicBezTo>
                  <a:cubicBezTo>
                    <a:pt x="1366065" y="846214"/>
                    <a:pt x="1366065" y="841951"/>
                    <a:pt x="1366065" y="837464"/>
                  </a:cubicBezTo>
                  <a:cubicBezTo>
                    <a:pt x="1513404" y="807515"/>
                    <a:pt x="1618936" y="690859"/>
                    <a:pt x="1618936" y="555918"/>
                  </a:cubicBezTo>
                  <a:cubicBezTo>
                    <a:pt x="1618936" y="408415"/>
                    <a:pt x="1491938" y="284243"/>
                    <a:pt x="1327741" y="268652"/>
                  </a:cubicBezTo>
                  <a:cubicBezTo>
                    <a:pt x="1315941" y="116886"/>
                    <a:pt x="1175569" y="5"/>
                    <a:pt x="1002268" y="5"/>
                  </a:cubicBezTo>
                  <a:cubicBezTo>
                    <a:pt x="937848" y="-347"/>
                    <a:pt x="874551" y="16832"/>
                    <a:pt x="819190" y="49697"/>
                  </a:cubicBezTo>
                  <a:cubicBezTo>
                    <a:pt x="763861" y="16831"/>
                    <a:pt x="700610" y="-350"/>
                    <a:pt x="636223" y="5"/>
                  </a:cubicBezTo>
                  <a:cubicBezTo>
                    <a:pt x="463597" y="5"/>
                    <a:pt x="323338" y="116325"/>
                    <a:pt x="310301" y="267081"/>
                  </a:cubicBezTo>
                  <a:cubicBezTo>
                    <a:pt x="138011" y="274597"/>
                    <a:pt x="0" y="401685"/>
                    <a:pt x="0" y="555694"/>
                  </a:cubicBezTo>
                  <a:cubicBezTo>
                    <a:pt x="450" y="666069"/>
                    <a:pt x="71928" y="767022"/>
                    <a:pt x="183528" y="815367"/>
                  </a:cubicBezTo>
                  <a:close/>
                  <a:moveTo>
                    <a:pt x="324125" y="294787"/>
                  </a:moveTo>
                  <a:cubicBezTo>
                    <a:pt x="331666" y="294731"/>
                    <a:pt x="337825" y="288739"/>
                    <a:pt x="338061" y="281215"/>
                  </a:cubicBezTo>
                  <a:cubicBezTo>
                    <a:pt x="342781" y="139208"/>
                    <a:pt x="473824" y="28048"/>
                    <a:pt x="636223" y="28048"/>
                  </a:cubicBezTo>
                  <a:cubicBezTo>
                    <a:pt x="698340" y="27772"/>
                    <a:pt x="759220" y="45291"/>
                    <a:pt x="811659" y="78524"/>
                  </a:cubicBezTo>
                  <a:cubicBezTo>
                    <a:pt x="816301" y="81429"/>
                    <a:pt x="822190" y="81429"/>
                    <a:pt x="826832" y="78524"/>
                  </a:cubicBezTo>
                  <a:cubicBezTo>
                    <a:pt x="879260" y="45274"/>
                    <a:pt x="940152" y="27754"/>
                    <a:pt x="1002268" y="28048"/>
                  </a:cubicBezTo>
                  <a:cubicBezTo>
                    <a:pt x="1165454" y="28048"/>
                    <a:pt x="1296048" y="139544"/>
                    <a:pt x="1300319" y="281888"/>
                  </a:cubicBezTo>
                  <a:cubicBezTo>
                    <a:pt x="1300532" y="289121"/>
                    <a:pt x="1306230" y="295000"/>
                    <a:pt x="1313468" y="295460"/>
                  </a:cubicBezTo>
                  <a:cubicBezTo>
                    <a:pt x="1469012" y="304883"/>
                    <a:pt x="1590839" y="418847"/>
                    <a:pt x="1590839" y="555694"/>
                  </a:cubicBezTo>
                  <a:cubicBezTo>
                    <a:pt x="1590839" y="680763"/>
                    <a:pt x="1489017" y="788446"/>
                    <a:pt x="1348757" y="812002"/>
                  </a:cubicBezTo>
                  <a:cubicBezTo>
                    <a:pt x="1341632" y="813361"/>
                    <a:pt x="1336743" y="819947"/>
                    <a:pt x="1337519" y="827145"/>
                  </a:cubicBezTo>
                  <a:cubicBezTo>
                    <a:pt x="1338306" y="835333"/>
                    <a:pt x="1338755" y="842848"/>
                    <a:pt x="1338755" y="850140"/>
                  </a:cubicBezTo>
                  <a:cubicBezTo>
                    <a:pt x="1338755" y="994053"/>
                    <a:pt x="1204902" y="1111158"/>
                    <a:pt x="1040367" y="1111158"/>
                  </a:cubicBezTo>
                  <a:lnTo>
                    <a:pt x="1030590" y="1111158"/>
                  </a:lnTo>
                  <a:cubicBezTo>
                    <a:pt x="1026690" y="1110878"/>
                    <a:pt x="1022869" y="1112409"/>
                    <a:pt x="1020250" y="1115309"/>
                  </a:cubicBezTo>
                  <a:cubicBezTo>
                    <a:pt x="937308" y="1199324"/>
                    <a:pt x="802444" y="1228376"/>
                    <a:pt x="684550" y="1187546"/>
                  </a:cubicBezTo>
                  <a:cubicBezTo>
                    <a:pt x="627176" y="1168488"/>
                    <a:pt x="577164" y="1132067"/>
                    <a:pt x="541481" y="1083340"/>
                  </a:cubicBezTo>
                  <a:cubicBezTo>
                    <a:pt x="538874" y="1079711"/>
                    <a:pt x="534715" y="1077510"/>
                    <a:pt x="530243" y="1077395"/>
                  </a:cubicBezTo>
                  <a:lnTo>
                    <a:pt x="529456" y="1077395"/>
                  </a:lnTo>
                  <a:cubicBezTo>
                    <a:pt x="523162" y="1077844"/>
                    <a:pt x="516868" y="1078068"/>
                    <a:pt x="510575" y="1078068"/>
                  </a:cubicBezTo>
                  <a:cubicBezTo>
                    <a:pt x="346040" y="1078068"/>
                    <a:pt x="212187" y="960963"/>
                    <a:pt x="212187" y="817049"/>
                  </a:cubicBezTo>
                  <a:cubicBezTo>
                    <a:pt x="212187" y="813684"/>
                    <a:pt x="212187" y="810319"/>
                    <a:pt x="212187" y="806954"/>
                  </a:cubicBezTo>
                  <a:cubicBezTo>
                    <a:pt x="212502" y="801017"/>
                    <a:pt x="208973" y="795549"/>
                    <a:pt x="203421" y="793382"/>
                  </a:cubicBezTo>
                  <a:cubicBezTo>
                    <a:pt x="97440" y="750869"/>
                    <a:pt x="28884" y="657768"/>
                    <a:pt x="28884" y="555918"/>
                  </a:cubicBezTo>
                  <a:cubicBezTo>
                    <a:pt x="28546" y="413126"/>
                    <a:pt x="161163" y="296133"/>
                    <a:pt x="324125" y="294787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6" name="Freeform 255">
              <a:extLst>
                <a:ext uri="{FF2B5EF4-FFF2-40B4-BE49-F238E27FC236}">
                  <a16:creationId xmlns:a16="http://schemas.microsoft.com/office/drawing/2014/main" id="{7BE7D3DB-3654-9449-99E1-1D8AFAD07C25}"/>
                </a:ext>
              </a:extLst>
            </p:cNvPr>
            <p:cNvSpPr/>
            <p:nvPr/>
          </p:nvSpPr>
          <p:spPr>
            <a:xfrm>
              <a:off x="5047459" y="3544068"/>
              <a:ext cx="1160843" cy="1005285"/>
            </a:xfrm>
            <a:custGeom>
              <a:avLst/>
              <a:gdLst>
                <a:gd name="connsiteX0" fmla="*/ 743222 w 1160843"/>
                <a:gd name="connsiteY0" fmla="*/ 928590 h 1005285"/>
                <a:gd name="connsiteX1" fmla="*/ 744346 w 1160843"/>
                <a:gd name="connsiteY1" fmla="*/ 928590 h 1005285"/>
                <a:gd name="connsiteX2" fmla="*/ 980921 w 1160843"/>
                <a:gd name="connsiteY2" fmla="*/ 691799 h 1005285"/>
                <a:gd name="connsiteX3" fmla="*/ 980921 w 1160843"/>
                <a:gd name="connsiteY3" fmla="*/ 683162 h 1005285"/>
                <a:gd name="connsiteX4" fmla="*/ 1153694 w 1160843"/>
                <a:gd name="connsiteY4" fmla="*/ 395727 h 1005285"/>
                <a:gd name="connsiteX5" fmla="*/ 953274 w 1160843"/>
                <a:gd name="connsiteY5" fmla="*/ 218106 h 1005285"/>
                <a:gd name="connsiteX6" fmla="*/ 700347 w 1160843"/>
                <a:gd name="connsiteY6" fmla="*/ 744 h 1005285"/>
                <a:gd name="connsiteX7" fmla="*/ 587341 w 1160843"/>
                <a:gd name="connsiteY7" fmla="*/ 39420 h 1005285"/>
                <a:gd name="connsiteX8" fmla="*/ 260138 w 1160843"/>
                <a:gd name="connsiteY8" fmla="*/ 105174 h 1005285"/>
                <a:gd name="connsiteX9" fmla="*/ 221409 w 1160843"/>
                <a:gd name="connsiteY9" fmla="*/ 216873 h 1005285"/>
                <a:gd name="connsiteX10" fmla="*/ 546 w 1160843"/>
                <a:gd name="connsiteY10" fmla="*/ 469165 h 1005285"/>
                <a:gd name="connsiteX11" fmla="*/ 130488 w 1160843"/>
                <a:gd name="connsiteY11" fmla="*/ 664766 h 1005285"/>
                <a:gd name="connsiteX12" fmla="*/ 366501 w 1160843"/>
                <a:gd name="connsiteY12" fmla="*/ 901669 h 1005285"/>
                <a:gd name="connsiteX13" fmla="*/ 373132 w 1160843"/>
                <a:gd name="connsiteY13" fmla="*/ 901669 h 1005285"/>
                <a:gd name="connsiteX14" fmla="*/ 700852 w 1160843"/>
                <a:gd name="connsiteY14" fmla="*/ 964831 h 1005285"/>
                <a:gd name="connsiteX15" fmla="*/ 742773 w 1160843"/>
                <a:gd name="connsiteY15" fmla="*/ 928702 h 1005285"/>
                <a:gd name="connsiteX16" fmla="*/ 492824 w 1160843"/>
                <a:gd name="connsiteY16" fmla="*/ 962240 h 1005285"/>
                <a:gd name="connsiteX17" fmla="*/ 392912 w 1160843"/>
                <a:gd name="connsiteY17" fmla="*/ 879347 h 1005285"/>
                <a:gd name="connsiteX18" fmla="*/ 380999 w 1160843"/>
                <a:gd name="connsiteY18" fmla="*/ 872729 h 1005285"/>
                <a:gd name="connsiteX19" fmla="*/ 380100 w 1160843"/>
                <a:gd name="connsiteY19" fmla="*/ 872729 h 1005285"/>
                <a:gd name="connsiteX20" fmla="*/ 366951 w 1160843"/>
                <a:gd name="connsiteY20" fmla="*/ 872729 h 1005285"/>
                <a:gd name="connsiteX21" fmla="*/ 158585 w 1160843"/>
                <a:gd name="connsiteY21" fmla="*/ 664766 h 1005285"/>
                <a:gd name="connsiteX22" fmla="*/ 158585 w 1160843"/>
                <a:gd name="connsiteY22" fmla="*/ 656578 h 1005285"/>
                <a:gd name="connsiteX23" fmla="*/ 150380 w 1160843"/>
                <a:gd name="connsiteY23" fmla="*/ 643342 h 1005285"/>
                <a:gd name="connsiteX24" fmla="*/ 46804 w 1160843"/>
                <a:gd name="connsiteY24" fmla="*/ 366653 h 1005285"/>
                <a:gd name="connsiteX25" fmla="*/ 234446 w 1160843"/>
                <a:gd name="connsiteY25" fmla="*/ 244466 h 1005285"/>
                <a:gd name="connsiteX26" fmla="*/ 248382 w 1160843"/>
                <a:gd name="connsiteY26" fmla="*/ 230782 h 1005285"/>
                <a:gd name="connsiteX27" fmla="*/ 461738 w 1160843"/>
                <a:gd name="connsiteY27" fmla="*/ 28383 h 1005285"/>
                <a:gd name="connsiteX28" fmla="*/ 578688 w 1160843"/>
                <a:gd name="connsiteY28" fmla="*/ 67911 h 1005285"/>
                <a:gd name="connsiteX29" fmla="*/ 595209 w 1160843"/>
                <a:gd name="connsiteY29" fmla="*/ 67911 h 1005285"/>
                <a:gd name="connsiteX30" fmla="*/ 885763 w 1160843"/>
                <a:gd name="connsiteY30" fmla="*/ 113946 h 1005285"/>
                <a:gd name="connsiteX31" fmla="*/ 925402 w 1160843"/>
                <a:gd name="connsiteY31" fmla="*/ 231343 h 1005285"/>
                <a:gd name="connsiteX32" fmla="*/ 938551 w 1160843"/>
                <a:gd name="connsiteY32" fmla="*/ 244915 h 1005285"/>
                <a:gd name="connsiteX33" fmla="*/ 1131947 w 1160843"/>
                <a:gd name="connsiteY33" fmla="*/ 468503 h 1005285"/>
                <a:gd name="connsiteX34" fmla="*/ 963051 w 1160843"/>
                <a:gd name="connsiteY34" fmla="*/ 658261 h 1005285"/>
                <a:gd name="connsiteX35" fmla="*/ 951813 w 1160843"/>
                <a:gd name="connsiteY35" fmla="*/ 673291 h 1005285"/>
                <a:gd name="connsiteX36" fmla="*/ 952712 w 1160843"/>
                <a:gd name="connsiteY36" fmla="*/ 691799 h 1005285"/>
                <a:gd name="connsiteX37" fmla="*/ 744234 w 1160843"/>
                <a:gd name="connsiteY37" fmla="*/ 900547 h 1005285"/>
                <a:gd name="connsiteX38" fmla="*/ 737378 w 1160843"/>
                <a:gd name="connsiteY38" fmla="*/ 900547 h 1005285"/>
                <a:gd name="connsiteX39" fmla="*/ 726140 w 1160843"/>
                <a:gd name="connsiteY39" fmla="*/ 905370 h 1005285"/>
                <a:gd name="connsiteX40" fmla="*/ 492824 w 1160843"/>
                <a:gd name="connsiteY40" fmla="*/ 963138 h 1005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160843" h="1005285">
                  <a:moveTo>
                    <a:pt x="743222" y="928590"/>
                  </a:moveTo>
                  <a:lnTo>
                    <a:pt x="744346" y="928590"/>
                  </a:lnTo>
                  <a:cubicBezTo>
                    <a:pt x="875142" y="928275"/>
                    <a:pt x="980988" y="822342"/>
                    <a:pt x="980921" y="691799"/>
                  </a:cubicBezTo>
                  <a:cubicBezTo>
                    <a:pt x="980921" y="688995"/>
                    <a:pt x="980921" y="686078"/>
                    <a:pt x="980921" y="683162"/>
                  </a:cubicBezTo>
                  <a:cubicBezTo>
                    <a:pt x="1108154" y="651407"/>
                    <a:pt x="1185510" y="522726"/>
                    <a:pt x="1153694" y="395727"/>
                  </a:cubicBezTo>
                  <a:cubicBezTo>
                    <a:pt x="1129946" y="300955"/>
                    <a:pt x="1050376" y="230434"/>
                    <a:pt x="953274" y="218106"/>
                  </a:cubicBezTo>
                  <a:cubicBezTo>
                    <a:pt x="943575" y="88371"/>
                    <a:pt x="830334" y="-8947"/>
                    <a:pt x="700347" y="744"/>
                  </a:cubicBezTo>
                  <a:cubicBezTo>
                    <a:pt x="659977" y="3750"/>
                    <a:pt x="621058" y="17065"/>
                    <a:pt x="587341" y="39420"/>
                  </a:cubicBezTo>
                  <a:cubicBezTo>
                    <a:pt x="478798" y="-32604"/>
                    <a:pt x="332302" y="-3171"/>
                    <a:pt x="260138" y="105174"/>
                  </a:cubicBezTo>
                  <a:cubicBezTo>
                    <a:pt x="237919" y="138511"/>
                    <a:pt x="224601" y="176963"/>
                    <a:pt x="221409" y="216873"/>
                  </a:cubicBezTo>
                  <a:cubicBezTo>
                    <a:pt x="90613" y="225667"/>
                    <a:pt x="-8265" y="338622"/>
                    <a:pt x="546" y="469165"/>
                  </a:cubicBezTo>
                  <a:cubicBezTo>
                    <a:pt x="6188" y="552709"/>
                    <a:pt x="55582" y="627066"/>
                    <a:pt x="130488" y="664766"/>
                  </a:cubicBezTo>
                  <a:cubicBezTo>
                    <a:pt x="130365" y="795130"/>
                    <a:pt x="235885" y="901052"/>
                    <a:pt x="366501" y="901669"/>
                  </a:cubicBezTo>
                  <a:lnTo>
                    <a:pt x="373132" y="901669"/>
                  </a:lnTo>
                  <a:cubicBezTo>
                    <a:pt x="446150" y="1009430"/>
                    <a:pt x="592882" y="1037708"/>
                    <a:pt x="700852" y="964831"/>
                  </a:cubicBezTo>
                  <a:cubicBezTo>
                    <a:pt x="716193" y="954467"/>
                    <a:pt x="730264" y="942341"/>
                    <a:pt x="742773" y="928702"/>
                  </a:cubicBezTo>
                  <a:close/>
                  <a:moveTo>
                    <a:pt x="492824" y="962240"/>
                  </a:moveTo>
                  <a:cubicBezTo>
                    <a:pt x="451432" y="946077"/>
                    <a:pt x="416389" y="917002"/>
                    <a:pt x="392912" y="879347"/>
                  </a:cubicBezTo>
                  <a:cubicBezTo>
                    <a:pt x="390350" y="875242"/>
                    <a:pt x="385843" y="872740"/>
                    <a:pt x="380999" y="872729"/>
                  </a:cubicBezTo>
                  <a:lnTo>
                    <a:pt x="380100" y="872729"/>
                  </a:lnTo>
                  <a:cubicBezTo>
                    <a:pt x="375717" y="872729"/>
                    <a:pt x="371333" y="872729"/>
                    <a:pt x="366951" y="872729"/>
                  </a:cubicBezTo>
                  <a:cubicBezTo>
                    <a:pt x="252001" y="872426"/>
                    <a:pt x="158888" y="779493"/>
                    <a:pt x="158585" y="664766"/>
                  </a:cubicBezTo>
                  <a:cubicBezTo>
                    <a:pt x="158585" y="662074"/>
                    <a:pt x="158585" y="659382"/>
                    <a:pt x="158585" y="656578"/>
                  </a:cubicBezTo>
                  <a:cubicBezTo>
                    <a:pt x="158776" y="650913"/>
                    <a:pt x="155539" y="645698"/>
                    <a:pt x="150380" y="643342"/>
                  </a:cubicBezTo>
                  <a:cubicBezTo>
                    <a:pt x="45220" y="595479"/>
                    <a:pt x="-1151" y="471599"/>
                    <a:pt x="46804" y="366653"/>
                  </a:cubicBezTo>
                  <a:cubicBezTo>
                    <a:pt x="80397" y="293126"/>
                    <a:pt x="153482" y="245532"/>
                    <a:pt x="234446" y="244466"/>
                  </a:cubicBezTo>
                  <a:cubicBezTo>
                    <a:pt x="242010" y="244354"/>
                    <a:pt x="248146" y="238331"/>
                    <a:pt x="248382" y="230782"/>
                  </a:cubicBezTo>
                  <a:cubicBezTo>
                    <a:pt x="251304" y="116088"/>
                    <a:pt x="346822" y="25466"/>
                    <a:pt x="461738" y="28383"/>
                  </a:cubicBezTo>
                  <a:cubicBezTo>
                    <a:pt x="503827" y="29448"/>
                    <a:pt x="544612" y="43234"/>
                    <a:pt x="578688" y="67911"/>
                  </a:cubicBezTo>
                  <a:cubicBezTo>
                    <a:pt x="583610" y="71490"/>
                    <a:pt x="590286" y="71490"/>
                    <a:pt x="595209" y="67911"/>
                  </a:cubicBezTo>
                  <a:cubicBezTo>
                    <a:pt x="688186" y="542"/>
                    <a:pt x="818274" y="21159"/>
                    <a:pt x="885763" y="113946"/>
                  </a:cubicBezTo>
                  <a:cubicBezTo>
                    <a:pt x="910634" y="148146"/>
                    <a:pt x="924469" y="189099"/>
                    <a:pt x="925402" y="231343"/>
                  </a:cubicBezTo>
                  <a:cubicBezTo>
                    <a:pt x="925615" y="238578"/>
                    <a:pt x="931314" y="244455"/>
                    <a:pt x="938551" y="244915"/>
                  </a:cubicBezTo>
                  <a:cubicBezTo>
                    <a:pt x="1053815" y="253350"/>
                    <a:pt x="1140398" y="353462"/>
                    <a:pt x="1131947" y="468503"/>
                  </a:cubicBezTo>
                  <a:cubicBezTo>
                    <a:pt x="1125024" y="562557"/>
                    <a:pt x="1055816" y="640313"/>
                    <a:pt x="963051" y="658261"/>
                  </a:cubicBezTo>
                  <a:cubicBezTo>
                    <a:pt x="956005" y="659663"/>
                    <a:pt x="951161" y="666146"/>
                    <a:pt x="951813" y="673291"/>
                  </a:cubicBezTo>
                  <a:cubicBezTo>
                    <a:pt x="952375" y="679909"/>
                    <a:pt x="952712" y="685966"/>
                    <a:pt x="952712" y="691799"/>
                  </a:cubicBezTo>
                  <a:cubicBezTo>
                    <a:pt x="952779" y="806852"/>
                    <a:pt x="859509" y="900233"/>
                    <a:pt x="744234" y="900547"/>
                  </a:cubicBezTo>
                  <a:lnTo>
                    <a:pt x="737378" y="900547"/>
                  </a:lnTo>
                  <a:cubicBezTo>
                    <a:pt x="733085" y="900323"/>
                    <a:pt x="728927" y="902106"/>
                    <a:pt x="726140" y="905370"/>
                  </a:cubicBezTo>
                  <a:cubicBezTo>
                    <a:pt x="668474" y="971999"/>
                    <a:pt x="575001" y="995151"/>
                    <a:pt x="492824" y="963138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7" name="Freeform 256">
              <a:extLst>
                <a:ext uri="{FF2B5EF4-FFF2-40B4-BE49-F238E27FC236}">
                  <a16:creationId xmlns:a16="http://schemas.microsoft.com/office/drawing/2014/main" id="{59AB240E-E0B9-364C-9B10-A3A318D7CDEB}"/>
                </a:ext>
              </a:extLst>
            </p:cNvPr>
            <p:cNvSpPr/>
            <p:nvPr/>
          </p:nvSpPr>
          <p:spPr>
            <a:xfrm>
              <a:off x="8014102" y="3138958"/>
              <a:ext cx="72297" cy="303195"/>
            </a:xfrm>
            <a:custGeom>
              <a:avLst/>
              <a:gdLst>
                <a:gd name="connsiteX0" fmla="*/ 38481 w 72297"/>
                <a:gd name="connsiteY0" fmla="*/ 302635 h 303195"/>
                <a:gd name="connsiteX1" fmla="*/ 43089 w 72297"/>
                <a:gd name="connsiteY1" fmla="*/ 303196 h 303195"/>
                <a:gd name="connsiteX2" fmla="*/ 61183 w 72297"/>
                <a:gd name="connsiteY2" fmla="*/ 288950 h 303195"/>
                <a:gd name="connsiteX3" fmla="*/ 36458 w 72297"/>
                <a:gd name="connsiteY3" fmla="*/ 12452 h 303195"/>
                <a:gd name="connsiteX4" fmla="*/ 12475 w 72297"/>
                <a:gd name="connsiteY4" fmla="*/ 1089 h 303195"/>
                <a:gd name="connsiteX5" fmla="*/ 1090 w 72297"/>
                <a:gd name="connsiteY5" fmla="*/ 25015 h 303195"/>
                <a:gd name="connsiteX6" fmla="*/ 2180 w 72297"/>
                <a:gd name="connsiteY6" fmla="*/ 27482 h 303195"/>
                <a:gd name="connsiteX7" fmla="*/ 24657 w 72297"/>
                <a:gd name="connsiteY7" fmla="*/ 279976 h 303195"/>
                <a:gd name="connsiteX8" fmla="*/ 38211 w 72297"/>
                <a:gd name="connsiteY8" fmla="*/ 302567 h 303195"/>
                <a:gd name="connsiteX9" fmla="*/ 38481 w 72297"/>
                <a:gd name="connsiteY9" fmla="*/ 302635 h 303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2297" h="303195">
                  <a:moveTo>
                    <a:pt x="38481" y="302635"/>
                  </a:moveTo>
                  <a:cubicBezTo>
                    <a:pt x="39987" y="302983"/>
                    <a:pt x="41538" y="303173"/>
                    <a:pt x="43089" y="303196"/>
                  </a:cubicBezTo>
                  <a:cubicBezTo>
                    <a:pt x="51675" y="303139"/>
                    <a:pt x="59127" y="297273"/>
                    <a:pt x="61183" y="288950"/>
                  </a:cubicBezTo>
                  <a:cubicBezTo>
                    <a:pt x="95799" y="150196"/>
                    <a:pt x="38706" y="17948"/>
                    <a:pt x="36458" y="12452"/>
                  </a:cubicBezTo>
                  <a:cubicBezTo>
                    <a:pt x="32986" y="2704"/>
                    <a:pt x="22241" y="-2377"/>
                    <a:pt x="12475" y="1089"/>
                  </a:cubicBezTo>
                  <a:cubicBezTo>
                    <a:pt x="2720" y="4555"/>
                    <a:pt x="-2383" y="15278"/>
                    <a:pt x="1090" y="25015"/>
                  </a:cubicBezTo>
                  <a:cubicBezTo>
                    <a:pt x="1393" y="25867"/>
                    <a:pt x="1764" y="26686"/>
                    <a:pt x="2180" y="27482"/>
                  </a:cubicBezTo>
                  <a:cubicBezTo>
                    <a:pt x="2742" y="28716"/>
                    <a:pt x="56463" y="153449"/>
                    <a:pt x="24657" y="279976"/>
                  </a:cubicBezTo>
                  <a:cubicBezTo>
                    <a:pt x="22152" y="289948"/>
                    <a:pt x="28220" y="300066"/>
                    <a:pt x="38211" y="302567"/>
                  </a:cubicBezTo>
                  <a:cubicBezTo>
                    <a:pt x="38301" y="302590"/>
                    <a:pt x="38391" y="302612"/>
                    <a:pt x="38481" y="302635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8" name="Freeform 257">
              <a:extLst>
                <a:ext uri="{FF2B5EF4-FFF2-40B4-BE49-F238E27FC236}">
                  <a16:creationId xmlns:a16="http://schemas.microsoft.com/office/drawing/2014/main" id="{BE10695A-011C-5249-8B55-3163AECE65BE}"/>
                </a:ext>
              </a:extLst>
            </p:cNvPr>
            <p:cNvSpPr/>
            <p:nvPr/>
          </p:nvSpPr>
          <p:spPr>
            <a:xfrm>
              <a:off x="6431609" y="3098914"/>
              <a:ext cx="71676" cy="301961"/>
            </a:xfrm>
            <a:custGeom>
              <a:avLst/>
              <a:gdLst>
                <a:gd name="connsiteX0" fmla="*/ 60480 w 71676"/>
                <a:gd name="connsiteY0" fmla="*/ 1571 h 301961"/>
                <a:gd name="connsiteX1" fmla="*/ 35901 w 71676"/>
                <a:gd name="connsiteY1" fmla="*/ 11139 h 301961"/>
                <a:gd name="connsiteX2" fmla="*/ 35867 w 71676"/>
                <a:gd name="connsiteY2" fmla="*/ 11218 h 301961"/>
                <a:gd name="connsiteX3" fmla="*/ 11142 w 71676"/>
                <a:gd name="connsiteY3" fmla="*/ 287716 h 301961"/>
                <a:gd name="connsiteX4" fmla="*/ 29349 w 71676"/>
                <a:gd name="connsiteY4" fmla="*/ 301962 h 301961"/>
                <a:gd name="connsiteX5" fmla="*/ 33844 w 71676"/>
                <a:gd name="connsiteY5" fmla="*/ 301401 h 301961"/>
                <a:gd name="connsiteX6" fmla="*/ 47555 w 71676"/>
                <a:gd name="connsiteY6" fmla="*/ 278967 h 301961"/>
                <a:gd name="connsiteX7" fmla="*/ 70033 w 71676"/>
                <a:gd name="connsiteY7" fmla="*/ 26361 h 301961"/>
                <a:gd name="connsiteX8" fmla="*/ 60570 w 71676"/>
                <a:gd name="connsiteY8" fmla="*/ 1616 h 301961"/>
                <a:gd name="connsiteX9" fmla="*/ 60480 w 71676"/>
                <a:gd name="connsiteY9" fmla="*/ 1571 h 301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1676" h="301961">
                  <a:moveTo>
                    <a:pt x="60480" y="1571"/>
                  </a:moveTo>
                  <a:cubicBezTo>
                    <a:pt x="51039" y="-2556"/>
                    <a:pt x="40036" y="1729"/>
                    <a:pt x="35901" y="11139"/>
                  </a:cubicBezTo>
                  <a:cubicBezTo>
                    <a:pt x="35890" y="11162"/>
                    <a:pt x="35878" y="11196"/>
                    <a:pt x="35867" y="11218"/>
                  </a:cubicBezTo>
                  <a:cubicBezTo>
                    <a:pt x="33394" y="16714"/>
                    <a:pt x="-23473" y="148962"/>
                    <a:pt x="11142" y="287716"/>
                  </a:cubicBezTo>
                  <a:cubicBezTo>
                    <a:pt x="13210" y="296073"/>
                    <a:pt x="20717" y="301951"/>
                    <a:pt x="29349" y="301962"/>
                  </a:cubicBezTo>
                  <a:cubicBezTo>
                    <a:pt x="30866" y="301939"/>
                    <a:pt x="32372" y="301749"/>
                    <a:pt x="33844" y="301401"/>
                  </a:cubicBezTo>
                  <a:cubicBezTo>
                    <a:pt x="43745" y="298866"/>
                    <a:pt x="49825" y="288917"/>
                    <a:pt x="47555" y="278967"/>
                  </a:cubicBezTo>
                  <a:cubicBezTo>
                    <a:pt x="15975" y="152776"/>
                    <a:pt x="70033" y="27595"/>
                    <a:pt x="70033" y="26361"/>
                  </a:cubicBezTo>
                  <a:cubicBezTo>
                    <a:pt x="74270" y="16916"/>
                    <a:pt x="70033" y="5834"/>
                    <a:pt x="60570" y="1616"/>
                  </a:cubicBezTo>
                  <a:cubicBezTo>
                    <a:pt x="60536" y="1594"/>
                    <a:pt x="60514" y="1583"/>
                    <a:pt x="60480" y="1571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9" name="Freeform 258">
              <a:extLst>
                <a:ext uri="{FF2B5EF4-FFF2-40B4-BE49-F238E27FC236}">
                  <a16:creationId xmlns:a16="http://schemas.microsoft.com/office/drawing/2014/main" id="{0FA9DC9B-822B-5B4D-ABAB-B5F6433E4EA5}"/>
                </a:ext>
              </a:extLst>
            </p:cNvPr>
            <p:cNvSpPr/>
            <p:nvPr/>
          </p:nvSpPr>
          <p:spPr>
            <a:xfrm>
              <a:off x="6228649" y="3038060"/>
              <a:ext cx="328380" cy="1009249"/>
            </a:xfrm>
            <a:custGeom>
              <a:avLst/>
              <a:gdLst>
                <a:gd name="connsiteX0" fmla="*/ 325703 w 328380"/>
                <a:gd name="connsiteY0" fmla="*/ 608467 h 1009249"/>
                <a:gd name="connsiteX1" fmla="*/ 319296 w 328380"/>
                <a:gd name="connsiteY1" fmla="*/ 582780 h 1009249"/>
                <a:gd name="connsiteX2" fmla="*/ 263103 w 328380"/>
                <a:gd name="connsiteY2" fmla="*/ 559561 h 1009249"/>
                <a:gd name="connsiteX3" fmla="*/ 262204 w 328380"/>
                <a:gd name="connsiteY3" fmla="*/ 557542 h 1009249"/>
                <a:gd name="connsiteX4" fmla="*/ 223880 w 328380"/>
                <a:gd name="connsiteY4" fmla="*/ 26979 h 1009249"/>
                <a:gd name="connsiteX5" fmla="*/ 215293 w 328380"/>
                <a:gd name="connsiteY5" fmla="*/ 1909 h 1009249"/>
                <a:gd name="connsiteX6" fmla="*/ 203201 w 328380"/>
                <a:gd name="connsiteY6" fmla="*/ 395 h 1009249"/>
                <a:gd name="connsiteX7" fmla="*/ 201402 w 328380"/>
                <a:gd name="connsiteY7" fmla="*/ 395 h 1009249"/>
                <a:gd name="connsiteX8" fmla="*/ 186455 w 328380"/>
                <a:gd name="connsiteY8" fmla="*/ 18342 h 1009249"/>
                <a:gd name="connsiteX9" fmla="*/ 218598 w 328380"/>
                <a:gd name="connsiteY9" fmla="*/ 553504 h 1009249"/>
                <a:gd name="connsiteX10" fmla="*/ 196795 w 328380"/>
                <a:gd name="connsiteY10" fmla="*/ 554289 h 1009249"/>
                <a:gd name="connsiteX11" fmla="*/ 679 w 328380"/>
                <a:gd name="connsiteY11" fmla="*/ 801062 h 1009249"/>
                <a:gd name="connsiteX12" fmla="*/ 80586 w 328380"/>
                <a:gd name="connsiteY12" fmla="*/ 960455 h 1009249"/>
                <a:gd name="connsiteX13" fmla="*/ 212416 w 328380"/>
                <a:gd name="connsiteY13" fmla="*/ 1009249 h 1009249"/>
                <a:gd name="connsiteX14" fmla="*/ 231072 w 328380"/>
                <a:gd name="connsiteY14" fmla="*/ 1008352 h 1009249"/>
                <a:gd name="connsiteX15" fmla="*/ 300977 w 328380"/>
                <a:gd name="connsiteY15" fmla="*/ 989059 h 1009249"/>
                <a:gd name="connsiteX16" fmla="*/ 311418 w 328380"/>
                <a:gd name="connsiteY16" fmla="*/ 964706 h 1009249"/>
                <a:gd name="connsiteX17" fmla="*/ 287008 w 328380"/>
                <a:gd name="connsiteY17" fmla="*/ 954286 h 1009249"/>
                <a:gd name="connsiteX18" fmla="*/ 284681 w 328380"/>
                <a:gd name="connsiteY18" fmla="*/ 955408 h 1009249"/>
                <a:gd name="connsiteX19" fmla="*/ 104300 w 328380"/>
                <a:gd name="connsiteY19" fmla="*/ 931628 h 1009249"/>
                <a:gd name="connsiteX20" fmla="*/ 37654 w 328380"/>
                <a:gd name="connsiteY20" fmla="*/ 798034 h 1009249"/>
                <a:gd name="connsiteX21" fmla="*/ 199829 w 328380"/>
                <a:gd name="connsiteY21" fmla="*/ 591866 h 1009249"/>
                <a:gd name="connsiteX22" fmla="*/ 299966 w 328380"/>
                <a:gd name="connsiteY22" fmla="*/ 614300 h 1009249"/>
                <a:gd name="connsiteX23" fmla="*/ 325703 w 328380"/>
                <a:gd name="connsiteY23" fmla="*/ 608467 h 1009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28380" h="1009249">
                  <a:moveTo>
                    <a:pt x="325703" y="608467"/>
                  </a:moveTo>
                  <a:cubicBezTo>
                    <a:pt x="331030" y="599605"/>
                    <a:pt x="328164" y="588108"/>
                    <a:pt x="319296" y="582780"/>
                  </a:cubicBezTo>
                  <a:cubicBezTo>
                    <a:pt x="301820" y="572314"/>
                    <a:pt x="282883" y="564485"/>
                    <a:pt x="263103" y="559561"/>
                  </a:cubicBezTo>
                  <a:cubicBezTo>
                    <a:pt x="262856" y="558865"/>
                    <a:pt x="262552" y="558192"/>
                    <a:pt x="262204" y="557542"/>
                  </a:cubicBezTo>
                  <a:cubicBezTo>
                    <a:pt x="110256" y="267359"/>
                    <a:pt x="222756" y="29335"/>
                    <a:pt x="223880" y="26979"/>
                  </a:cubicBezTo>
                  <a:cubicBezTo>
                    <a:pt x="228443" y="17691"/>
                    <a:pt x="224599" y="6463"/>
                    <a:pt x="215293" y="1909"/>
                  </a:cubicBezTo>
                  <a:cubicBezTo>
                    <a:pt x="211540" y="81"/>
                    <a:pt x="207291" y="-458"/>
                    <a:pt x="203201" y="395"/>
                  </a:cubicBezTo>
                  <a:lnTo>
                    <a:pt x="201402" y="395"/>
                  </a:lnTo>
                  <a:cubicBezTo>
                    <a:pt x="192816" y="2133"/>
                    <a:pt x="186601" y="9604"/>
                    <a:pt x="186455" y="18342"/>
                  </a:cubicBezTo>
                  <a:cubicBezTo>
                    <a:pt x="167012" y="63210"/>
                    <a:pt x="86543" y="282950"/>
                    <a:pt x="218598" y="553504"/>
                  </a:cubicBezTo>
                  <a:cubicBezTo>
                    <a:pt x="211326" y="553369"/>
                    <a:pt x="204043" y="553638"/>
                    <a:pt x="196795" y="554289"/>
                  </a:cubicBezTo>
                  <a:cubicBezTo>
                    <a:pt x="79238" y="565506"/>
                    <a:pt x="-8649" y="675544"/>
                    <a:pt x="679" y="801062"/>
                  </a:cubicBezTo>
                  <a:cubicBezTo>
                    <a:pt x="5006" y="862688"/>
                    <a:pt x="33766" y="920052"/>
                    <a:pt x="80586" y="960455"/>
                  </a:cubicBezTo>
                  <a:cubicBezTo>
                    <a:pt x="117337" y="991807"/>
                    <a:pt x="164068" y="1009103"/>
                    <a:pt x="212416" y="1009249"/>
                  </a:cubicBezTo>
                  <a:cubicBezTo>
                    <a:pt x="218598" y="1009249"/>
                    <a:pt x="224891" y="1009249"/>
                    <a:pt x="231072" y="1008352"/>
                  </a:cubicBezTo>
                  <a:cubicBezTo>
                    <a:pt x="255337" y="1006097"/>
                    <a:pt x="279006" y="999569"/>
                    <a:pt x="300977" y="989059"/>
                  </a:cubicBezTo>
                  <a:cubicBezTo>
                    <a:pt x="310598" y="985211"/>
                    <a:pt x="315273" y="974308"/>
                    <a:pt x="311418" y="964706"/>
                  </a:cubicBezTo>
                  <a:cubicBezTo>
                    <a:pt x="307563" y="955094"/>
                    <a:pt x="296639" y="950438"/>
                    <a:pt x="287008" y="954286"/>
                  </a:cubicBezTo>
                  <a:cubicBezTo>
                    <a:pt x="286210" y="954600"/>
                    <a:pt x="285434" y="954981"/>
                    <a:pt x="284681" y="955408"/>
                  </a:cubicBezTo>
                  <a:cubicBezTo>
                    <a:pt x="225161" y="983977"/>
                    <a:pt x="154346" y="974634"/>
                    <a:pt x="104300" y="931628"/>
                  </a:cubicBezTo>
                  <a:cubicBezTo>
                    <a:pt x="65133" y="897741"/>
                    <a:pt x="41138" y="849654"/>
                    <a:pt x="37654" y="798034"/>
                  </a:cubicBezTo>
                  <a:cubicBezTo>
                    <a:pt x="29787" y="693267"/>
                    <a:pt x="102502" y="600727"/>
                    <a:pt x="199829" y="591866"/>
                  </a:cubicBezTo>
                  <a:cubicBezTo>
                    <a:pt x="234759" y="588445"/>
                    <a:pt x="269857" y="596308"/>
                    <a:pt x="299966" y="614300"/>
                  </a:cubicBezTo>
                  <a:cubicBezTo>
                    <a:pt x="308698" y="619718"/>
                    <a:pt x="320173" y="617115"/>
                    <a:pt x="325703" y="608467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0" name="Freeform 259">
              <a:extLst>
                <a:ext uri="{FF2B5EF4-FFF2-40B4-BE49-F238E27FC236}">
                  <a16:creationId xmlns:a16="http://schemas.microsoft.com/office/drawing/2014/main" id="{F362F16C-DBEF-3E40-809F-641E58BE5CA0}"/>
                </a:ext>
              </a:extLst>
            </p:cNvPr>
            <p:cNvSpPr/>
            <p:nvPr/>
          </p:nvSpPr>
          <p:spPr>
            <a:xfrm>
              <a:off x="7931521" y="3079445"/>
              <a:ext cx="286971" cy="967864"/>
            </a:xfrm>
            <a:custGeom>
              <a:avLst/>
              <a:gdLst>
                <a:gd name="connsiteX0" fmla="*/ 12834 w 286971"/>
                <a:gd name="connsiteY0" fmla="*/ 958891 h 967864"/>
                <a:gd name="connsiteX1" fmla="*/ 72736 w 286971"/>
                <a:gd name="connsiteY1" fmla="*/ 967864 h 967864"/>
                <a:gd name="connsiteX2" fmla="*/ 286946 w 286971"/>
                <a:gd name="connsiteY2" fmla="*/ 740160 h 967864"/>
                <a:gd name="connsiteX3" fmla="*/ 152081 w 286971"/>
                <a:gd name="connsiteY3" fmla="*/ 528496 h 967864"/>
                <a:gd name="connsiteX4" fmla="*/ 168715 w 286971"/>
                <a:gd name="connsiteY4" fmla="*/ 10496 h 967864"/>
                <a:gd name="connsiteX5" fmla="*/ 143596 w 286971"/>
                <a:gd name="connsiteY5" fmla="*/ 1915 h 967864"/>
                <a:gd name="connsiteX6" fmla="*/ 134999 w 286971"/>
                <a:gd name="connsiteY6" fmla="*/ 26985 h 967864"/>
                <a:gd name="connsiteX7" fmla="*/ 116230 w 286971"/>
                <a:gd name="connsiteY7" fmla="*/ 517054 h 967864"/>
                <a:gd name="connsiteX8" fmla="*/ 73298 w 286971"/>
                <a:gd name="connsiteY8" fmla="*/ 512455 h 967864"/>
                <a:gd name="connsiteX9" fmla="*/ 25534 w 286971"/>
                <a:gd name="connsiteY9" fmla="*/ 518176 h 967864"/>
                <a:gd name="connsiteX10" fmla="*/ 13014 w 286971"/>
                <a:gd name="connsiteY10" fmla="*/ 541541 h 967864"/>
                <a:gd name="connsiteX11" fmla="*/ 34412 w 286971"/>
                <a:gd name="connsiteY11" fmla="*/ 554519 h 967864"/>
                <a:gd name="connsiteX12" fmla="*/ 73298 w 286971"/>
                <a:gd name="connsiteY12" fmla="*/ 549920 h 967864"/>
                <a:gd name="connsiteX13" fmla="*/ 249970 w 286971"/>
                <a:gd name="connsiteY13" fmla="*/ 740608 h 967864"/>
                <a:gd name="connsiteX14" fmla="*/ 73298 w 286971"/>
                <a:gd name="connsiteY14" fmla="*/ 931297 h 967864"/>
                <a:gd name="connsiteX15" fmla="*/ 24409 w 286971"/>
                <a:gd name="connsiteY15" fmla="*/ 923894 h 967864"/>
                <a:gd name="connsiteX16" fmla="*/ 865 w 286971"/>
                <a:gd name="connsiteY16" fmla="*/ 936176 h 967864"/>
                <a:gd name="connsiteX17" fmla="*/ 13171 w 286971"/>
                <a:gd name="connsiteY17" fmla="*/ 959676 h 967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86971" h="967864">
                  <a:moveTo>
                    <a:pt x="12834" y="958891"/>
                  </a:moveTo>
                  <a:cubicBezTo>
                    <a:pt x="32243" y="964847"/>
                    <a:pt x="52427" y="967876"/>
                    <a:pt x="72736" y="967864"/>
                  </a:cubicBezTo>
                  <a:cubicBezTo>
                    <a:pt x="190855" y="967864"/>
                    <a:pt x="286946" y="865790"/>
                    <a:pt x="286946" y="740160"/>
                  </a:cubicBezTo>
                  <a:cubicBezTo>
                    <a:pt x="288306" y="649078"/>
                    <a:pt x="235304" y="565893"/>
                    <a:pt x="152081" y="528496"/>
                  </a:cubicBezTo>
                  <a:cubicBezTo>
                    <a:pt x="279079" y="242575"/>
                    <a:pt x="173322" y="20030"/>
                    <a:pt x="168715" y="10496"/>
                  </a:cubicBezTo>
                  <a:cubicBezTo>
                    <a:pt x="164152" y="1208"/>
                    <a:pt x="152901" y="-2639"/>
                    <a:pt x="143596" y="1915"/>
                  </a:cubicBezTo>
                  <a:cubicBezTo>
                    <a:pt x="134290" y="6469"/>
                    <a:pt x="130436" y="17697"/>
                    <a:pt x="134999" y="26985"/>
                  </a:cubicBezTo>
                  <a:cubicBezTo>
                    <a:pt x="136122" y="29116"/>
                    <a:pt x="238732" y="244931"/>
                    <a:pt x="116230" y="517054"/>
                  </a:cubicBezTo>
                  <a:cubicBezTo>
                    <a:pt x="102114" y="514037"/>
                    <a:pt x="87729" y="512500"/>
                    <a:pt x="73298" y="512455"/>
                  </a:cubicBezTo>
                  <a:cubicBezTo>
                    <a:pt x="57204" y="512444"/>
                    <a:pt x="41167" y="514362"/>
                    <a:pt x="25534" y="518176"/>
                  </a:cubicBezTo>
                  <a:cubicBezTo>
                    <a:pt x="15609" y="521182"/>
                    <a:pt x="10013" y="531636"/>
                    <a:pt x="13014" y="541541"/>
                  </a:cubicBezTo>
                  <a:cubicBezTo>
                    <a:pt x="15790" y="550672"/>
                    <a:pt x="25005" y="556269"/>
                    <a:pt x="34412" y="554519"/>
                  </a:cubicBezTo>
                  <a:cubicBezTo>
                    <a:pt x="47145" y="551468"/>
                    <a:pt x="60205" y="549920"/>
                    <a:pt x="73298" y="549920"/>
                  </a:cubicBezTo>
                  <a:cubicBezTo>
                    <a:pt x="170738" y="549920"/>
                    <a:pt x="249970" y="635281"/>
                    <a:pt x="249970" y="740608"/>
                  </a:cubicBezTo>
                  <a:cubicBezTo>
                    <a:pt x="249970" y="845936"/>
                    <a:pt x="170738" y="931297"/>
                    <a:pt x="73298" y="931297"/>
                  </a:cubicBezTo>
                  <a:cubicBezTo>
                    <a:pt x="56721" y="931308"/>
                    <a:pt x="40234" y="928818"/>
                    <a:pt x="24409" y="923894"/>
                  </a:cubicBezTo>
                  <a:cubicBezTo>
                    <a:pt x="14508" y="920798"/>
                    <a:pt x="3967" y="926294"/>
                    <a:pt x="865" y="936176"/>
                  </a:cubicBezTo>
                  <a:cubicBezTo>
                    <a:pt x="-2237" y="946059"/>
                    <a:pt x="3270" y="956580"/>
                    <a:pt x="13171" y="959676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1" name="Freeform 260">
              <a:extLst>
                <a:ext uri="{FF2B5EF4-FFF2-40B4-BE49-F238E27FC236}">
                  <a16:creationId xmlns:a16="http://schemas.microsoft.com/office/drawing/2014/main" id="{887A8FB3-6E6A-F840-B2CF-FD4DD0905662}"/>
                </a:ext>
              </a:extLst>
            </p:cNvPr>
            <p:cNvSpPr/>
            <p:nvPr/>
          </p:nvSpPr>
          <p:spPr>
            <a:xfrm>
              <a:off x="6288192" y="3685469"/>
              <a:ext cx="221602" cy="129425"/>
            </a:xfrm>
            <a:custGeom>
              <a:avLst/>
              <a:gdLst>
                <a:gd name="connsiteX0" fmla="*/ 2387 w 221602"/>
                <a:gd name="connsiteY0" fmla="*/ 101606 h 129425"/>
                <a:gd name="connsiteX1" fmla="*/ 9580 w 221602"/>
                <a:gd name="connsiteY1" fmla="*/ 127069 h 129425"/>
                <a:gd name="connsiteX2" fmla="*/ 18683 w 221602"/>
                <a:gd name="connsiteY2" fmla="*/ 129425 h 129425"/>
                <a:gd name="connsiteX3" fmla="*/ 35092 w 221602"/>
                <a:gd name="connsiteY3" fmla="*/ 119890 h 129425"/>
                <a:gd name="connsiteX4" fmla="*/ 197828 w 221602"/>
                <a:gd name="connsiteY4" fmla="*/ 45185 h 129425"/>
                <a:gd name="connsiteX5" fmla="*/ 220924 w 221602"/>
                <a:gd name="connsiteY5" fmla="*/ 32117 h 129425"/>
                <a:gd name="connsiteX6" fmla="*/ 213225 w 221602"/>
                <a:gd name="connsiteY6" fmla="*/ 11534 h 129425"/>
                <a:gd name="connsiteX7" fmla="*/ 2387 w 221602"/>
                <a:gd name="connsiteY7" fmla="*/ 101606 h 129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1602" h="129425">
                  <a:moveTo>
                    <a:pt x="2387" y="101606"/>
                  </a:moveTo>
                  <a:cubicBezTo>
                    <a:pt x="-2659" y="110625"/>
                    <a:pt x="555" y="122010"/>
                    <a:pt x="9580" y="127069"/>
                  </a:cubicBezTo>
                  <a:cubicBezTo>
                    <a:pt x="12356" y="128639"/>
                    <a:pt x="15491" y="129458"/>
                    <a:pt x="18683" y="129425"/>
                  </a:cubicBezTo>
                  <a:cubicBezTo>
                    <a:pt x="25482" y="129469"/>
                    <a:pt x="31776" y="125813"/>
                    <a:pt x="35092" y="119890"/>
                  </a:cubicBezTo>
                  <a:cubicBezTo>
                    <a:pt x="100051" y="4019"/>
                    <a:pt x="193782" y="43390"/>
                    <a:pt x="197828" y="45185"/>
                  </a:cubicBezTo>
                  <a:cubicBezTo>
                    <a:pt x="207819" y="47944"/>
                    <a:pt x="218159" y="42089"/>
                    <a:pt x="220924" y="32117"/>
                  </a:cubicBezTo>
                  <a:cubicBezTo>
                    <a:pt x="223081" y="24322"/>
                    <a:pt x="219980" y="16021"/>
                    <a:pt x="213225" y="11534"/>
                  </a:cubicBezTo>
                  <a:cubicBezTo>
                    <a:pt x="168495" y="-8320"/>
                    <a:pt x="67571" y="-15611"/>
                    <a:pt x="2387" y="101606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2" name="Freeform 261">
              <a:extLst>
                <a:ext uri="{FF2B5EF4-FFF2-40B4-BE49-F238E27FC236}">
                  <a16:creationId xmlns:a16="http://schemas.microsoft.com/office/drawing/2014/main" id="{E10AB944-4DAE-B54A-8826-88FC5F577835}"/>
                </a:ext>
              </a:extLst>
            </p:cNvPr>
            <p:cNvSpPr/>
            <p:nvPr/>
          </p:nvSpPr>
          <p:spPr>
            <a:xfrm>
              <a:off x="7968306" y="3684320"/>
              <a:ext cx="174401" cy="153568"/>
            </a:xfrm>
            <a:custGeom>
              <a:avLst/>
              <a:gdLst>
                <a:gd name="connsiteX0" fmla="*/ 23027 w 174401"/>
                <a:gd name="connsiteY0" fmla="*/ 38482 h 153568"/>
                <a:gd name="connsiteX1" fmla="*/ 88660 w 174401"/>
                <a:gd name="connsiteY1" fmla="*/ 51157 h 153568"/>
                <a:gd name="connsiteX2" fmla="*/ 137212 w 174401"/>
                <a:gd name="connsiteY2" fmla="*/ 138313 h 153568"/>
                <a:gd name="connsiteX3" fmla="*/ 155643 w 174401"/>
                <a:gd name="connsiteY3" fmla="*/ 153568 h 153568"/>
                <a:gd name="connsiteX4" fmla="*/ 159015 w 174401"/>
                <a:gd name="connsiteY4" fmla="*/ 153568 h 153568"/>
                <a:gd name="connsiteX5" fmla="*/ 174109 w 174401"/>
                <a:gd name="connsiteY5" fmla="*/ 131964 h 153568"/>
                <a:gd name="connsiteX6" fmla="*/ 174075 w 174401"/>
                <a:gd name="connsiteY6" fmla="*/ 131807 h 153568"/>
                <a:gd name="connsiteX7" fmla="*/ 109115 w 174401"/>
                <a:gd name="connsiteY7" fmla="*/ 20199 h 153568"/>
                <a:gd name="connsiteX8" fmla="*/ 14373 w 174401"/>
                <a:gd name="connsiteY8" fmla="*/ 2364 h 153568"/>
                <a:gd name="connsiteX9" fmla="*/ 527 w 174401"/>
                <a:gd name="connsiteY9" fmla="*/ 24966 h 153568"/>
                <a:gd name="connsiteX10" fmla="*/ 23027 w 174401"/>
                <a:gd name="connsiteY10" fmla="*/ 38819 h 15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4401" h="153568">
                  <a:moveTo>
                    <a:pt x="23027" y="38482"/>
                  </a:moveTo>
                  <a:cubicBezTo>
                    <a:pt x="45718" y="34545"/>
                    <a:pt x="69072" y="39054"/>
                    <a:pt x="88660" y="51157"/>
                  </a:cubicBezTo>
                  <a:cubicBezTo>
                    <a:pt x="113161" y="67085"/>
                    <a:pt x="129457" y="96025"/>
                    <a:pt x="137212" y="138313"/>
                  </a:cubicBezTo>
                  <a:cubicBezTo>
                    <a:pt x="138886" y="147152"/>
                    <a:pt x="146630" y="153568"/>
                    <a:pt x="155643" y="153568"/>
                  </a:cubicBezTo>
                  <a:lnTo>
                    <a:pt x="159015" y="153568"/>
                  </a:lnTo>
                  <a:cubicBezTo>
                    <a:pt x="169164" y="151762"/>
                    <a:pt x="175918" y="142093"/>
                    <a:pt x="174109" y="131964"/>
                  </a:cubicBezTo>
                  <a:cubicBezTo>
                    <a:pt x="174097" y="131908"/>
                    <a:pt x="174086" y="131863"/>
                    <a:pt x="174075" y="131807"/>
                  </a:cubicBezTo>
                  <a:cubicBezTo>
                    <a:pt x="164409" y="79536"/>
                    <a:pt x="142606" y="42072"/>
                    <a:pt x="109115" y="20199"/>
                  </a:cubicBezTo>
                  <a:cubicBezTo>
                    <a:pt x="80951" y="2453"/>
                    <a:pt x="47077" y="-3929"/>
                    <a:pt x="14373" y="2364"/>
                  </a:cubicBezTo>
                  <a:cubicBezTo>
                    <a:pt x="4292" y="4786"/>
                    <a:pt x="-1901" y="14915"/>
                    <a:pt x="527" y="24966"/>
                  </a:cubicBezTo>
                  <a:cubicBezTo>
                    <a:pt x="2954" y="34960"/>
                    <a:pt x="12991" y="41152"/>
                    <a:pt x="23027" y="38819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3" name="Freeform 262">
              <a:extLst>
                <a:ext uri="{FF2B5EF4-FFF2-40B4-BE49-F238E27FC236}">
                  <a16:creationId xmlns:a16="http://schemas.microsoft.com/office/drawing/2014/main" id="{ACD55E69-11BD-E24F-B7B1-83DC1029DCE8}"/>
                </a:ext>
              </a:extLst>
            </p:cNvPr>
            <p:cNvSpPr/>
            <p:nvPr/>
          </p:nvSpPr>
          <p:spPr>
            <a:xfrm>
              <a:off x="6782339" y="3665893"/>
              <a:ext cx="305340" cy="164480"/>
            </a:xfrm>
            <a:custGeom>
              <a:avLst/>
              <a:gdLst>
                <a:gd name="connsiteX0" fmla="*/ 290453 w 305340"/>
                <a:gd name="connsiteY0" fmla="*/ 600 h 164480"/>
                <a:gd name="connsiteX1" fmla="*/ 268144 w 305340"/>
                <a:gd name="connsiteY1" fmla="*/ 14364 h 164480"/>
                <a:gd name="connsiteX2" fmla="*/ 267976 w 305340"/>
                <a:gd name="connsiteY2" fmla="*/ 15182 h 164480"/>
                <a:gd name="connsiteX3" fmla="*/ 144912 w 305340"/>
                <a:gd name="connsiteY3" fmla="*/ 127352 h 164480"/>
                <a:gd name="connsiteX4" fmla="*/ 37133 w 305340"/>
                <a:gd name="connsiteY4" fmla="*/ 17314 h 164480"/>
                <a:gd name="connsiteX5" fmla="*/ 17431 w 305340"/>
                <a:gd name="connsiteY5" fmla="*/ 39 h 164480"/>
                <a:gd name="connsiteX6" fmla="*/ 17352 w 305340"/>
                <a:gd name="connsiteY6" fmla="*/ 39 h 164480"/>
                <a:gd name="connsiteX7" fmla="*/ 45 w 305340"/>
                <a:gd name="connsiteY7" fmla="*/ 20118 h 164480"/>
                <a:gd name="connsiteX8" fmla="*/ 142889 w 305340"/>
                <a:gd name="connsiteY8" fmla="*/ 164480 h 164480"/>
                <a:gd name="connsiteX9" fmla="*/ 151880 w 305340"/>
                <a:gd name="connsiteY9" fmla="*/ 164480 h 164480"/>
                <a:gd name="connsiteX10" fmla="*/ 305063 w 305340"/>
                <a:gd name="connsiteY10" fmla="*/ 22025 h 164480"/>
                <a:gd name="connsiteX11" fmla="*/ 290453 w 305340"/>
                <a:gd name="connsiteY11" fmla="*/ 600 h 164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5340" h="164480">
                  <a:moveTo>
                    <a:pt x="290453" y="600"/>
                  </a:moveTo>
                  <a:cubicBezTo>
                    <a:pt x="280485" y="-1744"/>
                    <a:pt x="270505" y="4414"/>
                    <a:pt x="268144" y="14364"/>
                  </a:cubicBezTo>
                  <a:cubicBezTo>
                    <a:pt x="268088" y="14633"/>
                    <a:pt x="268032" y="14913"/>
                    <a:pt x="267976" y="15182"/>
                  </a:cubicBezTo>
                  <a:cubicBezTo>
                    <a:pt x="250106" y="102563"/>
                    <a:pt x="192901" y="130381"/>
                    <a:pt x="144912" y="127352"/>
                  </a:cubicBezTo>
                  <a:cubicBezTo>
                    <a:pt x="86066" y="123617"/>
                    <a:pt x="39549" y="76124"/>
                    <a:pt x="37133" y="17314"/>
                  </a:cubicBezTo>
                  <a:cubicBezTo>
                    <a:pt x="36470" y="7117"/>
                    <a:pt x="27659" y="-622"/>
                    <a:pt x="17431" y="39"/>
                  </a:cubicBezTo>
                  <a:cubicBezTo>
                    <a:pt x="17409" y="39"/>
                    <a:pt x="17375" y="39"/>
                    <a:pt x="17352" y="39"/>
                  </a:cubicBezTo>
                  <a:cubicBezTo>
                    <a:pt x="7047" y="870"/>
                    <a:pt x="-663" y="9821"/>
                    <a:pt x="45" y="20118"/>
                  </a:cubicBezTo>
                  <a:cubicBezTo>
                    <a:pt x="4394" y="97291"/>
                    <a:pt x="65623" y="159175"/>
                    <a:pt x="142889" y="164480"/>
                  </a:cubicBezTo>
                  <a:cubicBezTo>
                    <a:pt x="145811" y="164480"/>
                    <a:pt x="148846" y="164480"/>
                    <a:pt x="151880" y="164480"/>
                  </a:cubicBezTo>
                  <a:cubicBezTo>
                    <a:pt x="210996" y="164480"/>
                    <a:pt x="283373" y="127689"/>
                    <a:pt x="305063" y="22025"/>
                  </a:cubicBezTo>
                  <a:cubicBezTo>
                    <a:pt x="306783" y="12120"/>
                    <a:pt x="300321" y="2630"/>
                    <a:pt x="290453" y="600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4" name="Freeform 263">
              <a:extLst>
                <a:ext uri="{FF2B5EF4-FFF2-40B4-BE49-F238E27FC236}">
                  <a16:creationId xmlns:a16="http://schemas.microsoft.com/office/drawing/2014/main" id="{73EF6F10-E15A-2A40-981C-1AC314119ED8}"/>
                </a:ext>
              </a:extLst>
            </p:cNvPr>
            <p:cNvSpPr/>
            <p:nvPr/>
          </p:nvSpPr>
          <p:spPr>
            <a:xfrm>
              <a:off x="7456707" y="3666944"/>
              <a:ext cx="305119" cy="163989"/>
            </a:xfrm>
            <a:custGeom>
              <a:avLst/>
              <a:gdLst>
                <a:gd name="connsiteX0" fmla="*/ 151723 w 305119"/>
                <a:gd name="connsiteY0" fmla="*/ 163990 h 163989"/>
                <a:gd name="connsiteX1" fmla="*/ 304906 w 305119"/>
                <a:gd name="connsiteY1" fmla="*/ 21535 h 163989"/>
                <a:gd name="connsiteX2" fmla="*/ 289149 w 305119"/>
                <a:gd name="connsiteY2" fmla="*/ 211 h 163989"/>
                <a:gd name="connsiteX3" fmla="*/ 268155 w 305119"/>
                <a:gd name="connsiteY3" fmla="*/ 14131 h 163989"/>
                <a:gd name="connsiteX4" fmla="*/ 145204 w 305119"/>
                <a:gd name="connsiteY4" fmla="*/ 126301 h 163989"/>
                <a:gd name="connsiteX5" fmla="*/ 37312 w 305119"/>
                <a:gd name="connsiteY5" fmla="*/ 16263 h 163989"/>
                <a:gd name="connsiteX6" fmla="*/ 15869 w 305119"/>
                <a:gd name="connsiteY6" fmla="*/ 649 h 163989"/>
                <a:gd name="connsiteX7" fmla="*/ 0 w 305119"/>
                <a:gd name="connsiteY7" fmla="*/ 19179 h 163989"/>
                <a:gd name="connsiteX8" fmla="*/ 142844 w 305119"/>
                <a:gd name="connsiteY8" fmla="*/ 163542 h 163989"/>
                <a:gd name="connsiteX9" fmla="*/ 151723 w 305119"/>
                <a:gd name="connsiteY9" fmla="*/ 163990 h 163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5119" h="163989">
                  <a:moveTo>
                    <a:pt x="151723" y="163990"/>
                  </a:moveTo>
                  <a:cubicBezTo>
                    <a:pt x="210838" y="163990"/>
                    <a:pt x="283216" y="127198"/>
                    <a:pt x="304906" y="21535"/>
                  </a:cubicBezTo>
                  <a:cubicBezTo>
                    <a:pt x="306457" y="11305"/>
                    <a:pt x="299399" y="1759"/>
                    <a:pt x="289149" y="211"/>
                  </a:cubicBezTo>
                  <a:cubicBezTo>
                    <a:pt x="279607" y="-1225"/>
                    <a:pt x="270527" y="4799"/>
                    <a:pt x="268155" y="14131"/>
                  </a:cubicBezTo>
                  <a:cubicBezTo>
                    <a:pt x="250286" y="101512"/>
                    <a:pt x="192744" y="129442"/>
                    <a:pt x="145204" y="126301"/>
                  </a:cubicBezTo>
                  <a:cubicBezTo>
                    <a:pt x="86313" y="122611"/>
                    <a:pt x="39729" y="75107"/>
                    <a:pt x="37312" y="16263"/>
                  </a:cubicBezTo>
                  <a:cubicBezTo>
                    <a:pt x="35716" y="6044"/>
                    <a:pt x="26119" y="-955"/>
                    <a:pt x="15869" y="649"/>
                  </a:cubicBezTo>
                  <a:cubicBezTo>
                    <a:pt x="6721" y="2073"/>
                    <a:pt x="-11" y="9936"/>
                    <a:pt x="0" y="19179"/>
                  </a:cubicBezTo>
                  <a:cubicBezTo>
                    <a:pt x="4349" y="96352"/>
                    <a:pt x="65578" y="158236"/>
                    <a:pt x="142844" y="163542"/>
                  </a:cubicBezTo>
                  <a:cubicBezTo>
                    <a:pt x="145766" y="163878"/>
                    <a:pt x="148800" y="163990"/>
                    <a:pt x="151723" y="163990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5" name="Freeform 264">
              <a:extLst>
                <a:ext uri="{FF2B5EF4-FFF2-40B4-BE49-F238E27FC236}">
                  <a16:creationId xmlns:a16="http://schemas.microsoft.com/office/drawing/2014/main" id="{ACC091DD-E973-C040-9113-F8CDB0DF5A63}"/>
                </a:ext>
              </a:extLst>
            </p:cNvPr>
            <p:cNvSpPr/>
            <p:nvPr/>
          </p:nvSpPr>
          <p:spPr>
            <a:xfrm>
              <a:off x="7900635" y="5301815"/>
              <a:ext cx="45631" cy="1059330"/>
            </a:xfrm>
            <a:custGeom>
              <a:avLst/>
              <a:gdLst>
                <a:gd name="connsiteX0" fmla="*/ 26525 w 45631"/>
                <a:gd name="connsiteY0" fmla="*/ 0 h 1059330"/>
                <a:gd name="connsiteX1" fmla="*/ 8318 w 45631"/>
                <a:gd name="connsiteY1" fmla="*/ 18620 h 1059330"/>
                <a:gd name="connsiteX2" fmla="*/ 1 w 45631"/>
                <a:gd name="connsiteY2" fmla="*/ 1040486 h 1059330"/>
                <a:gd name="connsiteX3" fmla="*/ 18433 w 45631"/>
                <a:gd name="connsiteY3" fmla="*/ 1059331 h 1059330"/>
                <a:gd name="connsiteX4" fmla="*/ 18545 w 45631"/>
                <a:gd name="connsiteY4" fmla="*/ 1059331 h 1059330"/>
                <a:gd name="connsiteX5" fmla="*/ 18545 w 45631"/>
                <a:gd name="connsiteY5" fmla="*/ 1059331 h 1059330"/>
                <a:gd name="connsiteX6" fmla="*/ 37314 w 45631"/>
                <a:gd name="connsiteY6" fmla="*/ 1040823 h 1059330"/>
                <a:gd name="connsiteX7" fmla="*/ 37314 w 45631"/>
                <a:gd name="connsiteY7" fmla="*/ 1040823 h 1059330"/>
                <a:gd name="connsiteX8" fmla="*/ 45630 w 45631"/>
                <a:gd name="connsiteY8" fmla="*/ 18844 h 1059330"/>
                <a:gd name="connsiteX9" fmla="*/ 27199 w 45631"/>
                <a:gd name="connsiteY9" fmla="*/ 0 h 1059330"/>
                <a:gd name="connsiteX10" fmla="*/ 27086 w 45631"/>
                <a:gd name="connsiteY10" fmla="*/ 0 h 1059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31" h="1059330">
                  <a:moveTo>
                    <a:pt x="26525" y="0"/>
                  </a:moveTo>
                  <a:cubicBezTo>
                    <a:pt x="16398" y="247"/>
                    <a:pt x="8318" y="8514"/>
                    <a:pt x="8318" y="18620"/>
                  </a:cubicBezTo>
                  <a:lnTo>
                    <a:pt x="1" y="1040486"/>
                  </a:lnTo>
                  <a:cubicBezTo>
                    <a:pt x="-122" y="1050772"/>
                    <a:pt x="8127" y="1059207"/>
                    <a:pt x="18433" y="1059331"/>
                  </a:cubicBezTo>
                  <a:cubicBezTo>
                    <a:pt x="18467" y="1059331"/>
                    <a:pt x="18511" y="1059331"/>
                    <a:pt x="18545" y="1059331"/>
                  </a:cubicBezTo>
                  <a:lnTo>
                    <a:pt x="18545" y="1059331"/>
                  </a:lnTo>
                  <a:cubicBezTo>
                    <a:pt x="28851" y="1059398"/>
                    <a:pt x="37246" y="1051109"/>
                    <a:pt x="37314" y="1040823"/>
                  </a:cubicBezTo>
                  <a:cubicBezTo>
                    <a:pt x="37314" y="1040823"/>
                    <a:pt x="37314" y="1040823"/>
                    <a:pt x="37314" y="1040823"/>
                  </a:cubicBezTo>
                  <a:lnTo>
                    <a:pt x="45630" y="18844"/>
                  </a:lnTo>
                  <a:cubicBezTo>
                    <a:pt x="45754" y="8559"/>
                    <a:pt x="37505" y="124"/>
                    <a:pt x="27199" y="0"/>
                  </a:cubicBezTo>
                  <a:cubicBezTo>
                    <a:pt x="27165" y="0"/>
                    <a:pt x="27120" y="0"/>
                    <a:pt x="27086" y="0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6" name="Freeform 265">
              <a:extLst>
                <a:ext uri="{FF2B5EF4-FFF2-40B4-BE49-F238E27FC236}">
                  <a16:creationId xmlns:a16="http://schemas.microsoft.com/office/drawing/2014/main" id="{72CC6DA0-DCBC-8F45-9BA6-9593005EDF31}"/>
                </a:ext>
              </a:extLst>
            </p:cNvPr>
            <p:cNvSpPr/>
            <p:nvPr/>
          </p:nvSpPr>
          <p:spPr>
            <a:xfrm>
              <a:off x="9090440" y="4251119"/>
              <a:ext cx="37086" cy="37018"/>
            </a:xfrm>
            <a:custGeom>
              <a:avLst/>
              <a:gdLst>
                <a:gd name="connsiteX0" fmla="*/ 31619 w 37086"/>
                <a:gd name="connsiteY0" fmla="*/ 5387 h 37018"/>
                <a:gd name="connsiteX1" fmla="*/ 5399 w 37086"/>
                <a:gd name="connsiteY1" fmla="*/ 5466 h 37018"/>
                <a:gd name="connsiteX2" fmla="*/ 5466 w 37086"/>
                <a:gd name="connsiteY2" fmla="*/ 31635 h 37018"/>
                <a:gd name="connsiteX3" fmla="*/ 31619 w 37086"/>
                <a:gd name="connsiteY3" fmla="*/ 31635 h 37018"/>
                <a:gd name="connsiteX4" fmla="*/ 31698 w 37086"/>
                <a:gd name="connsiteY4" fmla="*/ 5466 h 37018"/>
                <a:gd name="connsiteX5" fmla="*/ 31619 w 37086"/>
                <a:gd name="connsiteY5" fmla="*/ 5387 h 37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086" h="37018">
                  <a:moveTo>
                    <a:pt x="31619" y="5387"/>
                  </a:moveTo>
                  <a:cubicBezTo>
                    <a:pt x="24359" y="-1826"/>
                    <a:pt x="12615" y="-1792"/>
                    <a:pt x="5399" y="5466"/>
                  </a:cubicBezTo>
                  <a:cubicBezTo>
                    <a:pt x="-1828" y="12712"/>
                    <a:pt x="-1794" y="24422"/>
                    <a:pt x="5466" y="31635"/>
                  </a:cubicBezTo>
                  <a:cubicBezTo>
                    <a:pt x="12704" y="38814"/>
                    <a:pt x="24381" y="38814"/>
                    <a:pt x="31619" y="31635"/>
                  </a:cubicBezTo>
                  <a:cubicBezTo>
                    <a:pt x="38879" y="24422"/>
                    <a:pt x="38913" y="12712"/>
                    <a:pt x="31698" y="5466"/>
                  </a:cubicBezTo>
                  <a:cubicBezTo>
                    <a:pt x="31664" y="5432"/>
                    <a:pt x="31642" y="5410"/>
                    <a:pt x="31619" y="5387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7" name="Freeform 266">
              <a:extLst>
                <a:ext uri="{FF2B5EF4-FFF2-40B4-BE49-F238E27FC236}">
                  <a16:creationId xmlns:a16="http://schemas.microsoft.com/office/drawing/2014/main" id="{C223D1C6-B657-204C-A2DB-EE4EE7590E6F}"/>
                </a:ext>
              </a:extLst>
            </p:cNvPr>
            <p:cNvSpPr/>
            <p:nvPr/>
          </p:nvSpPr>
          <p:spPr>
            <a:xfrm>
              <a:off x="7237869" y="4593219"/>
              <a:ext cx="56409" cy="100973"/>
            </a:xfrm>
            <a:custGeom>
              <a:avLst/>
              <a:gdLst>
                <a:gd name="connsiteX0" fmla="*/ 9123 w 56409"/>
                <a:gd name="connsiteY0" fmla="*/ 25258 h 100973"/>
                <a:gd name="connsiteX1" fmla="*/ 30140 w 56409"/>
                <a:gd name="connsiteY1" fmla="*/ 42981 h 100973"/>
                <a:gd name="connsiteX2" fmla="*/ 9236 w 56409"/>
                <a:gd name="connsiteY2" fmla="*/ 78539 h 100973"/>
                <a:gd name="connsiteX3" fmla="*/ 8393 w 56409"/>
                <a:gd name="connsiteY3" fmla="*/ 96766 h 100973"/>
                <a:gd name="connsiteX4" fmla="*/ 26656 w 56409"/>
                <a:gd name="connsiteY4" fmla="*/ 97607 h 100973"/>
                <a:gd name="connsiteX5" fmla="*/ 55427 w 56409"/>
                <a:gd name="connsiteY5" fmla="*/ 37260 h 100973"/>
                <a:gd name="connsiteX6" fmla="*/ 16766 w 56409"/>
                <a:gd name="connsiteY6" fmla="*/ 581 h 100973"/>
                <a:gd name="connsiteX7" fmla="*/ 582 w 56409"/>
                <a:gd name="connsiteY7" fmla="*/ 9106 h 100973"/>
                <a:gd name="connsiteX8" fmla="*/ 9123 w 56409"/>
                <a:gd name="connsiteY8" fmla="*/ 25258 h 100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409" h="100973">
                  <a:moveTo>
                    <a:pt x="9123" y="25258"/>
                  </a:moveTo>
                  <a:cubicBezTo>
                    <a:pt x="12945" y="26492"/>
                    <a:pt x="27892" y="32998"/>
                    <a:pt x="30140" y="42981"/>
                  </a:cubicBezTo>
                  <a:cubicBezTo>
                    <a:pt x="32388" y="52964"/>
                    <a:pt x="24745" y="64405"/>
                    <a:pt x="9236" y="78539"/>
                  </a:cubicBezTo>
                  <a:cubicBezTo>
                    <a:pt x="3965" y="83339"/>
                    <a:pt x="3583" y="91505"/>
                    <a:pt x="8393" y="96766"/>
                  </a:cubicBezTo>
                  <a:cubicBezTo>
                    <a:pt x="13203" y="102027"/>
                    <a:pt x="21385" y="102408"/>
                    <a:pt x="26656" y="97607"/>
                  </a:cubicBezTo>
                  <a:cubicBezTo>
                    <a:pt x="50032" y="76295"/>
                    <a:pt x="59698" y="55993"/>
                    <a:pt x="55427" y="37260"/>
                  </a:cubicBezTo>
                  <a:cubicBezTo>
                    <a:pt x="49583" y="11349"/>
                    <a:pt x="20025" y="1590"/>
                    <a:pt x="16766" y="581"/>
                  </a:cubicBezTo>
                  <a:cubicBezTo>
                    <a:pt x="9932" y="-1528"/>
                    <a:pt x="2695" y="2286"/>
                    <a:pt x="582" y="9106"/>
                  </a:cubicBezTo>
                  <a:cubicBezTo>
                    <a:pt x="-1531" y="15926"/>
                    <a:pt x="2290" y="23149"/>
                    <a:pt x="9123" y="25258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8" name="Freeform 267">
              <a:extLst>
                <a:ext uri="{FF2B5EF4-FFF2-40B4-BE49-F238E27FC236}">
                  <a16:creationId xmlns:a16="http://schemas.microsoft.com/office/drawing/2014/main" id="{815895AE-909C-B84D-BD22-DA823D2DA851}"/>
                </a:ext>
              </a:extLst>
            </p:cNvPr>
            <p:cNvSpPr/>
            <p:nvPr/>
          </p:nvSpPr>
          <p:spPr>
            <a:xfrm>
              <a:off x="6434244" y="2494831"/>
              <a:ext cx="1645073" cy="575704"/>
            </a:xfrm>
            <a:custGeom>
              <a:avLst/>
              <a:gdLst>
                <a:gd name="connsiteX0" fmla="*/ 865 w 1645073"/>
                <a:gd name="connsiteY0" fmla="*/ 505374 h 575704"/>
                <a:gd name="connsiteX1" fmla="*/ 13171 w 1645073"/>
                <a:gd name="connsiteY1" fmla="*/ 528874 h 575704"/>
                <a:gd name="connsiteX2" fmla="*/ 36716 w 1645073"/>
                <a:gd name="connsiteY2" fmla="*/ 516591 h 575704"/>
                <a:gd name="connsiteX3" fmla="*/ 784989 w 1645073"/>
                <a:gd name="connsiteY3" fmla="*/ 37402 h 575704"/>
                <a:gd name="connsiteX4" fmla="*/ 1474484 w 1645073"/>
                <a:gd name="connsiteY4" fmla="*/ 294047 h 575704"/>
                <a:gd name="connsiteX5" fmla="*/ 1607887 w 1645073"/>
                <a:gd name="connsiteY5" fmla="*/ 559777 h 575704"/>
                <a:gd name="connsiteX6" fmla="*/ 1626319 w 1645073"/>
                <a:gd name="connsiteY6" fmla="*/ 575705 h 575704"/>
                <a:gd name="connsiteX7" fmla="*/ 1629129 w 1645073"/>
                <a:gd name="connsiteY7" fmla="*/ 575705 h 575704"/>
                <a:gd name="connsiteX8" fmla="*/ 1644874 w 1645073"/>
                <a:gd name="connsiteY8" fmla="*/ 554572 h 575704"/>
                <a:gd name="connsiteX9" fmla="*/ 1644863 w 1645073"/>
                <a:gd name="connsiteY9" fmla="*/ 554505 h 575704"/>
                <a:gd name="connsiteX10" fmla="*/ 1504267 w 1645073"/>
                <a:gd name="connsiteY10" fmla="*/ 271501 h 575704"/>
                <a:gd name="connsiteX11" fmla="*/ 784427 w 1645073"/>
                <a:gd name="connsiteY11" fmla="*/ 162 h 575704"/>
                <a:gd name="connsiteX12" fmla="*/ 865 w 1645073"/>
                <a:gd name="connsiteY12" fmla="*/ 505374 h 575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645073" h="575704">
                  <a:moveTo>
                    <a:pt x="865" y="505374"/>
                  </a:moveTo>
                  <a:cubicBezTo>
                    <a:pt x="-2237" y="515257"/>
                    <a:pt x="3270" y="525778"/>
                    <a:pt x="13171" y="528874"/>
                  </a:cubicBezTo>
                  <a:cubicBezTo>
                    <a:pt x="23072" y="531970"/>
                    <a:pt x="33614" y="526474"/>
                    <a:pt x="36716" y="516591"/>
                  </a:cubicBezTo>
                  <a:cubicBezTo>
                    <a:pt x="102013" y="302235"/>
                    <a:pt x="284979" y="45479"/>
                    <a:pt x="784989" y="37402"/>
                  </a:cubicBezTo>
                  <a:cubicBezTo>
                    <a:pt x="1088435" y="32691"/>
                    <a:pt x="1326920" y="121417"/>
                    <a:pt x="1474484" y="294047"/>
                  </a:cubicBezTo>
                  <a:cubicBezTo>
                    <a:pt x="1540646" y="370008"/>
                    <a:pt x="1586534" y="461404"/>
                    <a:pt x="1607887" y="559777"/>
                  </a:cubicBezTo>
                  <a:cubicBezTo>
                    <a:pt x="1609225" y="568907"/>
                    <a:pt x="1617069" y="575694"/>
                    <a:pt x="1626319" y="575705"/>
                  </a:cubicBezTo>
                  <a:lnTo>
                    <a:pt x="1629129" y="575705"/>
                  </a:lnTo>
                  <a:cubicBezTo>
                    <a:pt x="1639322" y="574213"/>
                    <a:pt x="1646369" y="564746"/>
                    <a:pt x="1644874" y="554572"/>
                  </a:cubicBezTo>
                  <a:cubicBezTo>
                    <a:pt x="1644874" y="554550"/>
                    <a:pt x="1644863" y="554527"/>
                    <a:pt x="1644863" y="554505"/>
                  </a:cubicBezTo>
                  <a:cubicBezTo>
                    <a:pt x="1643964" y="548672"/>
                    <a:pt x="1622386" y="410030"/>
                    <a:pt x="1504267" y="271501"/>
                  </a:cubicBezTo>
                  <a:cubicBezTo>
                    <a:pt x="1308489" y="41104"/>
                    <a:pt x="1004931" y="-3091"/>
                    <a:pt x="784427" y="162"/>
                  </a:cubicBezTo>
                  <a:cubicBezTo>
                    <a:pt x="261715" y="7902"/>
                    <a:pt x="69870" y="279240"/>
                    <a:pt x="865" y="505374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9" name="Freeform 268">
              <a:extLst>
                <a:ext uri="{FF2B5EF4-FFF2-40B4-BE49-F238E27FC236}">
                  <a16:creationId xmlns:a16="http://schemas.microsoft.com/office/drawing/2014/main" id="{C73B24B1-402F-8F45-B61C-5BD316666281}"/>
                </a:ext>
              </a:extLst>
            </p:cNvPr>
            <p:cNvSpPr/>
            <p:nvPr/>
          </p:nvSpPr>
          <p:spPr>
            <a:xfrm>
              <a:off x="7506944" y="5446739"/>
              <a:ext cx="338060" cy="162421"/>
            </a:xfrm>
            <a:custGeom>
              <a:avLst/>
              <a:gdLst>
                <a:gd name="connsiteX0" fmla="*/ 272089 w 338060"/>
                <a:gd name="connsiteY0" fmla="*/ 136623 h 162421"/>
                <a:gd name="connsiteX1" fmla="*/ 194430 w 338060"/>
                <a:gd name="connsiteY1" fmla="*/ 5496 h 162421"/>
                <a:gd name="connsiteX2" fmla="*/ 185102 w 338060"/>
                <a:gd name="connsiteY2" fmla="*/ 0 h 162421"/>
                <a:gd name="connsiteX3" fmla="*/ 175436 w 338060"/>
                <a:gd name="connsiteY3" fmla="*/ 4823 h 162421"/>
                <a:gd name="connsiteX4" fmla="*/ 84515 w 338060"/>
                <a:gd name="connsiteY4" fmla="*/ 136623 h 162421"/>
                <a:gd name="connsiteX5" fmla="*/ 12924 w 338060"/>
                <a:gd name="connsiteY5" fmla="*/ 136623 h 162421"/>
                <a:gd name="connsiteX6" fmla="*/ 0 w 338060"/>
                <a:gd name="connsiteY6" fmla="*/ 149522 h 162421"/>
                <a:gd name="connsiteX7" fmla="*/ 12924 w 338060"/>
                <a:gd name="connsiteY7" fmla="*/ 162422 h 162421"/>
                <a:gd name="connsiteX8" fmla="*/ 325135 w 338060"/>
                <a:gd name="connsiteY8" fmla="*/ 162422 h 162421"/>
                <a:gd name="connsiteX9" fmla="*/ 338060 w 338060"/>
                <a:gd name="connsiteY9" fmla="*/ 149522 h 162421"/>
                <a:gd name="connsiteX10" fmla="*/ 325135 w 338060"/>
                <a:gd name="connsiteY10" fmla="*/ 136623 h 162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8060" h="162421">
                  <a:moveTo>
                    <a:pt x="272089" y="136623"/>
                  </a:moveTo>
                  <a:lnTo>
                    <a:pt x="194430" y="5496"/>
                  </a:lnTo>
                  <a:cubicBezTo>
                    <a:pt x="192474" y="2187"/>
                    <a:pt x="188945" y="112"/>
                    <a:pt x="185102" y="0"/>
                  </a:cubicBezTo>
                  <a:cubicBezTo>
                    <a:pt x="181292" y="-11"/>
                    <a:pt x="177706" y="1784"/>
                    <a:pt x="175436" y="4823"/>
                  </a:cubicBezTo>
                  <a:lnTo>
                    <a:pt x="84515" y="136623"/>
                  </a:lnTo>
                  <a:lnTo>
                    <a:pt x="12924" y="136623"/>
                  </a:lnTo>
                  <a:cubicBezTo>
                    <a:pt x="5788" y="136623"/>
                    <a:pt x="0" y="142399"/>
                    <a:pt x="0" y="149522"/>
                  </a:cubicBezTo>
                  <a:cubicBezTo>
                    <a:pt x="0" y="156645"/>
                    <a:pt x="5788" y="162422"/>
                    <a:pt x="12924" y="162422"/>
                  </a:cubicBezTo>
                  <a:lnTo>
                    <a:pt x="325135" y="162422"/>
                  </a:lnTo>
                  <a:cubicBezTo>
                    <a:pt x="332272" y="162422"/>
                    <a:pt x="338060" y="156645"/>
                    <a:pt x="338060" y="149522"/>
                  </a:cubicBezTo>
                  <a:cubicBezTo>
                    <a:pt x="338060" y="142399"/>
                    <a:pt x="332272" y="136623"/>
                    <a:pt x="325135" y="136623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0" name="Freeform 269">
              <a:extLst>
                <a:ext uri="{FF2B5EF4-FFF2-40B4-BE49-F238E27FC236}">
                  <a16:creationId xmlns:a16="http://schemas.microsoft.com/office/drawing/2014/main" id="{A2D62E39-35DA-394F-A00E-9B6C091DAB88}"/>
                </a:ext>
              </a:extLst>
            </p:cNvPr>
            <p:cNvSpPr/>
            <p:nvPr/>
          </p:nvSpPr>
          <p:spPr>
            <a:xfrm>
              <a:off x="5856495" y="4025973"/>
              <a:ext cx="86933" cy="43503"/>
            </a:xfrm>
            <a:custGeom>
              <a:avLst/>
              <a:gdLst>
                <a:gd name="connsiteX0" fmla="*/ 269 w 86933"/>
                <a:gd name="connsiteY0" fmla="*/ 14382 h 43503"/>
                <a:gd name="connsiteX1" fmla="*/ 13756 w 86933"/>
                <a:gd name="connsiteY1" fmla="*/ 33899 h 43503"/>
                <a:gd name="connsiteX2" fmla="*/ 65454 w 86933"/>
                <a:gd name="connsiteY2" fmla="*/ 43434 h 43503"/>
                <a:gd name="connsiteX3" fmla="*/ 68488 w 86933"/>
                <a:gd name="connsiteY3" fmla="*/ 43434 h 43503"/>
                <a:gd name="connsiteX4" fmla="*/ 86864 w 86933"/>
                <a:gd name="connsiteY4" fmla="*/ 28123 h 43503"/>
                <a:gd name="connsiteX5" fmla="*/ 71523 w 86933"/>
                <a:gd name="connsiteY5" fmla="*/ 9783 h 43503"/>
                <a:gd name="connsiteX6" fmla="*/ 19825 w 86933"/>
                <a:gd name="connsiteY6" fmla="*/ 248 h 43503"/>
                <a:gd name="connsiteX7" fmla="*/ 337 w 86933"/>
                <a:gd name="connsiteY7" fmla="*/ 13956 h 43503"/>
                <a:gd name="connsiteX8" fmla="*/ 269 w 86933"/>
                <a:gd name="connsiteY8" fmla="*/ 14382 h 43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6933" h="43503">
                  <a:moveTo>
                    <a:pt x="269" y="14382"/>
                  </a:moveTo>
                  <a:cubicBezTo>
                    <a:pt x="-1371" y="23479"/>
                    <a:pt x="4653" y="32194"/>
                    <a:pt x="13756" y="33899"/>
                  </a:cubicBezTo>
                  <a:lnTo>
                    <a:pt x="65454" y="43434"/>
                  </a:lnTo>
                  <a:lnTo>
                    <a:pt x="68488" y="43434"/>
                  </a:lnTo>
                  <a:cubicBezTo>
                    <a:pt x="77794" y="44275"/>
                    <a:pt x="86021" y="37410"/>
                    <a:pt x="86864" y="28123"/>
                  </a:cubicBezTo>
                  <a:cubicBezTo>
                    <a:pt x="87706" y="18835"/>
                    <a:pt x="80828" y="10624"/>
                    <a:pt x="71523" y="9783"/>
                  </a:cubicBezTo>
                  <a:lnTo>
                    <a:pt x="19825" y="248"/>
                  </a:lnTo>
                  <a:cubicBezTo>
                    <a:pt x="10654" y="-1333"/>
                    <a:pt x="1921" y="4803"/>
                    <a:pt x="337" y="13956"/>
                  </a:cubicBezTo>
                  <a:cubicBezTo>
                    <a:pt x="314" y="14102"/>
                    <a:pt x="292" y="14236"/>
                    <a:pt x="269" y="14382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1" name="Freeform 270">
              <a:extLst>
                <a:ext uri="{FF2B5EF4-FFF2-40B4-BE49-F238E27FC236}">
                  <a16:creationId xmlns:a16="http://schemas.microsoft.com/office/drawing/2014/main" id="{C11B5B08-EDF6-C04E-870B-C49D96D8222C}"/>
                </a:ext>
              </a:extLst>
            </p:cNvPr>
            <p:cNvSpPr/>
            <p:nvPr/>
          </p:nvSpPr>
          <p:spPr>
            <a:xfrm>
              <a:off x="7019660" y="3922660"/>
              <a:ext cx="492462" cy="138222"/>
            </a:xfrm>
            <a:custGeom>
              <a:avLst/>
              <a:gdLst>
                <a:gd name="connsiteX0" fmla="*/ 491779 w 492462"/>
                <a:gd name="connsiteY0" fmla="*/ 30651 h 138222"/>
                <a:gd name="connsiteX1" fmla="*/ 478686 w 492462"/>
                <a:gd name="connsiteY1" fmla="*/ 7601 h 138222"/>
                <a:gd name="connsiteX2" fmla="*/ 458063 w 492462"/>
                <a:gd name="connsiteY2" fmla="*/ 15284 h 138222"/>
                <a:gd name="connsiteX3" fmla="*/ 360848 w 492462"/>
                <a:gd name="connsiteY3" fmla="*/ 71369 h 138222"/>
                <a:gd name="connsiteX4" fmla="*/ 346687 w 492462"/>
                <a:gd name="connsiteY4" fmla="*/ 73164 h 138222"/>
                <a:gd name="connsiteX5" fmla="*/ 170914 w 492462"/>
                <a:gd name="connsiteY5" fmla="*/ 69126 h 138222"/>
                <a:gd name="connsiteX6" fmla="*/ 153157 w 492462"/>
                <a:gd name="connsiteY6" fmla="*/ 66209 h 138222"/>
                <a:gd name="connsiteX7" fmla="*/ 74486 w 492462"/>
                <a:gd name="connsiteY7" fmla="*/ 66209 h 138222"/>
                <a:gd name="connsiteX8" fmla="*/ 36948 w 492462"/>
                <a:gd name="connsiteY8" fmla="*/ 14051 h 138222"/>
                <a:gd name="connsiteX9" fmla="*/ 14078 w 492462"/>
                <a:gd name="connsiteY9" fmla="*/ 601 h 138222"/>
                <a:gd name="connsiteX10" fmla="*/ 602 w 492462"/>
                <a:gd name="connsiteY10" fmla="*/ 23428 h 138222"/>
                <a:gd name="connsiteX11" fmla="*/ 647 w 492462"/>
                <a:gd name="connsiteY11" fmla="*/ 23585 h 138222"/>
                <a:gd name="connsiteX12" fmla="*/ 56841 w 492462"/>
                <a:gd name="connsiteY12" fmla="*/ 99187 h 138222"/>
                <a:gd name="connsiteX13" fmla="*/ 155517 w 492462"/>
                <a:gd name="connsiteY13" fmla="*/ 104571 h 138222"/>
                <a:gd name="connsiteX14" fmla="*/ 255766 w 492462"/>
                <a:gd name="connsiteY14" fmla="*/ 138222 h 138222"/>
                <a:gd name="connsiteX15" fmla="*/ 358263 w 492462"/>
                <a:gd name="connsiteY15" fmla="*/ 109507 h 138222"/>
                <a:gd name="connsiteX16" fmla="*/ 491779 w 492462"/>
                <a:gd name="connsiteY16" fmla="*/ 30651 h 138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92462" h="138222">
                  <a:moveTo>
                    <a:pt x="491779" y="30651"/>
                  </a:moveTo>
                  <a:cubicBezTo>
                    <a:pt x="494544" y="20679"/>
                    <a:pt x="488677" y="10360"/>
                    <a:pt x="478686" y="7601"/>
                  </a:cubicBezTo>
                  <a:cubicBezTo>
                    <a:pt x="470875" y="5447"/>
                    <a:pt x="462558" y="8543"/>
                    <a:pt x="458063" y="15284"/>
                  </a:cubicBezTo>
                  <a:cubicBezTo>
                    <a:pt x="434574" y="67331"/>
                    <a:pt x="406365" y="83596"/>
                    <a:pt x="360848" y="71369"/>
                  </a:cubicBezTo>
                  <a:cubicBezTo>
                    <a:pt x="356071" y="70158"/>
                    <a:pt x="351014" y="70797"/>
                    <a:pt x="346687" y="73164"/>
                  </a:cubicBezTo>
                  <a:cubicBezTo>
                    <a:pt x="280379" y="110965"/>
                    <a:pt x="223061" y="109619"/>
                    <a:pt x="170914" y="69126"/>
                  </a:cubicBezTo>
                  <a:cubicBezTo>
                    <a:pt x="165901" y="65144"/>
                    <a:pt x="159181" y="64033"/>
                    <a:pt x="153157" y="66209"/>
                  </a:cubicBezTo>
                  <a:cubicBezTo>
                    <a:pt x="122363" y="77426"/>
                    <a:pt x="95277" y="77426"/>
                    <a:pt x="74486" y="66209"/>
                  </a:cubicBezTo>
                  <a:cubicBezTo>
                    <a:pt x="55099" y="54959"/>
                    <a:pt x="41444" y="35980"/>
                    <a:pt x="36948" y="14051"/>
                  </a:cubicBezTo>
                  <a:cubicBezTo>
                    <a:pt x="34352" y="4034"/>
                    <a:pt x="24114" y="-1990"/>
                    <a:pt x="14078" y="601"/>
                  </a:cubicBezTo>
                  <a:cubicBezTo>
                    <a:pt x="4041" y="3192"/>
                    <a:pt x="-1994" y="13411"/>
                    <a:pt x="602" y="23428"/>
                  </a:cubicBezTo>
                  <a:cubicBezTo>
                    <a:pt x="625" y="23484"/>
                    <a:pt x="636" y="23529"/>
                    <a:pt x="647" y="23585"/>
                  </a:cubicBezTo>
                  <a:cubicBezTo>
                    <a:pt x="7705" y="55632"/>
                    <a:pt x="28160" y="83147"/>
                    <a:pt x="56841" y="99187"/>
                  </a:cubicBezTo>
                  <a:cubicBezTo>
                    <a:pt x="87702" y="114027"/>
                    <a:pt x="123217" y="115968"/>
                    <a:pt x="155517" y="104571"/>
                  </a:cubicBezTo>
                  <a:cubicBezTo>
                    <a:pt x="184501" y="126142"/>
                    <a:pt x="219611" y="137930"/>
                    <a:pt x="255766" y="138222"/>
                  </a:cubicBezTo>
                  <a:cubicBezTo>
                    <a:pt x="291786" y="137269"/>
                    <a:pt x="327008" y="127398"/>
                    <a:pt x="358263" y="109507"/>
                  </a:cubicBezTo>
                  <a:cubicBezTo>
                    <a:pt x="417266" y="122182"/>
                    <a:pt x="462221" y="95822"/>
                    <a:pt x="491779" y="30651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2" name="Freeform 271">
              <a:extLst>
                <a:ext uri="{FF2B5EF4-FFF2-40B4-BE49-F238E27FC236}">
                  <a16:creationId xmlns:a16="http://schemas.microsoft.com/office/drawing/2014/main" id="{FA9D5A74-F274-2D46-AEC1-7B44713FFA53}"/>
                </a:ext>
              </a:extLst>
            </p:cNvPr>
            <p:cNvSpPr/>
            <p:nvPr/>
          </p:nvSpPr>
          <p:spPr>
            <a:xfrm>
              <a:off x="7079739" y="4173563"/>
              <a:ext cx="379087" cy="83733"/>
            </a:xfrm>
            <a:custGeom>
              <a:avLst/>
              <a:gdLst>
                <a:gd name="connsiteX0" fmla="*/ 349208 w 379087"/>
                <a:gd name="connsiteY0" fmla="*/ 4536 h 83733"/>
                <a:gd name="connsiteX1" fmla="*/ 29242 w 379087"/>
                <a:gd name="connsiteY1" fmla="*/ 3190 h 83733"/>
                <a:gd name="connsiteX2" fmla="*/ 3191 w 379087"/>
                <a:gd name="connsiteY2" fmla="*/ 8282 h 83733"/>
                <a:gd name="connsiteX3" fmla="*/ 8293 w 379087"/>
                <a:gd name="connsiteY3" fmla="*/ 34283 h 83733"/>
                <a:gd name="connsiteX4" fmla="*/ 13958 w 379087"/>
                <a:gd name="connsiteY4" fmla="*/ 36841 h 83733"/>
                <a:gd name="connsiteX5" fmla="*/ 206140 w 379087"/>
                <a:gd name="connsiteY5" fmla="*/ 83728 h 83733"/>
                <a:gd name="connsiteX6" fmla="*/ 369551 w 379087"/>
                <a:gd name="connsiteY6" fmla="*/ 35495 h 83733"/>
                <a:gd name="connsiteX7" fmla="*/ 376653 w 379087"/>
                <a:gd name="connsiteY7" fmla="*/ 9976 h 83733"/>
                <a:gd name="connsiteX8" fmla="*/ 351085 w 379087"/>
                <a:gd name="connsiteY8" fmla="*/ 2876 h 83733"/>
                <a:gd name="connsiteX9" fmla="*/ 349208 w 379087"/>
                <a:gd name="connsiteY9" fmla="*/ 4087 h 8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79087" h="83733">
                  <a:moveTo>
                    <a:pt x="349208" y="4536"/>
                  </a:moveTo>
                  <a:cubicBezTo>
                    <a:pt x="261884" y="60621"/>
                    <a:pt x="157251" y="60621"/>
                    <a:pt x="29242" y="3190"/>
                  </a:cubicBezTo>
                  <a:cubicBezTo>
                    <a:pt x="20645" y="-2587"/>
                    <a:pt x="8979" y="-299"/>
                    <a:pt x="3191" y="8282"/>
                  </a:cubicBezTo>
                  <a:cubicBezTo>
                    <a:pt x="-2586" y="16863"/>
                    <a:pt x="-304" y="28507"/>
                    <a:pt x="8293" y="34283"/>
                  </a:cubicBezTo>
                  <a:cubicBezTo>
                    <a:pt x="10024" y="35439"/>
                    <a:pt x="11946" y="36302"/>
                    <a:pt x="13958" y="36841"/>
                  </a:cubicBezTo>
                  <a:cubicBezTo>
                    <a:pt x="83638" y="68024"/>
                    <a:pt x="147474" y="83728"/>
                    <a:pt x="206140" y="83728"/>
                  </a:cubicBezTo>
                  <a:cubicBezTo>
                    <a:pt x="264188" y="84076"/>
                    <a:pt x="321033" y="67295"/>
                    <a:pt x="369551" y="35495"/>
                  </a:cubicBezTo>
                  <a:cubicBezTo>
                    <a:pt x="378575" y="30402"/>
                    <a:pt x="381756" y="18983"/>
                    <a:pt x="376653" y="9976"/>
                  </a:cubicBezTo>
                  <a:cubicBezTo>
                    <a:pt x="371562" y="969"/>
                    <a:pt x="360110" y="-2216"/>
                    <a:pt x="351085" y="2876"/>
                  </a:cubicBezTo>
                  <a:cubicBezTo>
                    <a:pt x="350433" y="3246"/>
                    <a:pt x="349804" y="3650"/>
                    <a:pt x="349208" y="4087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3" name="Freeform 272">
              <a:extLst>
                <a:ext uri="{FF2B5EF4-FFF2-40B4-BE49-F238E27FC236}">
                  <a16:creationId xmlns:a16="http://schemas.microsoft.com/office/drawing/2014/main" id="{B82221B3-6053-E041-A7F5-F278FB33BA60}"/>
                </a:ext>
              </a:extLst>
            </p:cNvPr>
            <p:cNvSpPr/>
            <p:nvPr/>
          </p:nvSpPr>
          <p:spPr>
            <a:xfrm>
              <a:off x="6686084" y="3419652"/>
              <a:ext cx="1156784" cy="500870"/>
            </a:xfrm>
            <a:custGeom>
              <a:avLst/>
              <a:gdLst>
                <a:gd name="connsiteX0" fmla="*/ 1156785 w 1156784"/>
                <a:gd name="connsiteY0" fmla="*/ 250430 h 500870"/>
                <a:gd name="connsiteX1" fmla="*/ 906678 w 1156784"/>
                <a:gd name="connsiteY1" fmla="*/ 0 h 500870"/>
                <a:gd name="connsiteX2" fmla="*/ 656437 w 1156784"/>
                <a:gd name="connsiteY2" fmla="*/ 231698 h 500870"/>
                <a:gd name="connsiteX3" fmla="*/ 500557 w 1156784"/>
                <a:gd name="connsiteY3" fmla="*/ 231698 h 500870"/>
                <a:gd name="connsiteX4" fmla="*/ 231873 w 1156784"/>
                <a:gd name="connsiteY4" fmla="*/ 999 h 500870"/>
                <a:gd name="connsiteX5" fmla="*/ 715 w 1156784"/>
                <a:gd name="connsiteY5" fmla="*/ 269163 h 500870"/>
                <a:gd name="connsiteX6" fmla="*/ 269410 w 1156784"/>
                <a:gd name="connsiteY6" fmla="*/ 499862 h 500870"/>
                <a:gd name="connsiteX7" fmla="*/ 500557 w 1156784"/>
                <a:gd name="connsiteY7" fmla="*/ 269163 h 500870"/>
                <a:gd name="connsiteX8" fmla="*/ 656437 w 1156784"/>
                <a:gd name="connsiteY8" fmla="*/ 269163 h 500870"/>
                <a:gd name="connsiteX9" fmla="*/ 924638 w 1156784"/>
                <a:gd name="connsiteY9" fmla="*/ 500187 h 500870"/>
                <a:gd name="connsiteX10" fmla="*/ 1156785 w 1156784"/>
                <a:gd name="connsiteY10" fmla="*/ 250430 h 500870"/>
                <a:gd name="connsiteX11" fmla="*/ 250832 w 1156784"/>
                <a:gd name="connsiteY11" fmla="*/ 463553 h 500870"/>
                <a:gd name="connsiteX12" fmla="*/ 37297 w 1156784"/>
                <a:gd name="connsiteY12" fmla="*/ 250430 h 500870"/>
                <a:gd name="connsiteX13" fmla="*/ 250832 w 1156784"/>
                <a:gd name="connsiteY13" fmla="*/ 37308 h 500870"/>
                <a:gd name="connsiteX14" fmla="*/ 464368 w 1156784"/>
                <a:gd name="connsiteY14" fmla="*/ 250430 h 500870"/>
                <a:gd name="connsiteX15" fmla="*/ 250832 w 1156784"/>
                <a:gd name="connsiteY15" fmla="*/ 463104 h 500870"/>
                <a:gd name="connsiteX16" fmla="*/ 693075 w 1156784"/>
                <a:gd name="connsiteY16" fmla="*/ 250430 h 500870"/>
                <a:gd name="connsiteX17" fmla="*/ 906611 w 1156784"/>
                <a:gd name="connsiteY17" fmla="*/ 37308 h 500870"/>
                <a:gd name="connsiteX18" fmla="*/ 1120146 w 1156784"/>
                <a:gd name="connsiteY18" fmla="*/ 250430 h 500870"/>
                <a:gd name="connsiteX19" fmla="*/ 906611 w 1156784"/>
                <a:gd name="connsiteY19" fmla="*/ 463553 h 500870"/>
                <a:gd name="connsiteX20" fmla="*/ 693075 w 1156784"/>
                <a:gd name="connsiteY20" fmla="*/ 250430 h 500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56784" h="500870">
                  <a:moveTo>
                    <a:pt x="1156785" y="250430"/>
                  </a:moveTo>
                  <a:cubicBezTo>
                    <a:pt x="1157010" y="112349"/>
                    <a:pt x="1045027" y="225"/>
                    <a:pt x="906678" y="0"/>
                  </a:cubicBezTo>
                  <a:cubicBezTo>
                    <a:pt x="775298" y="-213"/>
                    <a:pt x="666069" y="100919"/>
                    <a:pt x="656437" y="231698"/>
                  </a:cubicBezTo>
                  <a:lnTo>
                    <a:pt x="500557" y="231698"/>
                  </a:lnTo>
                  <a:cubicBezTo>
                    <a:pt x="490195" y="93942"/>
                    <a:pt x="369895" y="-9355"/>
                    <a:pt x="231873" y="999"/>
                  </a:cubicBezTo>
                  <a:cubicBezTo>
                    <a:pt x="93839" y="11341"/>
                    <a:pt x="-9647" y="131407"/>
                    <a:pt x="715" y="269163"/>
                  </a:cubicBezTo>
                  <a:cubicBezTo>
                    <a:pt x="11088" y="406918"/>
                    <a:pt x="131376" y="510215"/>
                    <a:pt x="269410" y="499862"/>
                  </a:cubicBezTo>
                  <a:cubicBezTo>
                    <a:pt x="393013" y="490597"/>
                    <a:pt x="491273" y="392538"/>
                    <a:pt x="500557" y="269163"/>
                  </a:cubicBezTo>
                  <a:lnTo>
                    <a:pt x="656437" y="269163"/>
                  </a:lnTo>
                  <a:cubicBezTo>
                    <a:pt x="666575" y="406873"/>
                    <a:pt x="786660" y="510305"/>
                    <a:pt x="924638" y="500187"/>
                  </a:cubicBezTo>
                  <a:cubicBezTo>
                    <a:pt x="1055670" y="490574"/>
                    <a:pt x="1156998" y="381557"/>
                    <a:pt x="1156785" y="250430"/>
                  </a:cubicBezTo>
                  <a:close/>
                  <a:moveTo>
                    <a:pt x="250832" y="463553"/>
                  </a:moveTo>
                  <a:cubicBezTo>
                    <a:pt x="132905" y="463553"/>
                    <a:pt x="37297" y="368130"/>
                    <a:pt x="37297" y="250430"/>
                  </a:cubicBezTo>
                  <a:cubicBezTo>
                    <a:pt x="37297" y="132731"/>
                    <a:pt x="132905" y="37308"/>
                    <a:pt x="250832" y="37308"/>
                  </a:cubicBezTo>
                  <a:cubicBezTo>
                    <a:pt x="368760" y="37308"/>
                    <a:pt x="464368" y="132731"/>
                    <a:pt x="464368" y="250430"/>
                  </a:cubicBezTo>
                  <a:cubicBezTo>
                    <a:pt x="464121" y="367962"/>
                    <a:pt x="368592" y="463104"/>
                    <a:pt x="250832" y="463104"/>
                  </a:cubicBezTo>
                  <a:close/>
                  <a:moveTo>
                    <a:pt x="693075" y="250430"/>
                  </a:moveTo>
                  <a:cubicBezTo>
                    <a:pt x="693075" y="132731"/>
                    <a:pt x="788683" y="37308"/>
                    <a:pt x="906611" y="37308"/>
                  </a:cubicBezTo>
                  <a:cubicBezTo>
                    <a:pt x="1024539" y="37308"/>
                    <a:pt x="1120146" y="132731"/>
                    <a:pt x="1120146" y="250430"/>
                  </a:cubicBezTo>
                  <a:cubicBezTo>
                    <a:pt x="1120146" y="368130"/>
                    <a:pt x="1024539" y="463553"/>
                    <a:pt x="906611" y="463553"/>
                  </a:cubicBezTo>
                  <a:cubicBezTo>
                    <a:pt x="788683" y="463553"/>
                    <a:pt x="693075" y="368130"/>
                    <a:pt x="693075" y="250430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4" name="Freeform 273">
              <a:extLst>
                <a:ext uri="{FF2B5EF4-FFF2-40B4-BE49-F238E27FC236}">
                  <a16:creationId xmlns:a16="http://schemas.microsoft.com/office/drawing/2014/main" id="{9CED0D63-246C-034A-BCB8-8BD92FEBD766}"/>
                </a:ext>
              </a:extLst>
            </p:cNvPr>
            <p:cNvSpPr/>
            <p:nvPr/>
          </p:nvSpPr>
          <p:spPr>
            <a:xfrm>
              <a:off x="7469670" y="3275198"/>
              <a:ext cx="282933" cy="99233"/>
            </a:xfrm>
            <a:custGeom>
              <a:avLst/>
              <a:gdLst>
                <a:gd name="connsiteX0" fmla="*/ 15695 w 282933"/>
                <a:gd name="connsiteY0" fmla="*/ 17433 h 99233"/>
                <a:gd name="connsiteX1" fmla="*/ 28171 w 282933"/>
                <a:gd name="connsiteY1" fmla="*/ 62301 h 99233"/>
                <a:gd name="connsiteX2" fmla="*/ 241706 w 282933"/>
                <a:gd name="connsiteY2" fmla="*/ 93597 h 99233"/>
                <a:gd name="connsiteX3" fmla="*/ 275422 w 282933"/>
                <a:gd name="connsiteY3" fmla="*/ 60506 h 99233"/>
                <a:gd name="connsiteX4" fmla="*/ 15695 w 282933"/>
                <a:gd name="connsiteY4" fmla="*/ 17433 h 99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2933" h="99233">
                  <a:moveTo>
                    <a:pt x="15695" y="17433"/>
                  </a:moveTo>
                  <a:cubicBezTo>
                    <a:pt x="-12064" y="28650"/>
                    <a:pt x="74" y="73518"/>
                    <a:pt x="28171" y="62301"/>
                  </a:cubicBezTo>
                  <a:cubicBezTo>
                    <a:pt x="99727" y="32980"/>
                    <a:pt x="181612" y="44982"/>
                    <a:pt x="241706" y="93597"/>
                  </a:cubicBezTo>
                  <a:cubicBezTo>
                    <a:pt x="264970" y="112441"/>
                    <a:pt x="297899" y="79575"/>
                    <a:pt x="275422" y="60506"/>
                  </a:cubicBezTo>
                  <a:cubicBezTo>
                    <a:pt x="203213" y="-76"/>
                    <a:pt x="103661" y="-16588"/>
                    <a:pt x="15695" y="17433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5" name="Freeform 274">
              <a:extLst>
                <a:ext uri="{FF2B5EF4-FFF2-40B4-BE49-F238E27FC236}">
                  <a16:creationId xmlns:a16="http://schemas.microsoft.com/office/drawing/2014/main" id="{6CD05A46-B451-B248-A27B-3A32A968D228}"/>
                </a:ext>
              </a:extLst>
            </p:cNvPr>
            <p:cNvSpPr/>
            <p:nvPr/>
          </p:nvSpPr>
          <p:spPr>
            <a:xfrm>
              <a:off x="6754655" y="3275572"/>
              <a:ext cx="282858" cy="99084"/>
            </a:xfrm>
            <a:custGeom>
              <a:avLst/>
              <a:gdLst>
                <a:gd name="connsiteX0" fmla="*/ 7950 w 282858"/>
                <a:gd name="connsiteY0" fmla="*/ 60357 h 99084"/>
                <a:gd name="connsiteX1" fmla="*/ 41104 w 282858"/>
                <a:gd name="connsiteY1" fmla="*/ 93447 h 99084"/>
                <a:gd name="connsiteX2" fmla="*/ 254639 w 282858"/>
                <a:gd name="connsiteY2" fmla="*/ 62152 h 99084"/>
                <a:gd name="connsiteX3" fmla="*/ 267114 w 282858"/>
                <a:gd name="connsiteY3" fmla="*/ 17284 h 99084"/>
                <a:gd name="connsiteX4" fmla="*/ 7950 w 282858"/>
                <a:gd name="connsiteY4" fmla="*/ 60357 h 99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2858" h="99084">
                  <a:moveTo>
                    <a:pt x="7950" y="60357"/>
                  </a:moveTo>
                  <a:cubicBezTo>
                    <a:pt x="-15427" y="79426"/>
                    <a:pt x="17952" y="112292"/>
                    <a:pt x="41104" y="93447"/>
                  </a:cubicBezTo>
                  <a:cubicBezTo>
                    <a:pt x="101197" y="44833"/>
                    <a:pt x="183082" y="32831"/>
                    <a:pt x="254639" y="62152"/>
                  </a:cubicBezTo>
                  <a:cubicBezTo>
                    <a:pt x="282736" y="73369"/>
                    <a:pt x="294986" y="27828"/>
                    <a:pt x="267114" y="17284"/>
                  </a:cubicBezTo>
                  <a:cubicBezTo>
                    <a:pt x="179306" y="-16513"/>
                    <a:pt x="80046" y="-13"/>
                    <a:pt x="7950" y="60357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6" name="Freeform 275">
              <a:extLst>
                <a:ext uri="{FF2B5EF4-FFF2-40B4-BE49-F238E27FC236}">
                  <a16:creationId xmlns:a16="http://schemas.microsoft.com/office/drawing/2014/main" id="{1C3D8E61-4D1B-6A45-AB8C-ADF13A8A30E2}"/>
                </a:ext>
              </a:extLst>
            </p:cNvPr>
            <p:cNvSpPr/>
            <p:nvPr/>
          </p:nvSpPr>
          <p:spPr>
            <a:xfrm>
              <a:off x="6482534" y="2898131"/>
              <a:ext cx="1244591" cy="323059"/>
            </a:xfrm>
            <a:custGeom>
              <a:avLst/>
              <a:gdLst>
                <a:gd name="connsiteX0" fmla="*/ 619029 w 1244591"/>
                <a:gd name="connsiteY0" fmla="*/ 316543 h 323059"/>
                <a:gd name="connsiteX1" fmla="*/ 1076670 w 1244591"/>
                <a:gd name="connsiteY1" fmla="*/ 71452 h 323059"/>
                <a:gd name="connsiteX2" fmla="*/ 1076670 w 1244591"/>
                <a:gd name="connsiteY2" fmla="*/ 168143 h 323059"/>
                <a:gd name="connsiteX3" fmla="*/ 1095405 w 1244591"/>
                <a:gd name="connsiteY3" fmla="*/ 186909 h 323059"/>
                <a:gd name="connsiteX4" fmla="*/ 1105553 w 1244591"/>
                <a:gd name="connsiteY4" fmla="*/ 183959 h 323059"/>
                <a:gd name="connsiteX5" fmla="*/ 1236596 w 1244591"/>
                <a:gd name="connsiteY5" fmla="*/ 99831 h 323059"/>
                <a:gd name="connsiteX6" fmla="*/ 1241193 w 1244591"/>
                <a:gd name="connsiteY6" fmla="*/ 73741 h 323059"/>
                <a:gd name="connsiteX7" fmla="*/ 1216367 w 1244591"/>
                <a:gd name="connsiteY7" fmla="*/ 68312 h 323059"/>
                <a:gd name="connsiteX8" fmla="*/ 1114094 w 1244591"/>
                <a:gd name="connsiteY8" fmla="*/ 133931 h 323059"/>
                <a:gd name="connsiteX9" fmla="*/ 1114094 w 1244591"/>
                <a:gd name="connsiteY9" fmla="*/ 18621 h 323059"/>
                <a:gd name="connsiteX10" fmla="*/ 1095213 w 1244591"/>
                <a:gd name="connsiteY10" fmla="*/ 0 h 323059"/>
                <a:gd name="connsiteX11" fmla="*/ 1080378 w 1244591"/>
                <a:gd name="connsiteY11" fmla="*/ 7404 h 323059"/>
                <a:gd name="connsiteX12" fmla="*/ 614084 w 1244591"/>
                <a:gd name="connsiteY12" fmla="*/ 278966 h 323059"/>
                <a:gd name="connsiteX13" fmla="*/ 29672 w 1244591"/>
                <a:gd name="connsiteY13" fmla="*/ 124397 h 323059"/>
                <a:gd name="connsiteX14" fmla="*/ 3486 w 1244591"/>
                <a:gd name="connsiteY14" fmla="*/ 128659 h 323059"/>
                <a:gd name="connsiteX15" fmla="*/ 7756 w 1244591"/>
                <a:gd name="connsiteY15" fmla="*/ 154795 h 323059"/>
                <a:gd name="connsiteX16" fmla="*/ 521478 w 1244591"/>
                <a:gd name="connsiteY16" fmla="*/ 323049 h 323059"/>
                <a:gd name="connsiteX17" fmla="*/ 619029 w 1244591"/>
                <a:gd name="connsiteY17" fmla="*/ 316543 h 323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44591" h="323059">
                  <a:moveTo>
                    <a:pt x="619029" y="316543"/>
                  </a:moveTo>
                  <a:cubicBezTo>
                    <a:pt x="795477" y="290396"/>
                    <a:pt x="957292" y="203734"/>
                    <a:pt x="1076670" y="71452"/>
                  </a:cubicBezTo>
                  <a:lnTo>
                    <a:pt x="1076670" y="168143"/>
                  </a:lnTo>
                  <a:cubicBezTo>
                    <a:pt x="1076647" y="178485"/>
                    <a:pt x="1085031" y="186886"/>
                    <a:pt x="1095405" y="186909"/>
                  </a:cubicBezTo>
                  <a:cubicBezTo>
                    <a:pt x="1099001" y="186920"/>
                    <a:pt x="1102519" y="185888"/>
                    <a:pt x="1105553" y="183959"/>
                  </a:cubicBezTo>
                  <a:lnTo>
                    <a:pt x="1236596" y="99831"/>
                  </a:lnTo>
                  <a:cubicBezTo>
                    <a:pt x="1245082" y="93886"/>
                    <a:pt x="1247138" y="82210"/>
                    <a:pt x="1241193" y="73741"/>
                  </a:cubicBezTo>
                  <a:cubicBezTo>
                    <a:pt x="1235585" y="65765"/>
                    <a:pt x="1224796" y="63410"/>
                    <a:pt x="1216367" y="68312"/>
                  </a:cubicBezTo>
                  <a:lnTo>
                    <a:pt x="1114094" y="133931"/>
                  </a:lnTo>
                  <a:lnTo>
                    <a:pt x="1114094" y="18621"/>
                  </a:lnTo>
                  <a:cubicBezTo>
                    <a:pt x="1114038" y="8278"/>
                    <a:pt x="1105576" y="-67"/>
                    <a:pt x="1095213" y="0"/>
                  </a:cubicBezTo>
                  <a:cubicBezTo>
                    <a:pt x="1089380" y="34"/>
                    <a:pt x="1083907" y="2771"/>
                    <a:pt x="1080378" y="7404"/>
                  </a:cubicBezTo>
                  <a:cubicBezTo>
                    <a:pt x="965260" y="153875"/>
                    <a:pt x="798489" y="250991"/>
                    <a:pt x="614084" y="278966"/>
                  </a:cubicBezTo>
                  <a:cubicBezTo>
                    <a:pt x="311875" y="323273"/>
                    <a:pt x="32369" y="126416"/>
                    <a:pt x="29672" y="124397"/>
                  </a:cubicBezTo>
                  <a:cubicBezTo>
                    <a:pt x="21265" y="118362"/>
                    <a:pt x="9543" y="120269"/>
                    <a:pt x="3486" y="128659"/>
                  </a:cubicBezTo>
                  <a:cubicBezTo>
                    <a:pt x="-2494" y="137072"/>
                    <a:pt x="-594" y="148715"/>
                    <a:pt x="7756" y="154795"/>
                  </a:cubicBezTo>
                  <a:cubicBezTo>
                    <a:pt x="18433" y="162422"/>
                    <a:pt x="246017" y="323049"/>
                    <a:pt x="521478" y="323049"/>
                  </a:cubicBezTo>
                  <a:cubicBezTo>
                    <a:pt x="554115" y="323229"/>
                    <a:pt x="586707" y="321052"/>
                    <a:pt x="619029" y="316543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7" name="Freeform 276">
              <a:extLst>
                <a:ext uri="{FF2B5EF4-FFF2-40B4-BE49-F238E27FC236}">
                  <a16:creationId xmlns:a16="http://schemas.microsoft.com/office/drawing/2014/main" id="{B3D1E42D-69C6-9D43-BC18-CF674FD7229F}"/>
                </a:ext>
              </a:extLst>
            </p:cNvPr>
            <p:cNvSpPr/>
            <p:nvPr/>
          </p:nvSpPr>
          <p:spPr>
            <a:xfrm>
              <a:off x="6851742" y="2905308"/>
              <a:ext cx="619464" cy="216489"/>
            </a:xfrm>
            <a:custGeom>
              <a:avLst/>
              <a:gdLst>
                <a:gd name="connsiteX0" fmla="*/ 585185 w 619464"/>
                <a:gd name="connsiteY0" fmla="*/ 8190 h 216489"/>
                <a:gd name="connsiteX1" fmla="*/ 448747 w 619464"/>
                <a:gd name="connsiteY1" fmla="*/ 110601 h 216489"/>
                <a:gd name="connsiteX2" fmla="*/ 20889 w 619464"/>
                <a:gd name="connsiteY2" fmla="*/ 169041 h 216489"/>
                <a:gd name="connsiteX3" fmla="*/ 120 w 619464"/>
                <a:gd name="connsiteY3" fmla="*/ 185541 h 216489"/>
                <a:gd name="connsiteX4" fmla="*/ 15270 w 619464"/>
                <a:gd name="connsiteY4" fmla="*/ 206057 h 216489"/>
                <a:gd name="connsiteX5" fmla="*/ 150921 w 619464"/>
                <a:gd name="connsiteY5" fmla="*/ 216489 h 216489"/>
                <a:gd name="connsiteX6" fmla="*/ 614518 w 619464"/>
                <a:gd name="connsiteY6" fmla="*/ 31409 h 216489"/>
                <a:gd name="connsiteX7" fmla="*/ 613394 w 619464"/>
                <a:gd name="connsiteY7" fmla="*/ 4937 h 216489"/>
                <a:gd name="connsiteX8" fmla="*/ 586870 w 619464"/>
                <a:gd name="connsiteY8" fmla="*/ 6059 h 216489"/>
                <a:gd name="connsiteX9" fmla="*/ 585185 w 619464"/>
                <a:gd name="connsiteY9" fmla="*/ 8190 h 216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19464" h="216489">
                  <a:moveTo>
                    <a:pt x="585185" y="8190"/>
                  </a:moveTo>
                  <a:cubicBezTo>
                    <a:pt x="546625" y="50657"/>
                    <a:pt x="500321" y="85419"/>
                    <a:pt x="448747" y="110601"/>
                  </a:cubicBezTo>
                  <a:cubicBezTo>
                    <a:pt x="364456" y="154011"/>
                    <a:pt x="221725" y="199215"/>
                    <a:pt x="20889" y="169041"/>
                  </a:cubicBezTo>
                  <a:cubicBezTo>
                    <a:pt x="10594" y="167875"/>
                    <a:pt x="1289" y="175267"/>
                    <a:pt x="120" y="185541"/>
                  </a:cubicBezTo>
                  <a:cubicBezTo>
                    <a:pt x="-981" y="195278"/>
                    <a:pt x="5616" y="204229"/>
                    <a:pt x="15270" y="206057"/>
                  </a:cubicBezTo>
                  <a:cubicBezTo>
                    <a:pt x="60157" y="212922"/>
                    <a:pt x="105505" y="216411"/>
                    <a:pt x="150921" y="216489"/>
                  </a:cubicBezTo>
                  <a:cubicBezTo>
                    <a:pt x="463470" y="216489"/>
                    <a:pt x="607775" y="39934"/>
                    <a:pt x="614518" y="31409"/>
                  </a:cubicBezTo>
                  <a:cubicBezTo>
                    <a:pt x="621531" y="23793"/>
                    <a:pt x="621025" y="11936"/>
                    <a:pt x="613394" y="4937"/>
                  </a:cubicBezTo>
                  <a:cubicBezTo>
                    <a:pt x="605763" y="-2062"/>
                    <a:pt x="593883" y="-1558"/>
                    <a:pt x="586870" y="6059"/>
                  </a:cubicBezTo>
                  <a:cubicBezTo>
                    <a:pt x="586264" y="6732"/>
                    <a:pt x="585691" y="7438"/>
                    <a:pt x="585185" y="8190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8" name="Freeform 277">
              <a:extLst>
                <a:ext uri="{FF2B5EF4-FFF2-40B4-BE49-F238E27FC236}">
                  <a16:creationId xmlns:a16="http://schemas.microsoft.com/office/drawing/2014/main" id="{344C2A61-4CBA-4B45-8AE1-70BD86E1174B}"/>
                </a:ext>
              </a:extLst>
            </p:cNvPr>
            <p:cNvSpPr/>
            <p:nvPr/>
          </p:nvSpPr>
          <p:spPr>
            <a:xfrm>
              <a:off x="7728760" y="2923342"/>
              <a:ext cx="314394" cy="196884"/>
            </a:xfrm>
            <a:custGeom>
              <a:avLst/>
              <a:gdLst>
                <a:gd name="connsiteX0" fmla="*/ 278306 w 314394"/>
                <a:gd name="connsiteY0" fmla="*/ 184995 h 196884"/>
                <a:gd name="connsiteX1" fmla="*/ 295727 w 314394"/>
                <a:gd name="connsiteY1" fmla="*/ 196885 h 196884"/>
                <a:gd name="connsiteX2" fmla="*/ 314394 w 314394"/>
                <a:gd name="connsiteY2" fmla="*/ 177827 h 196884"/>
                <a:gd name="connsiteX3" fmla="*/ 313147 w 314394"/>
                <a:gd name="connsiteY3" fmla="*/ 171310 h 196884"/>
                <a:gd name="connsiteX4" fmla="*/ 170415 w 314394"/>
                <a:gd name="connsiteY4" fmla="*/ 10346 h 196884"/>
                <a:gd name="connsiteX5" fmla="*/ 10713 w 314394"/>
                <a:gd name="connsiteY5" fmla="*/ 24256 h 196884"/>
                <a:gd name="connsiteX6" fmla="*/ 1823 w 314394"/>
                <a:gd name="connsiteY6" fmla="*/ 49213 h 196884"/>
                <a:gd name="connsiteX7" fmla="*/ 26829 w 314394"/>
                <a:gd name="connsiteY7" fmla="*/ 58097 h 196884"/>
                <a:gd name="connsiteX8" fmla="*/ 29144 w 314394"/>
                <a:gd name="connsiteY8" fmla="*/ 56785 h 196884"/>
                <a:gd name="connsiteX9" fmla="*/ 157828 w 314394"/>
                <a:gd name="connsiteY9" fmla="*/ 45568 h 196884"/>
                <a:gd name="connsiteX10" fmla="*/ 278306 w 314394"/>
                <a:gd name="connsiteY10" fmla="*/ 184995 h 196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14394" h="196884">
                  <a:moveTo>
                    <a:pt x="278306" y="184995"/>
                  </a:moveTo>
                  <a:cubicBezTo>
                    <a:pt x="281149" y="192129"/>
                    <a:pt x="288039" y="196829"/>
                    <a:pt x="295727" y="196885"/>
                  </a:cubicBezTo>
                  <a:cubicBezTo>
                    <a:pt x="306156" y="196761"/>
                    <a:pt x="314506" y="188236"/>
                    <a:pt x="314394" y="177827"/>
                  </a:cubicBezTo>
                  <a:cubicBezTo>
                    <a:pt x="314360" y="175595"/>
                    <a:pt x="313944" y="173396"/>
                    <a:pt x="313147" y="171310"/>
                  </a:cubicBezTo>
                  <a:cubicBezTo>
                    <a:pt x="279430" y="86173"/>
                    <a:pt x="231666" y="31995"/>
                    <a:pt x="170415" y="10346"/>
                  </a:cubicBezTo>
                  <a:cubicBezTo>
                    <a:pt x="88147" y="-18705"/>
                    <a:pt x="13860" y="22461"/>
                    <a:pt x="10713" y="24256"/>
                  </a:cubicBezTo>
                  <a:cubicBezTo>
                    <a:pt x="1351" y="28697"/>
                    <a:pt x="-2628" y="39870"/>
                    <a:pt x="1823" y="49213"/>
                  </a:cubicBezTo>
                  <a:cubicBezTo>
                    <a:pt x="6274" y="58557"/>
                    <a:pt x="17467" y="62528"/>
                    <a:pt x="26829" y="58097"/>
                  </a:cubicBezTo>
                  <a:cubicBezTo>
                    <a:pt x="27627" y="57716"/>
                    <a:pt x="28403" y="57278"/>
                    <a:pt x="29144" y="56785"/>
                  </a:cubicBezTo>
                  <a:cubicBezTo>
                    <a:pt x="29819" y="56785"/>
                    <a:pt x="91631" y="22124"/>
                    <a:pt x="157828" y="45568"/>
                  </a:cubicBezTo>
                  <a:cubicBezTo>
                    <a:pt x="208514" y="63515"/>
                    <a:pt x="248973" y="110402"/>
                    <a:pt x="278306" y="184995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9" name="Freeform 278">
              <a:extLst>
                <a:ext uri="{FF2B5EF4-FFF2-40B4-BE49-F238E27FC236}">
                  <a16:creationId xmlns:a16="http://schemas.microsoft.com/office/drawing/2014/main" id="{F177F267-D7F5-F749-B071-DC81F957CE2F}"/>
                </a:ext>
              </a:extLst>
            </p:cNvPr>
            <p:cNvSpPr/>
            <p:nvPr/>
          </p:nvSpPr>
          <p:spPr>
            <a:xfrm>
              <a:off x="7596295" y="2630006"/>
              <a:ext cx="67962" cy="193531"/>
            </a:xfrm>
            <a:custGeom>
              <a:avLst/>
              <a:gdLst>
                <a:gd name="connsiteX0" fmla="*/ 30566 w 67962"/>
                <a:gd name="connsiteY0" fmla="*/ 16304 h 193531"/>
                <a:gd name="connsiteX1" fmla="*/ 447 w 67962"/>
                <a:gd name="connsiteY1" fmla="*/ 171098 h 193531"/>
                <a:gd name="connsiteX2" fmla="*/ 14709 w 67962"/>
                <a:gd name="connsiteY2" fmla="*/ 193442 h 193531"/>
                <a:gd name="connsiteX3" fmla="*/ 15169 w 67962"/>
                <a:gd name="connsiteY3" fmla="*/ 193532 h 193531"/>
                <a:gd name="connsiteX4" fmla="*/ 18766 w 67962"/>
                <a:gd name="connsiteY4" fmla="*/ 193532 h 193531"/>
                <a:gd name="connsiteX5" fmla="*/ 37197 w 67962"/>
                <a:gd name="connsiteY5" fmla="*/ 178389 h 193531"/>
                <a:gd name="connsiteX6" fmla="*/ 67317 w 67962"/>
                <a:gd name="connsiteY6" fmla="*/ 23595 h 193531"/>
                <a:gd name="connsiteX7" fmla="*/ 54055 w 67962"/>
                <a:gd name="connsiteY7" fmla="*/ 645 h 193531"/>
                <a:gd name="connsiteX8" fmla="*/ 31061 w 67962"/>
                <a:gd name="connsiteY8" fmla="*/ 13881 h 193531"/>
                <a:gd name="connsiteX9" fmla="*/ 30566 w 67962"/>
                <a:gd name="connsiteY9" fmla="*/ 16416 h 193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7962" h="193531">
                  <a:moveTo>
                    <a:pt x="30566" y="16304"/>
                  </a:moveTo>
                  <a:lnTo>
                    <a:pt x="447" y="171098"/>
                  </a:lnTo>
                  <a:cubicBezTo>
                    <a:pt x="-1790" y="181193"/>
                    <a:pt x="4593" y="191199"/>
                    <a:pt x="14709" y="193442"/>
                  </a:cubicBezTo>
                  <a:cubicBezTo>
                    <a:pt x="14866" y="193476"/>
                    <a:pt x="15012" y="193498"/>
                    <a:pt x="15169" y="193532"/>
                  </a:cubicBezTo>
                  <a:lnTo>
                    <a:pt x="18766" y="193532"/>
                  </a:lnTo>
                  <a:cubicBezTo>
                    <a:pt x="27734" y="193498"/>
                    <a:pt x="35433" y="187161"/>
                    <a:pt x="37197" y="178389"/>
                  </a:cubicBezTo>
                  <a:lnTo>
                    <a:pt x="67317" y="23595"/>
                  </a:lnTo>
                  <a:cubicBezTo>
                    <a:pt x="70003" y="13600"/>
                    <a:pt x="64069" y="3326"/>
                    <a:pt x="54055" y="645"/>
                  </a:cubicBezTo>
                  <a:cubicBezTo>
                    <a:pt x="44041" y="-2036"/>
                    <a:pt x="33747" y="3887"/>
                    <a:pt x="31061" y="13881"/>
                  </a:cubicBezTo>
                  <a:cubicBezTo>
                    <a:pt x="30836" y="14711"/>
                    <a:pt x="30679" y="15563"/>
                    <a:pt x="30566" y="16416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0" name="Freeform 279">
              <a:extLst>
                <a:ext uri="{FF2B5EF4-FFF2-40B4-BE49-F238E27FC236}">
                  <a16:creationId xmlns:a16="http://schemas.microsoft.com/office/drawing/2014/main" id="{17B7649A-EF16-AC4C-B09F-7439F895C20E}"/>
                </a:ext>
              </a:extLst>
            </p:cNvPr>
            <p:cNvSpPr/>
            <p:nvPr/>
          </p:nvSpPr>
          <p:spPr>
            <a:xfrm>
              <a:off x="3799803" y="2972161"/>
              <a:ext cx="6192019" cy="3402669"/>
            </a:xfrm>
            <a:custGeom>
              <a:avLst/>
              <a:gdLst>
                <a:gd name="connsiteX0" fmla="*/ 356995 w 6192019"/>
                <a:gd name="connsiteY0" fmla="*/ 1791689 h 3402669"/>
                <a:gd name="connsiteX1" fmla="*/ 477361 w 6192019"/>
                <a:gd name="connsiteY1" fmla="*/ 1770601 h 3402669"/>
                <a:gd name="connsiteX2" fmla="*/ 641896 w 6192019"/>
                <a:gd name="connsiteY2" fmla="*/ 2022534 h 3402669"/>
                <a:gd name="connsiteX3" fmla="*/ 642795 w 6192019"/>
                <a:gd name="connsiteY3" fmla="*/ 2023768 h 3402669"/>
                <a:gd name="connsiteX4" fmla="*/ 721466 w 6192019"/>
                <a:gd name="connsiteY4" fmla="*/ 2039135 h 3402669"/>
                <a:gd name="connsiteX5" fmla="*/ 781031 w 6192019"/>
                <a:gd name="connsiteY5" fmla="*/ 2000212 h 3402669"/>
                <a:gd name="connsiteX6" fmla="*/ 805869 w 6192019"/>
                <a:gd name="connsiteY6" fmla="*/ 1964542 h 3402669"/>
                <a:gd name="connsiteX7" fmla="*/ 797889 w 6192019"/>
                <a:gd name="connsiteY7" fmla="*/ 1921581 h 3402669"/>
                <a:gd name="connsiteX8" fmla="*/ 794967 w 6192019"/>
                <a:gd name="connsiteY8" fmla="*/ 1917095 h 3402669"/>
                <a:gd name="connsiteX9" fmla="*/ 804520 w 6192019"/>
                <a:gd name="connsiteY9" fmla="*/ 1919562 h 3402669"/>
                <a:gd name="connsiteX10" fmla="*/ 856218 w 6192019"/>
                <a:gd name="connsiteY10" fmla="*/ 1976208 h 3402669"/>
                <a:gd name="connsiteX11" fmla="*/ 868805 w 6192019"/>
                <a:gd name="connsiteY11" fmla="*/ 1985967 h 3402669"/>
                <a:gd name="connsiteX12" fmla="*/ 871840 w 6192019"/>
                <a:gd name="connsiteY12" fmla="*/ 1985967 h 3402669"/>
                <a:gd name="connsiteX13" fmla="*/ 881280 w 6192019"/>
                <a:gd name="connsiteY13" fmla="*/ 1970375 h 3402669"/>
                <a:gd name="connsiteX14" fmla="*/ 813848 w 6192019"/>
                <a:gd name="connsiteY14" fmla="*/ 1895895 h 3402669"/>
                <a:gd name="connsiteX15" fmla="*/ 743606 w 6192019"/>
                <a:gd name="connsiteY15" fmla="*/ 1889164 h 3402669"/>
                <a:gd name="connsiteX16" fmla="*/ 664149 w 6192019"/>
                <a:gd name="connsiteY16" fmla="*/ 1875704 h 3402669"/>
                <a:gd name="connsiteX17" fmla="*/ 660889 w 6192019"/>
                <a:gd name="connsiteY17" fmla="*/ 1856411 h 3402669"/>
                <a:gd name="connsiteX18" fmla="*/ 731581 w 6192019"/>
                <a:gd name="connsiteY18" fmla="*/ 1761964 h 3402669"/>
                <a:gd name="connsiteX19" fmla="*/ 982092 w 6192019"/>
                <a:gd name="connsiteY19" fmla="*/ 1909691 h 3402669"/>
                <a:gd name="connsiteX20" fmla="*/ 844305 w 6192019"/>
                <a:gd name="connsiteY20" fmla="*/ 2206829 h 3402669"/>
                <a:gd name="connsiteX21" fmla="*/ 648864 w 6192019"/>
                <a:gd name="connsiteY21" fmla="*/ 2131002 h 3402669"/>
                <a:gd name="connsiteX22" fmla="*/ 521867 w 6192019"/>
                <a:gd name="connsiteY22" fmla="*/ 2012327 h 3402669"/>
                <a:gd name="connsiteX23" fmla="*/ 390374 w 6192019"/>
                <a:gd name="connsiteY23" fmla="*/ 1873797 h 3402669"/>
                <a:gd name="connsiteX24" fmla="*/ 442297 w 6192019"/>
                <a:gd name="connsiteY24" fmla="*/ 1848447 h 3402669"/>
                <a:gd name="connsiteX25" fmla="*/ 469494 w 6192019"/>
                <a:gd name="connsiteY25" fmla="*/ 1859664 h 3402669"/>
                <a:gd name="connsiteX26" fmla="*/ 571991 w 6192019"/>
                <a:gd name="connsiteY26" fmla="*/ 1984060 h 3402669"/>
                <a:gd name="connsiteX27" fmla="*/ 589737 w 6192019"/>
                <a:gd name="connsiteY27" fmla="*/ 1988435 h 3402669"/>
                <a:gd name="connsiteX28" fmla="*/ 594120 w 6192019"/>
                <a:gd name="connsiteY28" fmla="*/ 1970723 h 3402669"/>
                <a:gd name="connsiteX29" fmla="*/ 592895 w 6192019"/>
                <a:gd name="connsiteY29" fmla="*/ 1969029 h 3402669"/>
                <a:gd name="connsiteX30" fmla="*/ 487813 w 6192019"/>
                <a:gd name="connsiteY30" fmla="*/ 1841492 h 3402669"/>
                <a:gd name="connsiteX31" fmla="*/ 441622 w 6192019"/>
                <a:gd name="connsiteY31" fmla="*/ 1822311 h 3402669"/>
                <a:gd name="connsiteX32" fmla="*/ 362951 w 6192019"/>
                <a:gd name="connsiteY32" fmla="*/ 1864263 h 3402669"/>
                <a:gd name="connsiteX33" fmla="*/ 362951 w 6192019"/>
                <a:gd name="connsiteY33" fmla="*/ 1881873 h 3402669"/>
                <a:gd name="connsiteX34" fmla="*/ 503885 w 6192019"/>
                <a:gd name="connsiteY34" fmla="*/ 2030274 h 3402669"/>
                <a:gd name="connsiteX35" fmla="*/ 633130 w 6192019"/>
                <a:gd name="connsiteY35" fmla="*/ 2151978 h 3402669"/>
                <a:gd name="connsiteX36" fmla="*/ 637288 w 6192019"/>
                <a:gd name="connsiteY36" fmla="*/ 2154558 h 3402669"/>
                <a:gd name="connsiteX37" fmla="*/ 833516 w 6192019"/>
                <a:gd name="connsiteY37" fmla="*/ 2230497 h 3402669"/>
                <a:gd name="connsiteX38" fmla="*/ 826548 w 6192019"/>
                <a:gd name="connsiteY38" fmla="*/ 2245527 h 3402669"/>
                <a:gd name="connsiteX39" fmla="*/ 835325 w 6192019"/>
                <a:gd name="connsiteY39" fmla="*/ 2270194 h 3402669"/>
                <a:gd name="connsiteX40" fmla="*/ 836101 w 6192019"/>
                <a:gd name="connsiteY40" fmla="*/ 2270541 h 3402669"/>
                <a:gd name="connsiteX41" fmla="*/ 932529 w 6192019"/>
                <a:gd name="connsiteY41" fmla="*/ 2311820 h 3402669"/>
                <a:gd name="connsiteX42" fmla="*/ 931855 w 6192019"/>
                <a:gd name="connsiteY42" fmla="*/ 2313390 h 3402669"/>
                <a:gd name="connsiteX43" fmla="*/ 941070 w 6192019"/>
                <a:gd name="connsiteY43" fmla="*/ 2338180 h 3402669"/>
                <a:gd name="connsiteX44" fmla="*/ 2173732 w 6192019"/>
                <a:gd name="connsiteY44" fmla="*/ 2844626 h 3402669"/>
                <a:gd name="connsiteX45" fmla="*/ 2176654 w 6192019"/>
                <a:gd name="connsiteY45" fmla="*/ 2844626 h 3402669"/>
                <a:gd name="connsiteX46" fmla="*/ 2753762 w 6192019"/>
                <a:gd name="connsiteY46" fmla="*/ 2501050 h 3402669"/>
                <a:gd name="connsiteX47" fmla="*/ 2746569 w 6192019"/>
                <a:gd name="connsiteY47" fmla="*/ 3383826 h 3402669"/>
                <a:gd name="connsiteX48" fmla="*/ 2765225 w 6192019"/>
                <a:gd name="connsiteY48" fmla="*/ 3402670 h 3402669"/>
                <a:gd name="connsiteX49" fmla="*/ 2765225 w 6192019"/>
                <a:gd name="connsiteY49" fmla="*/ 3402670 h 3402669"/>
                <a:gd name="connsiteX50" fmla="*/ 2783994 w 6192019"/>
                <a:gd name="connsiteY50" fmla="*/ 3384162 h 3402669"/>
                <a:gd name="connsiteX51" fmla="*/ 2792310 w 6192019"/>
                <a:gd name="connsiteY51" fmla="*/ 2362184 h 3402669"/>
                <a:gd name="connsiteX52" fmla="*/ 2773654 w 6192019"/>
                <a:gd name="connsiteY52" fmla="*/ 2343339 h 3402669"/>
                <a:gd name="connsiteX53" fmla="*/ 2773654 w 6192019"/>
                <a:gd name="connsiteY53" fmla="*/ 2343339 h 3402669"/>
                <a:gd name="connsiteX54" fmla="*/ 2773654 w 6192019"/>
                <a:gd name="connsiteY54" fmla="*/ 2343339 h 3402669"/>
                <a:gd name="connsiteX55" fmla="*/ 2754885 w 6192019"/>
                <a:gd name="connsiteY55" fmla="*/ 2361847 h 3402669"/>
                <a:gd name="connsiteX56" fmla="*/ 2754211 w 6192019"/>
                <a:gd name="connsiteY56" fmla="*/ 2455060 h 3402669"/>
                <a:gd name="connsiteX57" fmla="*/ 2173620 w 6192019"/>
                <a:gd name="connsiteY57" fmla="*/ 2807049 h 3402669"/>
                <a:gd name="connsiteX58" fmla="*/ 973550 w 6192019"/>
                <a:gd name="connsiteY58" fmla="*/ 2311596 h 3402669"/>
                <a:gd name="connsiteX59" fmla="*/ 1143255 w 6192019"/>
                <a:gd name="connsiteY59" fmla="*/ 1937173 h 3402669"/>
                <a:gd name="connsiteX60" fmla="*/ 2148332 w 6192019"/>
                <a:gd name="connsiteY60" fmla="*/ 2345695 h 3402669"/>
                <a:gd name="connsiteX61" fmla="*/ 2166314 w 6192019"/>
                <a:gd name="connsiteY61" fmla="*/ 2343564 h 3402669"/>
                <a:gd name="connsiteX62" fmla="*/ 2625640 w 6192019"/>
                <a:gd name="connsiteY62" fmla="*/ 2017374 h 3402669"/>
                <a:gd name="connsiteX63" fmla="*/ 3146892 w 6192019"/>
                <a:gd name="connsiteY63" fmla="*/ 1679856 h 3402669"/>
                <a:gd name="connsiteX64" fmla="*/ 3184541 w 6192019"/>
                <a:gd name="connsiteY64" fmla="*/ 1884229 h 3402669"/>
                <a:gd name="connsiteX65" fmla="*/ 3187913 w 6192019"/>
                <a:gd name="connsiteY65" fmla="*/ 1890847 h 3402669"/>
                <a:gd name="connsiteX66" fmla="*/ 3272653 w 6192019"/>
                <a:gd name="connsiteY66" fmla="*/ 1978339 h 3402669"/>
                <a:gd name="connsiteX67" fmla="*/ 3281869 w 6192019"/>
                <a:gd name="connsiteY67" fmla="*/ 1982265 h 3402669"/>
                <a:gd name="connsiteX68" fmla="*/ 3281869 w 6192019"/>
                <a:gd name="connsiteY68" fmla="*/ 1982265 h 3402669"/>
                <a:gd name="connsiteX69" fmla="*/ 3290972 w 6192019"/>
                <a:gd name="connsiteY69" fmla="*/ 1978564 h 3402669"/>
                <a:gd name="connsiteX70" fmla="*/ 3350087 w 6192019"/>
                <a:gd name="connsiteY70" fmla="*/ 1919338 h 3402669"/>
                <a:gd name="connsiteX71" fmla="*/ 3387962 w 6192019"/>
                <a:gd name="connsiteY71" fmla="*/ 1972170 h 3402669"/>
                <a:gd name="connsiteX72" fmla="*/ 3382567 w 6192019"/>
                <a:gd name="connsiteY72" fmla="*/ 1980919 h 3402669"/>
                <a:gd name="connsiteX73" fmla="*/ 3297715 w 6192019"/>
                <a:gd name="connsiteY73" fmla="*/ 2688710 h 3402669"/>
                <a:gd name="connsiteX74" fmla="*/ 3308954 w 6192019"/>
                <a:gd name="connsiteY74" fmla="*/ 2702843 h 3402669"/>
                <a:gd name="connsiteX75" fmla="*/ 3311201 w 6192019"/>
                <a:gd name="connsiteY75" fmla="*/ 2702843 h 3402669"/>
                <a:gd name="connsiteX76" fmla="*/ 3324014 w 6192019"/>
                <a:gd name="connsiteY76" fmla="*/ 2691626 h 3402669"/>
                <a:gd name="connsiteX77" fmla="*/ 3406955 w 6192019"/>
                <a:gd name="connsiteY77" fmla="*/ 1998193 h 3402669"/>
                <a:gd name="connsiteX78" fmla="*/ 3415946 w 6192019"/>
                <a:gd name="connsiteY78" fmla="*/ 2010756 h 3402669"/>
                <a:gd name="connsiteX79" fmla="*/ 3426286 w 6192019"/>
                <a:gd name="connsiteY79" fmla="*/ 2016141 h 3402669"/>
                <a:gd name="connsiteX80" fmla="*/ 3426286 w 6192019"/>
                <a:gd name="connsiteY80" fmla="*/ 2016141 h 3402669"/>
                <a:gd name="connsiteX81" fmla="*/ 3436513 w 6192019"/>
                <a:gd name="connsiteY81" fmla="*/ 2010981 h 3402669"/>
                <a:gd name="connsiteX82" fmla="*/ 3443481 w 6192019"/>
                <a:gd name="connsiteY82" fmla="*/ 2001783 h 3402669"/>
                <a:gd name="connsiteX83" fmla="*/ 3491583 w 6192019"/>
                <a:gd name="connsiteY83" fmla="*/ 2703741 h 3402669"/>
                <a:gd name="connsiteX84" fmla="*/ 3504507 w 6192019"/>
                <a:gd name="connsiteY84" fmla="*/ 2715743 h 3402669"/>
                <a:gd name="connsiteX85" fmla="*/ 3505406 w 6192019"/>
                <a:gd name="connsiteY85" fmla="*/ 2715743 h 3402669"/>
                <a:gd name="connsiteX86" fmla="*/ 3517319 w 6192019"/>
                <a:gd name="connsiteY86" fmla="*/ 2702125 h 3402669"/>
                <a:gd name="connsiteX87" fmla="*/ 3517319 w 6192019"/>
                <a:gd name="connsiteY87" fmla="*/ 2702058 h 3402669"/>
                <a:gd name="connsiteX88" fmla="*/ 3467757 w 6192019"/>
                <a:gd name="connsiteY88" fmla="*/ 1978227 h 3402669"/>
                <a:gd name="connsiteX89" fmla="*/ 3465734 w 6192019"/>
                <a:gd name="connsiteY89" fmla="*/ 1972282 h 3402669"/>
                <a:gd name="connsiteX90" fmla="*/ 3507205 w 6192019"/>
                <a:gd name="connsiteY90" fmla="*/ 1917319 h 3402669"/>
                <a:gd name="connsiteX91" fmla="*/ 3566320 w 6192019"/>
                <a:gd name="connsiteY91" fmla="*/ 1978676 h 3402669"/>
                <a:gd name="connsiteX92" fmla="*/ 3575761 w 6192019"/>
                <a:gd name="connsiteY92" fmla="*/ 1982714 h 3402669"/>
                <a:gd name="connsiteX93" fmla="*/ 3575761 w 6192019"/>
                <a:gd name="connsiteY93" fmla="*/ 1982714 h 3402669"/>
                <a:gd name="connsiteX94" fmla="*/ 3585089 w 6192019"/>
                <a:gd name="connsiteY94" fmla="*/ 1978788 h 3402669"/>
                <a:gd name="connsiteX95" fmla="*/ 3677471 w 6192019"/>
                <a:gd name="connsiteY95" fmla="*/ 1881761 h 3402669"/>
                <a:gd name="connsiteX96" fmla="*/ 3680955 w 6192019"/>
                <a:gd name="connsiteY96" fmla="*/ 1874694 h 3402669"/>
                <a:gd name="connsiteX97" fmla="*/ 3710737 w 6192019"/>
                <a:gd name="connsiteY97" fmla="*/ 1665162 h 3402669"/>
                <a:gd name="connsiteX98" fmla="*/ 4206477 w 6192019"/>
                <a:gd name="connsiteY98" fmla="*/ 1972506 h 3402669"/>
                <a:gd name="connsiteX99" fmla="*/ 4208725 w 6192019"/>
                <a:gd name="connsiteY99" fmla="*/ 1974189 h 3402669"/>
                <a:gd name="connsiteX100" fmla="*/ 4283799 w 6192019"/>
                <a:gd name="connsiteY100" fmla="*/ 2021412 h 3402669"/>
                <a:gd name="connsiteX101" fmla="*/ 4743575 w 6192019"/>
                <a:gd name="connsiteY101" fmla="*/ 2347938 h 3402669"/>
                <a:gd name="connsiteX102" fmla="*/ 4769750 w 6192019"/>
                <a:gd name="connsiteY102" fmla="*/ 2343575 h 3402669"/>
                <a:gd name="connsiteX103" fmla="*/ 4769761 w 6192019"/>
                <a:gd name="connsiteY103" fmla="*/ 2343564 h 3402669"/>
                <a:gd name="connsiteX104" fmla="*/ 4773020 w 6192019"/>
                <a:gd name="connsiteY104" fmla="*/ 2331225 h 3402669"/>
                <a:gd name="connsiteX105" fmla="*/ 5197618 w 6192019"/>
                <a:gd name="connsiteY105" fmla="*/ 1342001 h 3402669"/>
                <a:gd name="connsiteX106" fmla="*/ 5581982 w 6192019"/>
                <a:gd name="connsiteY106" fmla="*/ 1489280 h 3402669"/>
                <a:gd name="connsiteX107" fmla="*/ 5022632 w 6192019"/>
                <a:gd name="connsiteY107" fmla="*/ 2846533 h 3402669"/>
                <a:gd name="connsiteX108" fmla="*/ 5031061 w 6192019"/>
                <a:gd name="connsiteY108" fmla="*/ 2871547 h 3402669"/>
                <a:gd name="connsiteX109" fmla="*/ 5039378 w 6192019"/>
                <a:gd name="connsiteY109" fmla="*/ 2873565 h 3402669"/>
                <a:gd name="connsiteX110" fmla="*/ 5056236 w 6192019"/>
                <a:gd name="connsiteY110" fmla="*/ 2863134 h 3402669"/>
                <a:gd name="connsiteX111" fmla="*/ 5623678 w 6192019"/>
                <a:gd name="connsiteY111" fmla="*/ 1485354 h 3402669"/>
                <a:gd name="connsiteX112" fmla="*/ 5612799 w 6192019"/>
                <a:gd name="connsiteY112" fmla="*/ 1461372 h 3402669"/>
                <a:gd name="connsiteX113" fmla="*/ 5612439 w 6192019"/>
                <a:gd name="connsiteY113" fmla="*/ 1461237 h 3402669"/>
                <a:gd name="connsiteX114" fmla="*/ 5587827 w 6192019"/>
                <a:gd name="connsiteY114" fmla="*/ 1451815 h 3402669"/>
                <a:gd name="connsiteX115" fmla="*/ 5631995 w 6192019"/>
                <a:gd name="connsiteY115" fmla="*/ 1357031 h 3402669"/>
                <a:gd name="connsiteX116" fmla="*/ 5631995 w 6192019"/>
                <a:gd name="connsiteY116" fmla="*/ 1346712 h 3402669"/>
                <a:gd name="connsiteX117" fmla="*/ 5624577 w 6192019"/>
                <a:gd name="connsiteY117" fmla="*/ 1339533 h 3402669"/>
                <a:gd name="connsiteX118" fmla="*/ 5621543 w 6192019"/>
                <a:gd name="connsiteY118" fmla="*/ 1338411 h 3402669"/>
                <a:gd name="connsiteX119" fmla="*/ 5709766 w 6192019"/>
                <a:gd name="connsiteY119" fmla="*/ 1141441 h 3402669"/>
                <a:gd name="connsiteX120" fmla="*/ 5710891 w 6192019"/>
                <a:gd name="connsiteY120" fmla="*/ 1136618 h 3402669"/>
                <a:gd name="connsiteX121" fmla="*/ 5768995 w 6192019"/>
                <a:gd name="connsiteY121" fmla="*/ 929328 h 3402669"/>
                <a:gd name="connsiteX122" fmla="*/ 5757767 w 6192019"/>
                <a:gd name="connsiteY122" fmla="*/ 914937 h 3402669"/>
                <a:gd name="connsiteX123" fmla="*/ 5743348 w 6192019"/>
                <a:gd name="connsiteY123" fmla="*/ 926143 h 3402669"/>
                <a:gd name="connsiteX124" fmla="*/ 5743258 w 6192019"/>
                <a:gd name="connsiteY124" fmla="*/ 928319 h 3402669"/>
                <a:gd name="connsiteX125" fmla="*/ 5685828 w 6192019"/>
                <a:gd name="connsiteY125" fmla="*/ 1133141 h 3402669"/>
                <a:gd name="connsiteX126" fmla="*/ 5597941 w 6192019"/>
                <a:gd name="connsiteY126" fmla="*/ 1329325 h 3402669"/>
                <a:gd name="connsiteX127" fmla="*/ 5291911 w 6192019"/>
                <a:gd name="connsiteY127" fmla="*/ 1214912 h 3402669"/>
                <a:gd name="connsiteX128" fmla="*/ 5367885 w 6192019"/>
                <a:gd name="connsiteY128" fmla="*/ 928319 h 3402669"/>
                <a:gd name="connsiteX129" fmla="*/ 5484768 w 6192019"/>
                <a:gd name="connsiteY129" fmla="*/ 945930 h 3402669"/>
                <a:gd name="connsiteX130" fmla="*/ 5496007 w 6192019"/>
                <a:gd name="connsiteY130" fmla="*/ 961970 h 3402669"/>
                <a:gd name="connsiteX131" fmla="*/ 5448804 w 6192019"/>
                <a:gd name="connsiteY131" fmla="*/ 1027253 h 3402669"/>
                <a:gd name="connsiteX132" fmla="*/ 5403849 w 6192019"/>
                <a:gd name="connsiteY132" fmla="*/ 1081318 h 3402669"/>
                <a:gd name="connsiteX133" fmla="*/ 5408120 w 6192019"/>
                <a:gd name="connsiteY133" fmla="*/ 1181710 h 3402669"/>
                <a:gd name="connsiteX134" fmla="*/ 5425765 w 6192019"/>
                <a:gd name="connsiteY134" fmla="*/ 1186309 h 3402669"/>
                <a:gd name="connsiteX135" fmla="*/ 5430372 w 6192019"/>
                <a:gd name="connsiteY135" fmla="*/ 1168586 h 3402669"/>
                <a:gd name="connsiteX136" fmla="*/ 5427226 w 6192019"/>
                <a:gd name="connsiteY136" fmla="*/ 1092087 h 3402669"/>
                <a:gd name="connsiteX137" fmla="*/ 5467123 w 6192019"/>
                <a:gd name="connsiteY137" fmla="*/ 1045536 h 3402669"/>
                <a:gd name="connsiteX138" fmla="*/ 5513651 w 6192019"/>
                <a:gd name="connsiteY138" fmla="*/ 991358 h 3402669"/>
                <a:gd name="connsiteX139" fmla="*/ 5556246 w 6192019"/>
                <a:gd name="connsiteY139" fmla="*/ 1094218 h 3402669"/>
                <a:gd name="connsiteX140" fmla="*/ 5576139 w 6192019"/>
                <a:gd name="connsiteY140" fmla="*/ 1102653 h 3402669"/>
                <a:gd name="connsiteX141" fmla="*/ 5581982 w 6192019"/>
                <a:gd name="connsiteY141" fmla="*/ 1098480 h 3402669"/>
                <a:gd name="connsiteX142" fmla="*/ 5780458 w 6192019"/>
                <a:gd name="connsiteY142" fmla="*/ 873243 h 3402669"/>
                <a:gd name="connsiteX143" fmla="*/ 5930158 w 6192019"/>
                <a:gd name="connsiteY143" fmla="*/ 882890 h 3402669"/>
                <a:gd name="connsiteX144" fmla="*/ 5917121 w 6192019"/>
                <a:gd name="connsiteY144" fmla="*/ 850810 h 3402669"/>
                <a:gd name="connsiteX145" fmla="*/ 5784504 w 6192019"/>
                <a:gd name="connsiteY145" fmla="*/ 842173 h 3402669"/>
                <a:gd name="connsiteX146" fmla="*/ 5536466 w 6192019"/>
                <a:gd name="connsiteY146" fmla="*/ 243074 h 3402669"/>
                <a:gd name="connsiteX147" fmla="*/ 5810240 w 6192019"/>
                <a:gd name="connsiteY147" fmla="*/ 260797 h 3402669"/>
                <a:gd name="connsiteX148" fmla="*/ 5908017 w 6192019"/>
                <a:gd name="connsiteY148" fmla="*/ 496353 h 3402669"/>
                <a:gd name="connsiteX149" fmla="*/ 5936339 w 6192019"/>
                <a:gd name="connsiteY149" fmla="*/ 485136 h 3402669"/>
                <a:gd name="connsiteX150" fmla="*/ 5838675 w 6192019"/>
                <a:gd name="connsiteY150" fmla="*/ 249580 h 3402669"/>
                <a:gd name="connsiteX151" fmla="*/ 6019730 w 6192019"/>
                <a:gd name="connsiteY151" fmla="*/ 43188 h 3402669"/>
                <a:gd name="connsiteX152" fmla="*/ 6163698 w 6192019"/>
                <a:gd name="connsiteY152" fmla="*/ 390914 h 3402669"/>
                <a:gd name="connsiteX153" fmla="*/ 6192020 w 6192019"/>
                <a:gd name="connsiteY153" fmla="*/ 379697 h 3402669"/>
                <a:gd name="connsiteX154" fmla="*/ 6038724 w 6192019"/>
                <a:gd name="connsiteY154" fmla="*/ 9537 h 3402669"/>
                <a:gd name="connsiteX155" fmla="*/ 6027485 w 6192019"/>
                <a:gd name="connsiteY155" fmla="*/ 227 h 3402669"/>
                <a:gd name="connsiteX156" fmla="*/ 6013436 w 6192019"/>
                <a:gd name="connsiteY156" fmla="*/ 5274 h 3402669"/>
                <a:gd name="connsiteX157" fmla="*/ 5814511 w 6192019"/>
                <a:gd name="connsiteY157" fmla="*/ 230623 h 3402669"/>
                <a:gd name="connsiteX158" fmla="*/ 5513988 w 6192019"/>
                <a:gd name="connsiteY158" fmla="*/ 211442 h 3402669"/>
                <a:gd name="connsiteX159" fmla="*/ 5510392 w 6192019"/>
                <a:gd name="connsiteY159" fmla="*/ 211442 h 3402669"/>
                <a:gd name="connsiteX160" fmla="*/ 5503761 w 6192019"/>
                <a:gd name="connsiteY160" fmla="*/ 214471 h 3402669"/>
                <a:gd name="connsiteX161" fmla="*/ 5501513 w 6192019"/>
                <a:gd name="connsiteY161" fmla="*/ 216153 h 3402669"/>
                <a:gd name="connsiteX162" fmla="*/ 5297081 w 6192019"/>
                <a:gd name="connsiteY162" fmla="*/ 446999 h 3402669"/>
                <a:gd name="connsiteX163" fmla="*/ 5294496 w 6192019"/>
                <a:gd name="connsiteY163" fmla="*/ 462927 h 3402669"/>
                <a:gd name="connsiteX164" fmla="*/ 5481284 w 6192019"/>
                <a:gd name="connsiteY164" fmla="*/ 914073 h 3402669"/>
                <a:gd name="connsiteX165" fmla="*/ 5353050 w 6192019"/>
                <a:gd name="connsiteY165" fmla="*/ 905548 h 3402669"/>
                <a:gd name="connsiteX166" fmla="*/ 5344508 w 6192019"/>
                <a:gd name="connsiteY166" fmla="*/ 914522 h 3402669"/>
                <a:gd name="connsiteX167" fmla="*/ 5267636 w 6192019"/>
                <a:gd name="connsiteY167" fmla="*/ 1206163 h 3402669"/>
                <a:gd name="connsiteX168" fmla="*/ 5250665 w 6192019"/>
                <a:gd name="connsiteY168" fmla="*/ 1199769 h 3402669"/>
                <a:gd name="connsiteX169" fmla="*/ 5240326 w 6192019"/>
                <a:gd name="connsiteY169" fmla="*/ 1200330 h 3402669"/>
                <a:gd name="connsiteX170" fmla="*/ 5233695 w 6192019"/>
                <a:gd name="connsiteY170" fmla="*/ 1208294 h 3402669"/>
                <a:gd name="connsiteX171" fmla="*/ 5205598 w 6192019"/>
                <a:gd name="connsiteY171" fmla="*/ 1305433 h 3402669"/>
                <a:gd name="connsiteX172" fmla="*/ 5194359 w 6192019"/>
                <a:gd name="connsiteY172" fmla="*/ 1301059 h 3402669"/>
                <a:gd name="connsiteX173" fmla="*/ 5170421 w 6192019"/>
                <a:gd name="connsiteY173" fmla="*/ 1311154 h 3402669"/>
                <a:gd name="connsiteX174" fmla="*/ 4744586 w 6192019"/>
                <a:gd name="connsiteY174" fmla="*/ 2303183 h 3402669"/>
                <a:gd name="connsiteX175" fmla="*/ 4305265 w 6192019"/>
                <a:gd name="connsiteY175" fmla="*/ 1991127 h 3402669"/>
                <a:gd name="connsiteX176" fmla="*/ 4304366 w 6192019"/>
                <a:gd name="connsiteY176" fmla="*/ 1990566 h 3402669"/>
                <a:gd name="connsiteX177" fmla="*/ 4275370 w 6192019"/>
                <a:gd name="connsiteY177" fmla="*/ 1972506 h 3402669"/>
                <a:gd name="connsiteX178" fmla="*/ 4271999 w 6192019"/>
                <a:gd name="connsiteY178" fmla="*/ 1969814 h 3402669"/>
                <a:gd name="connsiteX179" fmla="*/ 3642631 w 6192019"/>
                <a:gd name="connsiteY179" fmla="*/ 1578118 h 3402669"/>
                <a:gd name="connsiteX180" fmla="*/ 3872350 w 6192019"/>
                <a:gd name="connsiteY180" fmla="*/ 1474249 h 3402669"/>
                <a:gd name="connsiteX181" fmla="*/ 4148598 w 6192019"/>
                <a:gd name="connsiteY181" fmla="*/ 1097246 h 3402669"/>
                <a:gd name="connsiteX182" fmla="*/ 4137168 w 6192019"/>
                <a:gd name="connsiteY182" fmla="*/ 1073343 h 3402669"/>
                <a:gd name="connsiteX183" fmla="*/ 4114095 w 6192019"/>
                <a:gd name="connsiteY183" fmla="*/ 1082664 h 3402669"/>
                <a:gd name="connsiteX184" fmla="*/ 3848637 w 6192019"/>
                <a:gd name="connsiteY184" fmla="*/ 1445197 h 3402669"/>
                <a:gd name="connsiteX185" fmla="*/ 3425611 w 6192019"/>
                <a:gd name="connsiteY185" fmla="*/ 1549402 h 3402669"/>
                <a:gd name="connsiteX186" fmla="*/ 3000563 w 6192019"/>
                <a:gd name="connsiteY186" fmla="*/ 1443626 h 3402669"/>
                <a:gd name="connsiteX187" fmla="*/ 2744995 w 6192019"/>
                <a:gd name="connsiteY187" fmla="*/ 1087151 h 3402669"/>
                <a:gd name="connsiteX188" fmla="*/ 2720608 w 6192019"/>
                <a:gd name="connsiteY188" fmla="*/ 1076944 h 3402669"/>
                <a:gd name="connsiteX189" fmla="*/ 2710380 w 6192019"/>
                <a:gd name="connsiteY189" fmla="*/ 1101284 h 3402669"/>
                <a:gd name="connsiteX190" fmla="*/ 2976850 w 6192019"/>
                <a:gd name="connsiteY190" fmla="*/ 1472566 h 3402669"/>
                <a:gd name="connsiteX191" fmla="*/ 3229833 w 6192019"/>
                <a:gd name="connsiteY191" fmla="*/ 1582044 h 3402669"/>
                <a:gd name="connsiteX192" fmla="*/ 2605074 w 6192019"/>
                <a:gd name="connsiteY192" fmla="*/ 1986528 h 3402669"/>
                <a:gd name="connsiteX193" fmla="*/ 2153615 w 6192019"/>
                <a:gd name="connsiteY193" fmla="*/ 2307109 h 3402669"/>
                <a:gd name="connsiteX194" fmla="*/ 1141344 w 6192019"/>
                <a:gd name="connsiteY194" fmla="*/ 1895670 h 3402669"/>
                <a:gd name="connsiteX195" fmla="*/ 1117181 w 6192019"/>
                <a:gd name="connsiteY195" fmla="*/ 1905317 h 3402669"/>
                <a:gd name="connsiteX196" fmla="*/ 1114371 w 6192019"/>
                <a:gd name="connsiteY196" fmla="*/ 1911486 h 3402669"/>
                <a:gd name="connsiteX197" fmla="*/ 1024462 w 6192019"/>
                <a:gd name="connsiteY197" fmla="*/ 1865272 h 3402669"/>
                <a:gd name="connsiteX198" fmla="*/ 999242 w 6192019"/>
                <a:gd name="connsiteY198" fmla="*/ 1873528 h 3402669"/>
                <a:gd name="connsiteX199" fmla="*/ 998950 w 6192019"/>
                <a:gd name="connsiteY199" fmla="*/ 1874134 h 3402669"/>
                <a:gd name="connsiteX200" fmla="*/ 993330 w 6192019"/>
                <a:gd name="connsiteY200" fmla="*/ 1886248 h 3402669"/>
                <a:gd name="connsiteX201" fmla="*/ 737537 w 6192019"/>
                <a:gd name="connsiteY201" fmla="*/ 1736053 h 3402669"/>
                <a:gd name="connsiteX202" fmla="*/ 725175 w 6192019"/>
                <a:gd name="connsiteY202" fmla="*/ 1736053 h 3402669"/>
                <a:gd name="connsiteX203" fmla="*/ 690784 w 6192019"/>
                <a:gd name="connsiteY203" fmla="*/ 1759496 h 3402669"/>
                <a:gd name="connsiteX204" fmla="*/ 629533 w 6192019"/>
                <a:gd name="connsiteY204" fmla="*/ 1665610 h 3402669"/>
                <a:gd name="connsiteX205" fmla="*/ 713711 w 6192019"/>
                <a:gd name="connsiteY205" fmla="*/ 1435999 h 3402669"/>
                <a:gd name="connsiteX206" fmla="*/ 710565 w 6192019"/>
                <a:gd name="connsiteY206" fmla="*/ 1389112 h 3402669"/>
                <a:gd name="connsiteX207" fmla="*/ 713599 w 6192019"/>
                <a:gd name="connsiteY207" fmla="*/ 1373184 h 3402669"/>
                <a:gd name="connsiteX208" fmla="*/ 713599 w 6192019"/>
                <a:gd name="connsiteY208" fmla="*/ 1341664 h 3402669"/>
                <a:gd name="connsiteX209" fmla="*/ 748776 w 6192019"/>
                <a:gd name="connsiteY209" fmla="*/ 1341664 h 3402669"/>
                <a:gd name="connsiteX210" fmla="*/ 793731 w 6192019"/>
                <a:gd name="connsiteY210" fmla="*/ 1296796 h 3402669"/>
                <a:gd name="connsiteX211" fmla="*/ 793731 w 6192019"/>
                <a:gd name="connsiteY211" fmla="*/ 997640 h 3402669"/>
                <a:gd name="connsiteX212" fmla="*/ 748776 w 6192019"/>
                <a:gd name="connsiteY212" fmla="*/ 952772 h 3402669"/>
                <a:gd name="connsiteX213" fmla="*/ 269670 w 6192019"/>
                <a:gd name="connsiteY213" fmla="*/ 952772 h 3402669"/>
                <a:gd name="connsiteX214" fmla="*/ 224715 w 6192019"/>
                <a:gd name="connsiteY214" fmla="*/ 997640 h 3402669"/>
                <a:gd name="connsiteX215" fmla="*/ 224715 w 6192019"/>
                <a:gd name="connsiteY215" fmla="*/ 1029159 h 3402669"/>
                <a:gd name="connsiteX216" fmla="*/ 189988 w 6192019"/>
                <a:gd name="connsiteY216" fmla="*/ 1029159 h 3402669"/>
                <a:gd name="connsiteX217" fmla="*/ 145033 w 6192019"/>
                <a:gd name="connsiteY217" fmla="*/ 1074027 h 3402669"/>
                <a:gd name="connsiteX218" fmla="*/ 145033 w 6192019"/>
                <a:gd name="connsiteY218" fmla="*/ 1148732 h 3402669"/>
                <a:gd name="connsiteX219" fmla="*/ 104461 w 6192019"/>
                <a:gd name="connsiteY219" fmla="*/ 1183617 h 3402669"/>
                <a:gd name="connsiteX220" fmla="*/ 104630 w 6192019"/>
                <a:gd name="connsiteY220" fmla="*/ 1687427 h 3402669"/>
                <a:gd name="connsiteX221" fmla="*/ 356882 w 6192019"/>
                <a:gd name="connsiteY221" fmla="*/ 1791689 h 3402669"/>
                <a:gd name="connsiteX222" fmla="*/ 5507807 w 6192019"/>
                <a:gd name="connsiteY222" fmla="*/ 254964 h 3402669"/>
                <a:gd name="connsiteX223" fmla="*/ 5756070 w 6192019"/>
                <a:gd name="connsiteY223" fmla="*/ 854623 h 3402669"/>
                <a:gd name="connsiteX224" fmla="*/ 5574789 w 6192019"/>
                <a:gd name="connsiteY224" fmla="*/ 1060006 h 3402669"/>
                <a:gd name="connsiteX225" fmla="*/ 5326527 w 6192019"/>
                <a:gd name="connsiteY225" fmla="*/ 460347 h 3402669"/>
                <a:gd name="connsiteX226" fmla="*/ 5254599 w 6192019"/>
                <a:gd name="connsiteY226" fmla="*/ 1228822 h 3402669"/>
                <a:gd name="connsiteX227" fmla="*/ 5596705 w 6192019"/>
                <a:gd name="connsiteY227" fmla="*/ 1356695 h 3402669"/>
                <a:gd name="connsiteX228" fmla="*/ 5599290 w 6192019"/>
                <a:gd name="connsiteY228" fmla="*/ 1358265 h 3402669"/>
                <a:gd name="connsiteX229" fmla="*/ 5603111 w 6192019"/>
                <a:gd name="connsiteY229" fmla="*/ 1359275 h 3402669"/>
                <a:gd name="connsiteX230" fmla="*/ 5564113 w 6192019"/>
                <a:gd name="connsiteY230" fmla="*/ 1442841 h 3402669"/>
                <a:gd name="connsiteX231" fmla="*/ 5229762 w 6192019"/>
                <a:gd name="connsiteY231" fmla="*/ 1314631 h 3402669"/>
                <a:gd name="connsiteX232" fmla="*/ 3282430 w 6192019"/>
                <a:gd name="connsiteY232" fmla="*/ 1950745 h 3402669"/>
                <a:gd name="connsiteX233" fmla="*/ 3210053 w 6192019"/>
                <a:gd name="connsiteY233" fmla="*/ 1875480 h 3402669"/>
                <a:gd name="connsiteX234" fmla="*/ 3171167 w 6192019"/>
                <a:gd name="connsiteY234" fmla="*/ 1664376 h 3402669"/>
                <a:gd name="connsiteX235" fmla="*/ 3253772 w 6192019"/>
                <a:gd name="connsiteY235" fmla="*/ 1610871 h 3402669"/>
                <a:gd name="connsiteX236" fmla="*/ 3252985 w 6192019"/>
                <a:gd name="connsiteY236" fmla="*/ 1711824 h 3402669"/>
                <a:gd name="connsiteX237" fmla="*/ 3260515 w 6192019"/>
                <a:gd name="connsiteY237" fmla="*/ 1726855 h 3402669"/>
                <a:gd name="connsiteX238" fmla="*/ 3399987 w 6192019"/>
                <a:gd name="connsiteY238" fmla="*/ 1831285 h 3402669"/>
                <a:gd name="connsiteX239" fmla="*/ 3282430 w 6192019"/>
                <a:gd name="connsiteY239" fmla="*/ 1950745 h 3402669"/>
                <a:gd name="connsiteX240" fmla="*/ 3426623 w 6192019"/>
                <a:gd name="connsiteY240" fmla="*/ 1980919 h 3402669"/>
                <a:gd name="connsiteX241" fmla="*/ 3369306 w 6192019"/>
                <a:gd name="connsiteY241" fmla="*/ 1900942 h 3402669"/>
                <a:gd name="connsiteX242" fmla="*/ 3369306 w 6192019"/>
                <a:gd name="connsiteY242" fmla="*/ 1900942 h 3402669"/>
                <a:gd name="connsiteX243" fmla="*/ 3425499 w 6192019"/>
                <a:gd name="connsiteY243" fmla="*/ 1842278 h 3402669"/>
                <a:gd name="connsiteX244" fmla="*/ 3488885 w 6192019"/>
                <a:gd name="connsiteY244" fmla="*/ 1898362 h 3402669"/>
                <a:gd name="connsiteX245" fmla="*/ 3656117 w 6192019"/>
                <a:gd name="connsiteY245" fmla="*/ 1866282 h 3402669"/>
                <a:gd name="connsiteX246" fmla="*/ 3575985 w 6192019"/>
                <a:gd name="connsiteY246" fmla="*/ 1950073 h 3402669"/>
                <a:gd name="connsiteX247" fmla="*/ 3449437 w 6192019"/>
                <a:gd name="connsiteY247" fmla="*/ 1827920 h 3402669"/>
                <a:gd name="connsiteX248" fmla="*/ 3602846 w 6192019"/>
                <a:gd name="connsiteY248" fmla="*/ 1738184 h 3402669"/>
                <a:gd name="connsiteX249" fmla="*/ 3612062 w 6192019"/>
                <a:gd name="connsiteY249" fmla="*/ 1722032 h 3402669"/>
                <a:gd name="connsiteX250" fmla="*/ 3612062 w 6192019"/>
                <a:gd name="connsiteY250" fmla="*/ 1603019 h 3402669"/>
                <a:gd name="connsiteX251" fmla="*/ 3686911 w 6192019"/>
                <a:gd name="connsiteY251" fmla="*/ 1649570 h 3402669"/>
                <a:gd name="connsiteX252" fmla="*/ 3574637 w 6192019"/>
                <a:gd name="connsiteY252" fmla="*/ 1583839 h 3402669"/>
                <a:gd name="connsiteX253" fmla="*/ 3574637 w 6192019"/>
                <a:gd name="connsiteY253" fmla="*/ 1711600 h 3402669"/>
                <a:gd name="connsiteX254" fmla="*/ 3421341 w 6192019"/>
                <a:gd name="connsiteY254" fmla="*/ 1801335 h 3402669"/>
                <a:gd name="connsiteX255" fmla="*/ 3290073 w 6192019"/>
                <a:gd name="connsiteY255" fmla="*/ 1703299 h 3402669"/>
                <a:gd name="connsiteX256" fmla="*/ 3290972 w 6192019"/>
                <a:gd name="connsiteY256" fmla="*/ 1591129 h 3402669"/>
                <a:gd name="connsiteX257" fmla="*/ 3289960 w 6192019"/>
                <a:gd name="connsiteY257" fmla="*/ 1585072 h 3402669"/>
                <a:gd name="connsiteX258" fmla="*/ 3425387 w 6192019"/>
                <a:gd name="connsiteY258" fmla="*/ 1586530 h 3402669"/>
                <a:gd name="connsiteX259" fmla="*/ 3574637 w 6192019"/>
                <a:gd name="connsiteY259" fmla="*/ 1583839 h 3402669"/>
                <a:gd name="connsiteX260" fmla="*/ 1023450 w 6192019"/>
                <a:gd name="connsiteY260" fmla="*/ 1907448 h 3402669"/>
                <a:gd name="connsiteX261" fmla="*/ 1098075 w 6192019"/>
                <a:gd name="connsiteY261" fmla="*/ 1945586 h 3402669"/>
                <a:gd name="connsiteX262" fmla="*/ 947701 w 6192019"/>
                <a:gd name="connsiteY262" fmla="*/ 2277496 h 3402669"/>
                <a:gd name="connsiteX263" fmla="*/ 868244 w 6192019"/>
                <a:gd name="connsiteY263" fmla="*/ 2243845 h 3402669"/>
                <a:gd name="connsiteX264" fmla="*/ 659541 w 6192019"/>
                <a:gd name="connsiteY264" fmla="*/ 1793035 h 3402669"/>
                <a:gd name="connsiteX265" fmla="*/ 634816 w 6192019"/>
                <a:gd name="connsiteY265" fmla="*/ 1851924 h 3402669"/>
                <a:gd name="connsiteX266" fmla="*/ 643919 w 6192019"/>
                <a:gd name="connsiteY266" fmla="*/ 1892081 h 3402669"/>
                <a:gd name="connsiteX267" fmla="*/ 738999 w 6192019"/>
                <a:gd name="connsiteY267" fmla="*/ 1914515 h 3402669"/>
                <a:gd name="connsiteX268" fmla="*/ 760015 w 6192019"/>
                <a:gd name="connsiteY268" fmla="*/ 1946708 h 3402669"/>
                <a:gd name="connsiteX269" fmla="*/ 761925 w 6192019"/>
                <a:gd name="connsiteY269" fmla="*/ 1952877 h 3402669"/>
                <a:gd name="connsiteX270" fmla="*/ 761925 w 6192019"/>
                <a:gd name="connsiteY270" fmla="*/ 1955344 h 3402669"/>
                <a:gd name="connsiteX271" fmla="*/ 756643 w 6192019"/>
                <a:gd name="connsiteY271" fmla="*/ 1962972 h 3402669"/>
                <a:gd name="connsiteX272" fmla="*/ 697078 w 6192019"/>
                <a:gd name="connsiteY272" fmla="*/ 2001783 h 3402669"/>
                <a:gd name="connsiteX273" fmla="*/ 680220 w 6192019"/>
                <a:gd name="connsiteY273" fmla="*/ 1998530 h 3402669"/>
                <a:gd name="connsiteX274" fmla="*/ 680220 w 6192019"/>
                <a:gd name="connsiteY274" fmla="*/ 1998530 h 3402669"/>
                <a:gd name="connsiteX275" fmla="*/ 519956 w 6192019"/>
                <a:gd name="connsiteY275" fmla="*/ 1752878 h 3402669"/>
                <a:gd name="connsiteX276" fmla="*/ 598627 w 6192019"/>
                <a:gd name="connsiteY276" fmla="*/ 1698476 h 3402669"/>
                <a:gd name="connsiteX277" fmla="*/ 175602 w 6192019"/>
                <a:gd name="connsiteY277" fmla="*/ 1182944 h 3402669"/>
                <a:gd name="connsiteX278" fmla="*/ 329010 w 6192019"/>
                <a:gd name="connsiteY278" fmla="*/ 1125625 h 3402669"/>
                <a:gd name="connsiteX279" fmla="*/ 329010 w 6192019"/>
                <a:gd name="connsiteY279" fmla="*/ 1334373 h 3402669"/>
                <a:gd name="connsiteX280" fmla="*/ 351488 w 6192019"/>
                <a:gd name="connsiteY280" fmla="*/ 1334373 h 3402669"/>
                <a:gd name="connsiteX281" fmla="*/ 351488 w 6192019"/>
                <a:gd name="connsiteY281" fmla="*/ 1124504 h 3402669"/>
                <a:gd name="connsiteX282" fmla="*/ 357557 w 6192019"/>
                <a:gd name="connsiteY282" fmla="*/ 1124504 h 3402669"/>
                <a:gd name="connsiteX283" fmla="*/ 585365 w 6192019"/>
                <a:gd name="connsiteY283" fmla="*/ 1223550 h 3402669"/>
                <a:gd name="connsiteX284" fmla="*/ 384642 w 6192019"/>
                <a:gd name="connsiteY284" fmla="*/ 1223550 h 3402669"/>
                <a:gd name="connsiteX285" fmla="*/ 384642 w 6192019"/>
                <a:gd name="connsiteY285" fmla="*/ 1238580 h 3402669"/>
                <a:gd name="connsiteX286" fmla="*/ 598178 w 6192019"/>
                <a:gd name="connsiteY286" fmla="*/ 1238580 h 3402669"/>
                <a:gd name="connsiteX287" fmla="*/ 647628 w 6192019"/>
                <a:gd name="connsiteY287" fmla="*/ 1321922 h 3402669"/>
                <a:gd name="connsiteX288" fmla="*/ 609529 w 6192019"/>
                <a:gd name="connsiteY288" fmla="*/ 1321922 h 3402669"/>
                <a:gd name="connsiteX289" fmla="*/ 609529 w 6192019"/>
                <a:gd name="connsiteY289" fmla="*/ 1320464 h 3402669"/>
                <a:gd name="connsiteX290" fmla="*/ 384754 w 6192019"/>
                <a:gd name="connsiteY290" fmla="*/ 1320464 h 3402669"/>
                <a:gd name="connsiteX291" fmla="*/ 384754 w 6192019"/>
                <a:gd name="connsiteY291" fmla="*/ 1335383 h 3402669"/>
                <a:gd name="connsiteX292" fmla="*/ 385429 w 6192019"/>
                <a:gd name="connsiteY292" fmla="*/ 1335383 h 3402669"/>
                <a:gd name="connsiteX293" fmla="*/ 384530 w 6192019"/>
                <a:gd name="connsiteY293" fmla="*/ 1340542 h 3402669"/>
                <a:gd name="connsiteX294" fmla="*/ 403298 w 6192019"/>
                <a:gd name="connsiteY294" fmla="*/ 1359275 h 3402669"/>
                <a:gd name="connsiteX295" fmla="*/ 658866 w 6192019"/>
                <a:gd name="connsiteY295" fmla="*/ 1359275 h 3402669"/>
                <a:gd name="connsiteX296" fmla="*/ 664711 w 6192019"/>
                <a:gd name="connsiteY296" fmla="*/ 1387654 h 3402669"/>
                <a:gd name="connsiteX297" fmla="*/ 190100 w 6192019"/>
                <a:gd name="connsiteY297" fmla="*/ 1387654 h 3402669"/>
                <a:gd name="connsiteX298" fmla="*/ 175153 w 6192019"/>
                <a:gd name="connsiteY298" fmla="*/ 1372735 h 3402669"/>
                <a:gd name="connsiteX299" fmla="*/ 596267 w 6192019"/>
                <a:gd name="connsiteY299" fmla="*/ 1170830 h 3402669"/>
                <a:gd name="connsiteX300" fmla="*/ 590872 w 6192019"/>
                <a:gd name="connsiteY300" fmla="*/ 1166118 h 3402669"/>
                <a:gd name="connsiteX301" fmla="*/ 590872 w 6192019"/>
                <a:gd name="connsiteY301" fmla="*/ 1103640 h 3402669"/>
                <a:gd name="connsiteX302" fmla="*/ 640210 w 6192019"/>
                <a:gd name="connsiteY302" fmla="*/ 1103640 h 3402669"/>
                <a:gd name="connsiteX303" fmla="*/ 640210 w 6192019"/>
                <a:gd name="connsiteY303" fmla="*/ 1170942 h 3402669"/>
                <a:gd name="connsiteX304" fmla="*/ 254273 w 6192019"/>
                <a:gd name="connsiteY304" fmla="*/ 997640 h 3402669"/>
                <a:gd name="connsiteX305" fmla="*/ 269221 w 6192019"/>
                <a:gd name="connsiteY305" fmla="*/ 982721 h 3402669"/>
                <a:gd name="connsiteX306" fmla="*/ 748776 w 6192019"/>
                <a:gd name="connsiteY306" fmla="*/ 982721 h 3402669"/>
                <a:gd name="connsiteX307" fmla="*/ 763724 w 6192019"/>
                <a:gd name="connsiteY307" fmla="*/ 997640 h 3402669"/>
                <a:gd name="connsiteX308" fmla="*/ 763724 w 6192019"/>
                <a:gd name="connsiteY308" fmla="*/ 1296348 h 3402669"/>
                <a:gd name="connsiteX309" fmla="*/ 748776 w 6192019"/>
                <a:gd name="connsiteY309" fmla="*/ 1311266 h 3402669"/>
                <a:gd name="connsiteX310" fmla="*/ 714049 w 6192019"/>
                <a:gd name="connsiteY310" fmla="*/ 1311266 h 3402669"/>
                <a:gd name="connsiteX311" fmla="*/ 714049 w 6192019"/>
                <a:gd name="connsiteY311" fmla="*/ 1074027 h 3402669"/>
                <a:gd name="connsiteX312" fmla="*/ 669094 w 6192019"/>
                <a:gd name="connsiteY312" fmla="*/ 1029159 h 3402669"/>
                <a:gd name="connsiteX313" fmla="*/ 254273 w 6192019"/>
                <a:gd name="connsiteY313" fmla="*/ 1029159 h 3402669"/>
                <a:gd name="connsiteX314" fmla="*/ 175602 w 6192019"/>
                <a:gd name="connsiteY314" fmla="*/ 1074027 h 3402669"/>
                <a:gd name="connsiteX315" fmla="*/ 190325 w 6192019"/>
                <a:gd name="connsiteY315" fmla="*/ 1059109 h 3402669"/>
                <a:gd name="connsiteX316" fmla="*/ 190550 w 6192019"/>
                <a:gd name="connsiteY316" fmla="*/ 1059109 h 3402669"/>
                <a:gd name="connsiteX317" fmla="*/ 668981 w 6192019"/>
                <a:gd name="connsiteY317" fmla="*/ 1059109 h 3402669"/>
                <a:gd name="connsiteX318" fmla="*/ 683929 w 6192019"/>
                <a:gd name="connsiteY318" fmla="*/ 1074027 h 3402669"/>
                <a:gd name="connsiteX319" fmla="*/ 683929 w 6192019"/>
                <a:gd name="connsiteY319" fmla="*/ 1292309 h 3402669"/>
                <a:gd name="connsiteX320" fmla="*/ 618520 w 6192019"/>
                <a:gd name="connsiteY320" fmla="*/ 1193264 h 3402669"/>
                <a:gd name="connsiteX321" fmla="*/ 662238 w 6192019"/>
                <a:gd name="connsiteY321" fmla="*/ 1193264 h 3402669"/>
                <a:gd name="connsiteX322" fmla="*/ 662238 w 6192019"/>
                <a:gd name="connsiteY322" fmla="*/ 1081094 h 3402669"/>
                <a:gd name="connsiteX323" fmla="*/ 567945 w 6192019"/>
                <a:gd name="connsiteY323" fmla="*/ 1081094 h 3402669"/>
                <a:gd name="connsiteX324" fmla="*/ 567945 w 6192019"/>
                <a:gd name="connsiteY324" fmla="*/ 1148396 h 3402669"/>
                <a:gd name="connsiteX325" fmla="*/ 175602 w 6192019"/>
                <a:gd name="connsiteY325" fmla="*/ 1128878 h 3402669"/>
                <a:gd name="connsiteX326" fmla="*/ 145595 w 6192019"/>
                <a:gd name="connsiteY326" fmla="*/ 1207397 h 3402669"/>
                <a:gd name="connsiteX327" fmla="*/ 145595 w 6192019"/>
                <a:gd name="connsiteY327" fmla="*/ 1372735 h 3402669"/>
                <a:gd name="connsiteX328" fmla="*/ 190550 w 6192019"/>
                <a:gd name="connsiteY328" fmla="*/ 1417603 h 3402669"/>
                <a:gd name="connsiteX329" fmla="*/ 668757 w 6192019"/>
                <a:gd name="connsiteY329" fmla="*/ 1417603 h 3402669"/>
                <a:gd name="connsiteX330" fmla="*/ 668757 w 6192019"/>
                <a:gd name="connsiteY330" fmla="*/ 1435662 h 3402669"/>
                <a:gd name="connsiteX331" fmla="*/ 357163 w 6192019"/>
                <a:gd name="connsiteY331" fmla="*/ 1747214 h 3402669"/>
                <a:gd name="connsiteX332" fmla="*/ 45008 w 6192019"/>
                <a:gd name="connsiteY332" fmla="*/ 1436223 h 3402669"/>
                <a:gd name="connsiteX333" fmla="*/ 145033 w 6192019"/>
                <a:gd name="connsiteY333" fmla="*/ 1207509 h 3402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</a:cxnLst>
              <a:rect l="l" t="t" r="r" b="b"/>
              <a:pathLst>
                <a:path w="6192019" h="3402669">
                  <a:moveTo>
                    <a:pt x="356995" y="1791689"/>
                  </a:moveTo>
                  <a:cubicBezTo>
                    <a:pt x="398027" y="1791610"/>
                    <a:pt x="438745" y="1784476"/>
                    <a:pt x="477361" y="1770601"/>
                  </a:cubicBezTo>
                  <a:lnTo>
                    <a:pt x="641896" y="2022534"/>
                  </a:lnTo>
                  <a:cubicBezTo>
                    <a:pt x="642098" y="2023005"/>
                    <a:pt x="642413" y="2023432"/>
                    <a:pt x="642795" y="2023768"/>
                  </a:cubicBezTo>
                  <a:cubicBezTo>
                    <a:pt x="660507" y="2049331"/>
                    <a:pt x="695404" y="2056151"/>
                    <a:pt x="721466" y="2039135"/>
                  </a:cubicBezTo>
                  <a:lnTo>
                    <a:pt x="781031" y="2000212"/>
                  </a:lnTo>
                  <a:cubicBezTo>
                    <a:pt x="793731" y="1992091"/>
                    <a:pt x="802666" y="1979259"/>
                    <a:pt x="805869" y="1964542"/>
                  </a:cubicBezTo>
                  <a:cubicBezTo>
                    <a:pt x="809139" y="1949736"/>
                    <a:pt x="806262" y="1934234"/>
                    <a:pt x="797889" y="1921581"/>
                  </a:cubicBezTo>
                  <a:lnTo>
                    <a:pt x="794967" y="1917095"/>
                  </a:lnTo>
                  <a:cubicBezTo>
                    <a:pt x="798204" y="1917678"/>
                    <a:pt x="801407" y="1918497"/>
                    <a:pt x="804520" y="1919562"/>
                  </a:cubicBezTo>
                  <a:cubicBezTo>
                    <a:pt x="829538" y="1929546"/>
                    <a:pt x="848576" y="1950420"/>
                    <a:pt x="856218" y="1976208"/>
                  </a:cubicBezTo>
                  <a:cubicBezTo>
                    <a:pt x="857668" y="1981962"/>
                    <a:pt x="862860" y="1985989"/>
                    <a:pt x="868805" y="1985967"/>
                  </a:cubicBezTo>
                  <a:cubicBezTo>
                    <a:pt x="869817" y="1986079"/>
                    <a:pt x="870829" y="1986079"/>
                    <a:pt x="871840" y="1985967"/>
                  </a:cubicBezTo>
                  <a:cubicBezTo>
                    <a:pt x="878752" y="1984251"/>
                    <a:pt x="882977" y="1977285"/>
                    <a:pt x="881280" y="1970375"/>
                  </a:cubicBezTo>
                  <a:cubicBezTo>
                    <a:pt x="871559" y="1936477"/>
                    <a:pt x="846665" y="1908974"/>
                    <a:pt x="813848" y="1895895"/>
                  </a:cubicBezTo>
                  <a:cubicBezTo>
                    <a:pt x="790955" y="1889882"/>
                    <a:pt x="767230" y="1887616"/>
                    <a:pt x="743606" y="1889164"/>
                  </a:cubicBezTo>
                  <a:cubicBezTo>
                    <a:pt x="711688" y="1889164"/>
                    <a:pt x="675500" y="1889164"/>
                    <a:pt x="664149" y="1875704"/>
                  </a:cubicBezTo>
                  <a:cubicBezTo>
                    <a:pt x="662800" y="1874134"/>
                    <a:pt x="658754" y="1869310"/>
                    <a:pt x="660889" y="1856411"/>
                  </a:cubicBezTo>
                  <a:cubicBezTo>
                    <a:pt x="669656" y="1804028"/>
                    <a:pt x="715172" y="1771947"/>
                    <a:pt x="731581" y="1761964"/>
                  </a:cubicBezTo>
                  <a:lnTo>
                    <a:pt x="982092" y="1909691"/>
                  </a:lnTo>
                  <a:lnTo>
                    <a:pt x="844305" y="2206829"/>
                  </a:lnTo>
                  <a:lnTo>
                    <a:pt x="648864" y="2131002"/>
                  </a:lnTo>
                  <a:lnTo>
                    <a:pt x="521867" y="2012327"/>
                  </a:lnTo>
                  <a:lnTo>
                    <a:pt x="390374" y="1873797"/>
                  </a:lnTo>
                  <a:cubicBezTo>
                    <a:pt x="401612" y="1863926"/>
                    <a:pt x="422067" y="1848896"/>
                    <a:pt x="442297" y="1848447"/>
                  </a:cubicBezTo>
                  <a:cubicBezTo>
                    <a:pt x="452569" y="1848054"/>
                    <a:pt x="462492" y="1852148"/>
                    <a:pt x="469494" y="1859664"/>
                  </a:cubicBezTo>
                  <a:cubicBezTo>
                    <a:pt x="506166" y="1899013"/>
                    <a:pt x="540388" y="1940549"/>
                    <a:pt x="571991" y="1984060"/>
                  </a:cubicBezTo>
                  <a:cubicBezTo>
                    <a:pt x="575678" y="1990162"/>
                    <a:pt x="583623" y="1992114"/>
                    <a:pt x="589737" y="1988435"/>
                  </a:cubicBezTo>
                  <a:cubicBezTo>
                    <a:pt x="595851" y="1984755"/>
                    <a:pt x="597807" y="1976825"/>
                    <a:pt x="594120" y="1970723"/>
                  </a:cubicBezTo>
                  <a:cubicBezTo>
                    <a:pt x="593761" y="1970128"/>
                    <a:pt x="593345" y="1969556"/>
                    <a:pt x="592895" y="1969029"/>
                  </a:cubicBezTo>
                  <a:cubicBezTo>
                    <a:pt x="560573" y="1924363"/>
                    <a:pt x="525474" y="1881772"/>
                    <a:pt x="487813" y="1841492"/>
                  </a:cubicBezTo>
                  <a:cubicBezTo>
                    <a:pt x="475833" y="1828862"/>
                    <a:pt x="459042" y="1821896"/>
                    <a:pt x="441622" y="1822311"/>
                  </a:cubicBezTo>
                  <a:cubicBezTo>
                    <a:pt x="400826" y="1823209"/>
                    <a:pt x="364188" y="1862580"/>
                    <a:pt x="362951" y="1864263"/>
                  </a:cubicBezTo>
                  <a:cubicBezTo>
                    <a:pt x="358366" y="1869243"/>
                    <a:pt x="358366" y="1876893"/>
                    <a:pt x="362951" y="1881873"/>
                  </a:cubicBezTo>
                  <a:lnTo>
                    <a:pt x="503885" y="2030274"/>
                  </a:lnTo>
                  <a:lnTo>
                    <a:pt x="633130" y="2151978"/>
                  </a:lnTo>
                  <a:cubicBezTo>
                    <a:pt x="634310" y="2153133"/>
                    <a:pt x="635726" y="2154008"/>
                    <a:pt x="637288" y="2154558"/>
                  </a:cubicBezTo>
                  <a:lnTo>
                    <a:pt x="833516" y="2230497"/>
                  </a:lnTo>
                  <a:lnTo>
                    <a:pt x="826548" y="2245527"/>
                  </a:lnTo>
                  <a:cubicBezTo>
                    <a:pt x="822142" y="2254759"/>
                    <a:pt x="826076" y="2265797"/>
                    <a:pt x="835325" y="2270194"/>
                  </a:cubicBezTo>
                  <a:cubicBezTo>
                    <a:pt x="835584" y="2270317"/>
                    <a:pt x="835842" y="2270429"/>
                    <a:pt x="836101" y="2270541"/>
                  </a:cubicBezTo>
                  <a:lnTo>
                    <a:pt x="932529" y="2311820"/>
                  </a:lnTo>
                  <a:lnTo>
                    <a:pt x="931855" y="2313390"/>
                  </a:lnTo>
                  <a:cubicBezTo>
                    <a:pt x="927562" y="2322779"/>
                    <a:pt x="931686" y="2333861"/>
                    <a:pt x="941070" y="2338180"/>
                  </a:cubicBezTo>
                  <a:cubicBezTo>
                    <a:pt x="1055818" y="2390451"/>
                    <a:pt x="2056849" y="2844626"/>
                    <a:pt x="2173732" y="2844626"/>
                  </a:cubicBezTo>
                  <a:lnTo>
                    <a:pt x="2176654" y="2844626"/>
                  </a:lnTo>
                  <a:cubicBezTo>
                    <a:pt x="2269598" y="2837110"/>
                    <a:pt x="2648680" y="2574746"/>
                    <a:pt x="2753762" y="2501050"/>
                  </a:cubicBezTo>
                  <a:lnTo>
                    <a:pt x="2746569" y="3383826"/>
                  </a:lnTo>
                  <a:cubicBezTo>
                    <a:pt x="2746569" y="3394145"/>
                    <a:pt x="2754885" y="3402547"/>
                    <a:pt x="2765225" y="3402670"/>
                  </a:cubicBezTo>
                  <a:lnTo>
                    <a:pt x="2765225" y="3402670"/>
                  </a:lnTo>
                  <a:cubicBezTo>
                    <a:pt x="2775508" y="3402670"/>
                    <a:pt x="2783870" y="3394414"/>
                    <a:pt x="2783994" y="3384162"/>
                  </a:cubicBezTo>
                  <a:lnTo>
                    <a:pt x="2792310" y="2362184"/>
                  </a:lnTo>
                  <a:cubicBezTo>
                    <a:pt x="2792378" y="2351842"/>
                    <a:pt x="2784016" y="2343407"/>
                    <a:pt x="2773654" y="2343339"/>
                  </a:cubicBezTo>
                  <a:cubicBezTo>
                    <a:pt x="2773654" y="2343339"/>
                    <a:pt x="2773654" y="2343339"/>
                    <a:pt x="2773654" y="2343339"/>
                  </a:cubicBezTo>
                  <a:lnTo>
                    <a:pt x="2773654" y="2343339"/>
                  </a:lnTo>
                  <a:cubicBezTo>
                    <a:pt x="2763404" y="2343396"/>
                    <a:pt x="2755065" y="2351618"/>
                    <a:pt x="2754885" y="2361847"/>
                  </a:cubicBezTo>
                  <a:lnTo>
                    <a:pt x="2754211" y="2455060"/>
                  </a:lnTo>
                  <a:cubicBezTo>
                    <a:pt x="2558208" y="2593366"/>
                    <a:pt x="2243524" y="2801440"/>
                    <a:pt x="2173620" y="2807049"/>
                  </a:cubicBezTo>
                  <a:cubicBezTo>
                    <a:pt x="2103715" y="2812657"/>
                    <a:pt x="1425009" y="2516866"/>
                    <a:pt x="973550" y="2311596"/>
                  </a:cubicBezTo>
                  <a:lnTo>
                    <a:pt x="1143255" y="1937173"/>
                  </a:lnTo>
                  <a:lnTo>
                    <a:pt x="2148332" y="2345695"/>
                  </a:lnTo>
                  <a:cubicBezTo>
                    <a:pt x="2154300" y="2348062"/>
                    <a:pt x="2161066" y="2347265"/>
                    <a:pt x="2166314" y="2343564"/>
                  </a:cubicBezTo>
                  <a:lnTo>
                    <a:pt x="2625640" y="2017374"/>
                  </a:lnTo>
                  <a:lnTo>
                    <a:pt x="3146892" y="1679856"/>
                  </a:lnTo>
                  <a:lnTo>
                    <a:pt x="3184541" y="1884229"/>
                  </a:lnTo>
                  <a:cubicBezTo>
                    <a:pt x="3184968" y="1886730"/>
                    <a:pt x="3186137" y="1889030"/>
                    <a:pt x="3187913" y="1890847"/>
                  </a:cubicBezTo>
                  <a:lnTo>
                    <a:pt x="3272653" y="1978339"/>
                  </a:lnTo>
                  <a:cubicBezTo>
                    <a:pt x="3275080" y="1980818"/>
                    <a:pt x="3278396" y="1982232"/>
                    <a:pt x="3281869" y="1982265"/>
                  </a:cubicBezTo>
                  <a:lnTo>
                    <a:pt x="3281869" y="1982265"/>
                  </a:lnTo>
                  <a:cubicBezTo>
                    <a:pt x="3285274" y="1982265"/>
                    <a:pt x="3288533" y="1980930"/>
                    <a:pt x="3290972" y="1978564"/>
                  </a:cubicBezTo>
                  <a:cubicBezTo>
                    <a:pt x="3293332" y="1976208"/>
                    <a:pt x="3320192" y="1949512"/>
                    <a:pt x="3350087" y="1919338"/>
                  </a:cubicBezTo>
                  <a:lnTo>
                    <a:pt x="3387962" y="1972170"/>
                  </a:lnTo>
                  <a:cubicBezTo>
                    <a:pt x="3385051" y="1974234"/>
                    <a:pt x="3383096" y="1977397"/>
                    <a:pt x="3382567" y="1980919"/>
                  </a:cubicBezTo>
                  <a:cubicBezTo>
                    <a:pt x="3382005" y="1985069"/>
                    <a:pt x="3328060" y="2392582"/>
                    <a:pt x="3297715" y="2688710"/>
                  </a:cubicBezTo>
                  <a:cubicBezTo>
                    <a:pt x="3296984" y="2695687"/>
                    <a:pt x="3301986" y="2701969"/>
                    <a:pt x="3308954" y="2702843"/>
                  </a:cubicBezTo>
                  <a:lnTo>
                    <a:pt x="3311201" y="2702843"/>
                  </a:lnTo>
                  <a:cubicBezTo>
                    <a:pt x="3317686" y="2702843"/>
                    <a:pt x="3323171" y="2698043"/>
                    <a:pt x="3324014" y="2691626"/>
                  </a:cubicBezTo>
                  <a:cubicBezTo>
                    <a:pt x="3351099" y="2426345"/>
                    <a:pt x="3397403" y="2071328"/>
                    <a:pt x="3406955" y="1998193"/>
                  </a:cubicBezTo>
                  <a:lnTo>
                    <a:pt x="3415946" y="2010756"/>
                  </a:lnTo>
                  <a:cubicBezTo>
                    <a:pt x="3418318" y="2014121"/>
                    <a:pt x="3422172" y="2016129"/>
                    <a:pt x="3426286" y="2016141"/>
                  </a:cubicBezTo>
                  <a:lnTo>
                    <a:pt x="3426286" y="2016141"/>
                  </a:lnTo>
                  <a:cubicBezTo>
                    <a:pt x="3430332" y="2016163"/>
                    <a:pt x="3434130" y="2014245"/>
                    <a:pt x="3436513" y="2010981"/>
                  </a:cubicBezTo>
                  <a:lnTo>
                    <a:pt x="3443481" y="2001783"/>
                  </a:lnTo>
                  <a:lnTo>
                    <a:pt x="3491583" y="2703741"/>
                  </a:lnTo>
                  <a:cubicBezTo>
                    <a:pt x="3492111" y="2710482"/>
                    <a:pt x="3497730" y="2715709"/>
                    <a:pt x="3504507" y="2715743"/>
                  </a:cubicBezTo>
                  <a:lnTo>
                    <a:pt x="3505406" y="2715743"/>
                  </a:lnTo>
                  <a:cubicBezTo>
                    <a:pt x="3512464" y="2715261"/>
                    <a:pt x="3517803" y="2709170"/>
                    <a:pt x="3517319" y="2702125"/>
                  </a:cubicBezTo>
                  <a:cubicBezTo>
                    <a:pt x="3517319" y="2702103"/>
                    <a:pt x="3517319" y="2702081"/>
                    <a:pt x="3517319" y="2702058"/>
                  </a:cubicBezTo>
                  <a:lnTo>
                    <a:pt x="3467757" y="1978227"/>
                  </a:lnTo>
                  <a:cubicBezTo>
                    <a:pt x="3467622" y="1976107"/>
                    <a:pt x="3466925" y="1974054"/>
                    <a:pt x="3465734" y="1972282"/>
                  </a:cubicBezTo>
                  <a:lnTo>
                    <a:pt x="3507205" y="1917319"/>
                  </a:lnTo>
                  <a:cubicBezTo>
                    <a:pt x="3526760" y="1936948"/>
                    <a:pt x="3547327" y="1958149"/>
                    <a:pt x="3566320" y="1978676"/>
                  </a:cubicBezTo>
                  <a:cubicBezTo>
                    <a:pt x="3568781" y="1981256"/>
                    <a:pt x="3572198" y="1982714"/>
                    <a:pt x="3575761" y="1982714"/>
                  </a:cubicBezTo>
                  <a:lnTo>
                    <a:pt x="3575761" y="1982714"/>
                  </a:lnTo>
                  <a:cubicBezTo>
                    <a:pt x="3579267" y="1982691"/>
                    <a:pt x="3582628" y="1981278"/>
                    <a:pt x="3585089" y="1978788"/>
                  </a:cubicBezTo>
                  <a:lnTo>
                    <a:pt x="3677471" y="1881761"/>
                  </a:lnTo>
                  <a:cubicBezTo>
                    <a:pt x="3679393" y="1879854"/>
                    <a:pt x="3680618" y="1877375"/>
                    <a:pt x="3680955" y="1874694"/>
                  </a:cubicBezTo>
                  <a:lnTo>
                    <a:pt x="3710737" y="1665162"/>
                  </a:lnTo>
                  <a:lnTo>
                    <a:pt x="4206477" y="1972506"/>
                  </a:lnTo>
                  <a:cubicBezTo>
                    <a:pt x="4207174" y="1973135"/>
                    <a:pt x="4207927" y="1973707"/>
                    <a:pt x="4208725" y="1974189"/>
                  </a:cubicBezTo>
                  <a:lnTo>
                    <a:pt x="4283799" y="2021412"/>
                  </a:lnTo>
                  <a:lnTo>
                    <a:pt x="4743575" y="2347938"/>
                  </a:lnTo>
                  <a:cubicBezTo>
                    <a:pt x="4752015" y="2353951"/>
                    <a:pt x="4763737" y="2351999"/>
                    <a:pt x="4769750" y="2343575"/>
                  </a:cubicBezTo>
                  <a:cubicBezTo>
                    <a:pt x="4769761" y="2343575"/>
                    <a:pt x="4769761" y="2343564"/>
                    <a:pt x="4769761" y="2343564"/>
                  </a:cubicBezTo>
                  <a:cubicBezTo>
                    <a:pt x="4772301" y="2339975"/>
                    <a:pt x="4773459" y="2335600"/>
                    <a:pt x="4773020" y="2331225"/>
                  </a:cubicBezTo>
                  <a:lnTo>
                    <a:pt x="5197618" y="1342001"/>
                  </a:lnTo>
                  <a:lnTo>
                    <a:pt x="5581982" y="1489280"/>
                  </a:lnTo>
                  <a:cubicBezTo>
                    <a:pt x="5529048" y="1626799"/>
                    <a:pt x="5177389" y="2534813"/>
                    <a:pt x="5022632" y="2846533"/>
                  </a:cubicBezTo>
                  <a:cubicBezTo>
                    <a:pt x="5018080" y="2855764"/>
                    <a:pt x="5021846" y="2866937"/>
                    <a:pt x="5031061" y="2871547"/>
                  </a:cubicBezTo>
                  <a:cubicBezTo>
                    <a:pt x="5033634" y="2872859"/>
                    <a:pt x="5036489" y="2873555"/>
                    <a:pt x="5039378" y="2873565"/>
                  </a:cubicBezTo>
                  <a:cubicBezTo>
                    <a:pt x="5046536" y="2873611"/>
                    <a:pt x="5053089" y="2869550"/>
                    <a:pt x="5056236" y="2863134"/>
                  </a:cubicBezTo>
                  <a:cubicBezTo>
                    <a:pt x="5224030" y="2525839"/>
                    <a:pt x="5619744" y="1495673"/>
                    <a:pt x="5623678" y="1485354"/>
                  </a:cubicBezTo>
                  <a:cubicBezTo>
                    <a:pt x="5627308" y="1475729"/>
                    <a:pt x="5622430" y="1464995"/>
                    <a:pt x="5612799" y="1461372"/>
                  </a:cubicBezTo>
                  <a:cubicBezTo>
                    <a:pt x="5612675" y="1461327"/>
                    <a:pt x="5612563" y="1461282"/>
                    <a:pt x="5612439" y="1461237"/>
                  </a:cubicBezTo>
                  <a:lnTo>
                    <a:pt x="5587827" y="1451815"/>
                  </a:lnTo>
                  <a:lnTo>
                    <a:pt x="5631995" y="1357031"/>
                  </a:lnTo>
                  <a:cubicBezTo>
                    <a:pt x="5633389" y="1353734"/>
                    <a:pt x="5633389" y="1350009"/>
                    <a:pt x="5631995" y="1346712"/>
                  </a:cubicBezTo>
                  <a:cubicBezTo>
                    <a:pt x="5630635" y="1343392"/>
                    <a:pt x="5627937" y="1340789"/>
                    <a:pt x="5624577" y="1339533"/>
                  </a:cubicBezTo>
                  <a:lnTo>
                    <a:pt x="5621543" y="1338411"/>
                  </a:lnTo>
                  <a:lnTo>
                    <a:pt x="5709766" y="1141441"/>
                  </a:lnTo>
                  <a:cubicBezTo>
                    <a:pt x="5710419" y="1139916"/>
                    <a:pt x="5710801" y="1138278"/>
                    <a:pt x="5710891" y="1136618"/>
                  </a:cubicBezTo>
                  <a:lnTo>
                    <a:pt x="5768995" y="929328"/>
                  </a:lnTo>
                  <a:cubicBezTo>
                    <a:pt x="5769871" y="922262"/>
                    <a:pt x="5764847" y="915812"/>
                    <a:pt x="5757767" y="914937"/>
                  </a:cubicBezTo>
                  <a:cubicBezTo>
                    <a:pt x="5750686" y="914051"/>
                    <a:pt x="5744225" y="919065"/>
                    <a:pt x="5743348" y="926143"/>
                  </a:cubicBezTo>
                  <a:cubicBezTo>
                    <a:pt x="5743258" y="926861"/>
                    <a:pt x="5743224" y="927590"/>
                    <a:pt x="5743258" y="928319"/>
                  </a:cubicBezTo>
                  <a:lnTo>
                    <a:pt x="5685828" y="1133141"/>
                  </a:lnTo>
                  <a:lnTo>
                    <a:pt x="5597941" y="1329325"/>
                  </a:lnTo>
                  <a:lnTo>
                    <a:pt x="5291911" y="1214912"/>
                  </a:lnTo>
                  <a:lnTo>
                    <a:pt x="5367885" y="928319"/>
                  </a:lnTo>
                  <a:cubicBezTo>
                    <a:pt x="5386541" y="923832"/>
                    <a:pt x="5441386" y="914634"/>
                    <a:pt x="5484768" y="945930"/>
                  </a:cubicBezTo>
                  <a:cubicBezTo>
                    <a:pt x="5495332" y="953669"/>
                    <a:pt x="5496007" y="959951"/>
                    <a:pt x="5496007" y="961970"/>
                  </a:cubicBezTo>
                  <a:cubicBezTo>
                    <a:pt x="5497355" y="979468"/>
                    <a:pt x="5471618" y="1004819"/>
                    <a:pt x="5448804" y="1027253"/>
                  </a:cubicBezTo>
                  <a:cubicBezTo>
                    <a:pt x="5431013" y="1042754"/>
                    <a:pt x="5415829" y="1061004"/>
                    <a:pt x="5403849" y="1081318"/>
                  </a:cubicBezTo>
                  <a:cubicBezTo>
                    <a:pt x="5389666" y="1113646"/>
                    <a:pt x="5391239" y="1150695"/>
                    <a:pt x="5408120" y="1181710"/>
                  </a:cubicBezTo>
                  <a:cubicBezTo>
                    <a:pt x="5411727" y="1187834"/>
                    <a:pt x="5419617" y="1189887"/>
                    <a:pt x="5425765" y="1186309"/>
                  </a:cubicBezTo>
                  <a:cubicBezTo>
                    <a:pt x="5431912" y="1182663"/>
                    <a:pt x="5433969" y="1174756"/>
                    <a:pt x="5430372" y="1168586"/>
                  </a:cubicBezTo>
                  <a:cubicBezTo>
                    <a:pt x="5417740" y="1144885"/>
                    <a:pt x="5416582" y="1116742"/>
                    <a:pt x="5427226" y="1092087"/>
                  </a:cubicBezTo>
                  <a:cubicBezTo>
                    <a:pt x="5438183" y="1074711"/>
                    <a:pt x="5451625" y="1059030"/>
                    <a:pt x="5467123" y="1045536"/>
                  </a:cubicBezTo>
                  <a:cubicBezTo>
                    <a:pt x="5484992" y="1029642"/>
                    <a:pt x="5500648" y="1011414"/>
                    <a:pt x="5513651" y="991358"/>
                  </a:cubicBezTo>
                  <a:lnTo>
                    <a:pt x="5556246" y="1094218"/>
                  </a:lnTo>
                  <a:cubicBezTo>
                    <a:pt x="5559404" y="1102025"/>
                    <a:pt x="5568316" y="1105805"/>
                    <a:pt x="5576139" y="1102653"/>
                  </a:cubicBezTo>
                  <a:cubicBezTo>
                    <a:pt x="5578397" y="1101744"/>
                    <a:pt x="5580398" y="1100309"/>
                    <a:pt x="5581982" y="1098480"/>
                  </a:cubicBezTo>
                  <a:lnTo>
                    <a:pt x="5780458" y="873243"/>
                  </a:lnTo>
                  <a:lnTo>
                    <a:pt x="5930158" y="882890"/>
                  </a:lnTo>
                  <a:lnTo>
                    <a:pt x="5917121" y="850810"/>
                  </a:lnTo>
                  <a:lnTo>
                    <a:pt x="5784504" y="842173"/>
                  </a:lnTo>
                  <a:lnTo>
                    <a:pt x="5536466" y="243074"/>
                  </a:lnTo>
                  <a:lnTo>
                    <a:pt x="5810240" y="260797"/>
                  </a:lnTo>
                  <a:lnTo>
                    <a:pt x="5908017" y="496353"/>
                  </a:lnTo>
                  <a:lnTo>
                    <a:pt x="5936339" y="485136"/>
                  </a:lnTo>
                  <a:lnTo>
                    <a:pt x="5838675" y="249580"/>
                  </a:lnTo>
                  <a:lnTo>
                    <a:pt x="6019730" y="43188"/>
                  </a:lnTo>
                  <a:lnTo>
                    <a:pt x="6163698" y="390914"/>
                  </a:lnTo>
                  <a:lnTo>
                    <a:pt x="6192020" y="379697"/>
                  </a:lnTo>
                  <a:lnTo>
                    <a:pt x="6038724" y="9537"/>
                  </a:lnTo>
                  <a:cubicBezTo>
                    <a:pt x="6036768" y="4758"/>
                    <a:pt x="6032553" y="1270"/>
                    <a:pt x="6027485" y="227"/>
                  </a:cubicBezTo>
                  <a:cubicBezTo>
                    <a:pt x="6022237" y="-693"/>
                    <a:pt x="6016898" y="1225"/>
                    <a:pt x="6013436" y="5274"/>
                  </a:cubicBezTo>
                  <a:lnTo>
                    <a:pt x="5814511" y="230623"/>
                  </a:lnTo>
                  <a:lnTo>
                    <a:pt x="5513988" y="211442"/>
                  </a:lnTo>
                  <a:cubicBezTo>
                    <a:pt x="5512797" y="211252"/>
                    <a:pt x="5511583" y="211252"/>
                    <a:pt x="5510392" y="211442"/>
                  </a:cubicBezTo>
                  <a:cubicBezTo>
                    <a:pt x="5507942" y="211824"/>
                    <a:pt x="5505649" y="212878"/>
                    <a:pt x="5503761" y="214471"/>
                  </a:cubicBezTo>
                  <a:cubicBezTo>
                    <a:pt x="5502918" y="214897"/>
                    <a:pt x="5502165" y="215469"/>
                    <a:pt x="5501513" y="216153"/>
                  </a:cubicBezTo>
                  <a:lnTo>
                    <a:pt x="5297081" y="446999"/>
                  </a:lnTo>
                  <a:cubicBezTo>
                    <a:pt x="5293249" y="451385"/>
                    <a:pt x="5292249" y="457565"/>
                    <a:pt x="5294496" y="462927"/>
                  </a:cubicBezTo>
                  <a:lnTo>
                    <a:pt x="5481284" y="914073"/>
                  </a:lnTo>
                  <a:cubicBezTo>
                    <a:pt x="5421718" y="883900"/>
                    <a:pt x="5356085" y="904539"/>
                    <a:pt x="5353050" y="905548"/>
                  </a:cubicBezTo>
                  <a:cubicBezTo>
                    <a:pt x="5348858" y="906894"/>
                    <a:pt x="5345644" y="910271"/>
                    <a:pt x="5344508" y="914522"/>
                  </a:cubicBezTo>
                  <a:lnTo>
                    <a:pt x="5267636" y="1206163"/>
                  </a:lnTo>
                  <a:lnTo>
                    <a:pt x="5250665" y="1199769"/>
                  </a:lnTo>
                  <a:cubicBezTo>
                    <a:pt x="5247282" y="1198547"/>
                    <a:pt x="5243551" y="1198749"/>
                    <a:pt x="5240326" y="1200330"/>
                  </a:cubicBezTo>
                  <a:cubicBezTo>
                    <a:pt x="5237078" y="1201923"/>
                    <a:pt x="5234672" y="1204817"/>
                    <a:pt x="5233695" y="1208294"/>
                  </a:cubicBezTo>
                  <a:lnTo>
                    <a:pt x="5205598" y="1305433"/>
                  </a:lnTo>
                  <a:lnTo>
                    <a:pt x="5194359" y="1301059"/>
                  </a:lnTo>
                  <a:cubicBezTo>
                    <a:pt x="5184964" y="1297469"/>
                    <a:pt x="5174399" y="1301922"/>
                    <a:pt x="5170421" y="1311154"/>
                  </a:cubicBezTo>
                  <a:lnTo>
                    <a:pt x="4744586" y="2303183"/>
                  </a:lnTo>
                  <a:lnTo>
                    <a:pt x="4305265" y="1991127"/>
                  </a:lnTo>
                  <a:lnTo>
                    <a:pt x="4304366" y="1990566"/>
                  </a:lnTo>
                  <a:lnTo>
                    <a:pt x="4275370" y="1972506"/>
                  </a:lnTo>
                  <a:cubicBezTo>
                    <a:pt x="4274347" y="1971486"/>
                    <a:pt x="4273213" y="1970588"/>
                    <a:pt x="4271999" y="1969814"/>
                  </a:cubicBezTo>
                  <a:lnTo>
                    <a:pt x="3642631" y="1578118"/>
                  </a:lnTo>
                  <a:cubicBezTo>
                    <a:pt x="3730068" y="1566340"/>
                    <a:pt x="3792892" y="1538746"/>
                    <a:pt x="3872350" y="1474249"/>
                  </a:cubicBezTo>
                  <a:cubicBezTo>
                    <a:pt x="3988446" y="1379914"/>
                    <a:pt x="4083975" y="1249909"/>
                    <a:pt x="4148598" y="1097246"/>
                  </a:cubicBezTo>
                  <a:cubicBezTo>
                    <a:pt x="4152059" y="1087499"/>
                    <a:pt x="4146934" y="1076787"/>
                    <a:pt x="4137168" y="1073343"/>
                  </a:cubicBezTo>
                  <a:cubicBezTo>
                    <a:pt x="4128222" y="1070180"/>
                    <a:pt x="4118320" y="1074184"/>
                    <a:pt x="4114095" y="1082664"/>
                  </a:cubicBezTo>
                  <a:cubicBezTo>
                    <a:pt x="4051833" y="1229382"/>
                    <a:pt x="3960124" y="1354676"/>
                    <a:pt x="3848637" y="1445197"/>
                  </a:cubicBezTo>
                  <a:cubicBezTo>
                    <a:pt x="3726247" y="1544691"/>
                    <a:pt x="3649599" y="1549402"/>
                    <a:pt x="3425611" y="1549402"/>
                  </a:cubicBezTo>
                  <a:cubicBezTo>
                    <a:pt x="3163300" y="1549402"/>
                    <a:pt x="3122166" y="1543570"/>
                    <a:pt x="3000563" y="1443626"/>
                  </a:cubicBezTo>
                  <a:cubicBezTo>
                    <a:pt x="2886603" y="1350413"/>
                    <a:pt x="2807820" y="1240487"/>
                    <a:pt x="2744995" y="1087151"/>
                  </a:cubicBezTo>
                  <a:cubicBezTo>
                    <a:pt x="2741084" y="1077605"/>
                    <a:pt x="2730172" y="1073040"/>
                    <a:pt x="2720608" y="1076944"/>
                  </a:cubicBezTo>
                  <a:cubicBezTo>
                    <a:pt x="2711043" y="1080847"/>
                    <a:pt x="2706469" y="1091739"/>
                    <a:pt x="2710380" y="1101284"/>
                  </a:cubicBezTo>
                  <a:cubicBezTo>
                    <a:pt x="2774778" y="1258322"/>
                    <a:pt x="2859405" y="1376549"/>
                    <a:pt x="2976850" y="1472566"/>
                  </a:cubicBezTo>
                  <a:cubicBezTo>
                    <a:pt x="3067434" y="1546598"/>
                    <a:pt x="3118121" y="1572846"/>
                    <a:pt x="3229833" y="1582044"/>
                  </a:cubicBezTo>
                  <a:lnTo>
                    <a:pt x="2605074" y="1986528"/>
                  </a:lnTo>
                  <a:lnTo>
                    <a:pt x="2153615" y="2307109"/>
                  </a:lnTo>
                  <a:lnTo>
                    <a:pt x="1141344" y="1895670"/>
                  </a:lnTo>
                  <a:cubicBezTo>
                    <a:pt x="1132005" y="1891890"/>
                    <a:pt x="1121328" y="1896141"/>
                    <a:pt x="1117181" y="1905317"/>
                  </a:cubicBezTo>
                  <a:lnTo>
                    <a:pt x="1114371" y="1911486"/>
                  </a:lnTo>
                  <a:lnTo>
                    <a:pt x="1024462" y="1865272"/>
                  </a:lnTo>
                  <a:cubicBezTo>
                    <a:pt x="1015212" y="1860606"/>
                    <a:pt x="1003917" y="1864296"/>
                    <a:pt x="999242" y="1873528"/>
                  </a:cubicBezTo>
                  <a:cubicBezTo>
                    <a:pt x="999141" y="1873730"/>
                    <a:pt x="999040" y="1873932"/>
                    <a:pt x="998950" y="1874134"/>
                  </a:cubicBezTo>
                  <a:lnTo>
                    <a:pt x="993330" y="1886248"/>
                  </a:lnTo>
                  <a:lnTo>
                    <a:pt x="737537" y="1736053"/>
                  </a:lnTo>
                  <a:cubicBezTo>
                    <a:pt x="733683" y="1733977"/>
                    <a:pt x="729030" y="1733977"/>
                    <a:pt x="725175" y="1736053"/>
                  </a:cubicBezTo>
                  <a:cubicBezTo>
                    <a:pt x="712857" y="1742536"/>
                    <a:pt x="701315" y="1750399"/>
                    <a:pt x="690784" y="1759496"/>
                  </a:cubicBezTo>
                  <a:lnTo>
                    <a:pt x="629533" y="1665610"/>
                  </a:lnTo>
                  <a:cubicBezTo>
                    <a:pt x="684075" y="1601505"/>
                    <a:pt x="713925" y="1520092"/>
                    <a:pt x="713711" y="1435999"/>
                  </a:cubicBezTo>
                  <a:cubicBezTo>
                    <a:pt x="713678" y="1420318"/>
                    <a:pt x="712632" y="1404659"/>
                    <a:pt x="710565" y="1389112"/>
                  </a:cubicBezTo>
                  <a:cubicBezTo>
                    <a:pt x="712554" y="1384030"/>
                    <a:pt x="713576" y="1378635"/>
                    <a:pt x="713599" y="1373184"/>
                  </a:cubicBezTo>
                  <a:lnTo>
                    <a:pt x="713599" y="1341664"/>
                  </a:lnTo>
                  <a:lnTo>
                    <a:pt x="748776" y="1341664"/>
                  </a:lnTo>
                  <a:cubicBezTo>
                    <a:pt x="773602" y="1341664"/>
                    <a:pt x="793731" y="1321574"/>
                    <a:pt x="793731" y="1296796"/>
                  </a:cubicBezTo>
                  <a:lnTo>
                    <a:pt x="793731" y="997640"/>
                  </a:lnTo>
                  <a:cubicBezTo>
                    <a:pt x="793731" y="972861"/>
                    <a:pt x="773602" y="952772"/>
                    <a:pt x="748776" y="952772"/>
                  </a:cubicBezTo>
                  <a:lnTo>
                    <a:pt x="269670" y="952772"/>
                  </a:lnTo>
                  <a:cubicBezTo>
                    <a:pt x="244844" y="952772"/>
                    <a:pt x="224715" y="972861"/>
                    <a:pt x="224715" y="997640"/>
                  </a:cubicBezTo>
                  <a:lnTo>
                    <a:pt x="224715" y="1029159"/>
                  </a:lnTo>
                  <a:lnTo>
                    <a:pt x="189988" y="1029159"/>
                  </a:lnTo>
                  <a:cubicBezTo>
                    <a:pt x="165161" y="1029159"/>
                    <a:pt x="145033" y="1049249"/>
                    <a:pt x="145033" y="1074027"/>
                  </a:cubicBezTo>
                  <a:lnTo>
                    <a:pt x="145033" y="1148732"/>
                  </a:lnTo>
                  <a:cubicBezTo>
                    <a:pt x="130681" y="1159366"/>
                    <a:pt x="117127" y="1171032"/>
                    <a:pt x="104461" y="1183617"/>
                  </a:cubicBezTo>
                  <a:cubicBezTo>
                    <a:pt x="-34888" y="1322786"/>
                    <a:pt x="-34809" y="1548359"/>
                    <a:pt x="104630" y="1687427"/>
                  </a:cubicBezTo>
                  <a:cubicBezTo>
                    <a:pt x="171556" y="1754168"/>
                    <a:pt x="262275" y="1791678"/>
                    <a:pt x="356882" y="1791689"/>
                  </a:cubicBezTo>
                  <a:close/>
                  <a:moveTo>
                    <a:pt x="5507807" y="254964"/>
                  </a:moveTo>
                  <a:lnTo>
                    <a:pt x="5756070" y="854623"/>
                  </a:lnTo>
                  <a:lnTo>
                    <a:pt x="5574789" y="1060006"/>
                  </a:lnTo>
                  <a:lnTo>
                    <a:pt x="5326527" y="460347"/>
                  </a:lnTo>
                  <a:close/>
                  <a:moveTo>
                    <a:pt x="5254599" y="1228822"/>
                  </a:moveTo>
                  <a:lnTo>
                    <a:pt x="5596705" y="1356695"/>
                  </a:lnTo>
                  <a:cubicBezTo>
                    <a:pt x="5597514" y="1357312"/>
                    <a:pt x="5598379" y="1357839"/>
                    <a:pt x="5599290" y="1358265"/>
                  </a:cubicBezTo>
                  <a:cubicBezTo>
                    <a:pt x="5600493" y="1358826"/>
                    <a:pt x="5601785" y="1359163"/>
                    <a:pt x="5603111" y="1359275"/>
                  </a:cubicBezTo>
                  <a:lnTo>
                    <a:pt x="5564113" y="1442841"/>
                  </a:lnTo>
                  <a:lnTo>
                    <a:pt x="5229762" y="1314631"/>
                  </a:lnTo>
                  <a:close/>
                  <a:moveTo>
                    <a:pt x="3282430" y="1950745"/>
                  </a:moveTo>
                  <a:lnTo>
                    <a:pt x="3210053" y="1875480"/>
                  </a:lnTo>
                  <a:lnTo>
                    <a:pt x="3171167" y="1664376"/>
                  </a:lnTo>
                  <a:lnTo>
                    <a:pt x="3253772" y="1610871"/>
                  </a:lnTo>
                  <a:lnTo>
                    <a:pt x="3252985" y="1711824"/>
                  </a:lnTo>
                  <a:cubicBezTo>
                    <a:pt x="3252861" y="1717769"/>
                    <a:pt x="3255682" y="1723389"/>
                    <a:pt x="3260515" y="1726855"/>
                  </a:cubicBezTo>
                  <a:lnTo>
                    <a:pt x="3399987" y="1831285"/>
                  </a:lnTo>
                  <a:cubicBezTo>
                    <a:pt x="3370092" y="1863141"/>
                    <a:pt x="3306369" y="1926853"/>
                    <a:pt x="3282430" y="1950745"/>
                  </a:cubicBezTo>
                  <a:close/>
                  <a:moveTo>
                    <a:pt x="3426623" y="1980919"/>
                  </a:moveTo>
                  <a:lnTo>
                    <a:pt x="3369306" y="1900942"/>
                  </a:lnTo>
                  <a:cubicBezTo>
                    <a:pt x="3369306" y="1900942"/>
                    <a:pt x="3369306" y="1900942"/>
                    <a:pt x="3369306" y="1900942"/>
                  </a:cubicBezTo>
                  <a:cubicBezTo>
                    <a:pt x="3391783" y="1878508"/>
                    <a:pt x="3413698" y="1856074"/>
                    <a:pt x="3425499" y="1842278"/>
                  </a:cubicBezTo>
                  <a:cubicBezTo>
                    <a:pt x="3447808" y="1859596"/>
                    <a:pt x="3468982" y="1878329"/>
                    <a:pt x="3488885" y="1898362"/>
                  </a:cubicBezTo>
                  <a:close/>
                  <a:moveTo>
                    <a:pt x="3656117" y="1866282"/>
                  </a:moveTo>
                  <a:lnTo>
                    <a:pt x="3575985" y="1950073"/>
                  </a:lnTo>
                  <a:cubicBezTo>
                    <a:pt x="3536324" y="1906831"/>
                    <a:pt x="3494066" y="1866035"/>
                    <a:pt x="3449437" y="1827920"/>
                  </a:cubicBezTo>
                  <a:lnTo>
                    <a:pt x="3602846" y="1738184"/>
                  </a:lnTo>
                  <a:cubicBezTo>
                    <a:pt x="3608567" y="1734808"/>
                    <a:pt x="3612073" y="1728661"/>
                    <a:pt x="3612062" y="1722032"/>
                  </a:cubicBezTo>
                  <a:lnTo>
                    <a:pt x="3612062" y="1603019"/>
                  </a:lnTo>
                  <a:lnTo>
                    <a:pt x="3686911" y="1649570"/>
                  </a:lnTo>
                  <a:close/>
                  <a:moveTo>
                    <a:pt x="3574637" y="1583839"/>
                  </a:moveTo>
                  <a:lnTo>
                    <a:pt x="3574637" y="1711600"/>
                  </a:lnTo>
                  <a:lnTo>
                    <a:pt x="3421341" y="1801335"/>
                  </a:lnTo>
                  <a:lnTo>
                    <a:pt x="3290073" y="1703299"/>
                  </a:lnTo>
                  <a:lnTo>
                    <a:pt x="3290972" y="1591129"/>
                  </a:lnTo>
                  <a:cubicBezTo>
                    <a:pt x="3290927" y="1589077"/>
                    <a:pt x="3290590" y="1587035"/>
                    <a:pt x="3289960" y="1585072"/>
                  </a:cubicBezTo>
                  <a:cubicBezTo>
                    <a:pt x="3328060" y="1586306"/>
                    <a:pt x="3372453" y="1586530"/>
                    <a:pt x="3425387" y="1586530"/>
                  </a:cubicBezTo>
                  <a:cubicBezTo>
                    <a:pt x="3483266" y="1586418"/>
                    <a:pt x="3531930" y="1586082"/>
                    <a:pt x="3574637" y="1583839"/>
                  </a:cubicBezTo>
                  <a:close/>
                  <a:moveTo>
                    <a:pt x="1023450" y="1907448"/>
                  </a:moveTo>
                  <a:lnTo>
                    <a:pt x="1098075" y="1945586"/>
                  </a:lnTo>
                  <a:lnTo>
                    <a:pt x="947701" y="2277496"/>
                  </a:lnTo>
                  <a:lnTo>
                    <a:pt x="868244" y="2243845"/>
                  </a:lnTo>
                  <a:close/>
                  <a:moveTo>
                    <a:pt x="659541" y="1793035"/>
                  </a:moveTo>
                  <a:cubicBezTo>
                    <a:pt x="646976" y="1810567"/>
                    <a:pt x="638524" y="1830690"/>
                    <a:pt x="634816" y="1851924"/>
                  </a:cubicBezTo>
                  <a:cubicBezTo>
                    <a:pt x="631568" y="1865990"/>
                    <a:pt x="634917" y="1880774"/>
                    <a:pt x="643919" y="1892081"/>
                  </a:cubicBezTo>
                  <a:cubicBezTo>
                    <a:pt x="662350" y="1913730"/>
                    <a:pt x="700899" y="1914515"/>
                    <a:pt x="738999" y="1914515"/>
                  </a:cubicBezTo>
                  <a:lnTo>
                    <a:pt x="760015" y="1946708"/>
                  </a:lnTo>
                  <a:cubicBezTo>
                    <a:pt x="761195" y="1948558"/>
                    <a:pt x="761858" y="1950689"/>
                    <a:pt x="761925" y="1952877"/>
                  </a:cubicBezTo>
                  <a:cubicBezTo>
                    <a:pt x="762060" y="1953696"/>
                    <a:pt x="762060" y="1954526"/>
                    <a:pt x="761925" y="1955344"/>
                  </a:cubicBezTo>
                  <a:cubicBezTo>
                    <a:pt x="761274" y="1958497"/>
                    <a:pt x="759363" y="1961245"/>
                    <a:pt x="756643" y="1962972"/>
                  </a:cubicBezTo>
                  <a:lnTo>
                    <a:pt x="697078" y="2001783"/>
                  </a:lnTo>
                  <a:cubicBezTo>
                    <a:pt x="691526" y="2005529"/>
                    <a:pt x="683985" y="2004082"/>
                    <a:pt x="680220" y="1998530"/>
                  </a:cubicBezTo>
                  <a:cubicBezTo>
                    <a:pt x="680220" y="1998530"/>
                    <a:pt x="680220" y="1998530"/>
                    <a:pt x="680220" y="1998530"/>
                  </a:cubicBezTo>
                  <a:lnTo>
                    <a:pt x="519956" y="1752878"/>
                  </a:lnTo>
                  <a:cubicBezTo>
                    <a:pt x="548525" y="1738375"/>
                    <a:pt x="574992" y="1720080"/>
                    <a:pt x="598627" y="1698476"/>
                  </a:cubicBezTo>
                  <a:close/>
                  <a:moveTo>
                    <a:pt x="175602" y="1182944"/>
                  </a:moveTo>
                  <a:cubicBezTo>
                    <a:pt x="220681" y="1150482"/>
                    <a:pt x="273660" y="1130684"/>
                    <a:pt x="329010" y="1125625"/>
                  </a:cubicBezTo>
                  <a:lnTo>
                    <a:pt x="329010" y="1334373"/>
                  </a:lnTo>
                  <a:lnTo>
                    <a:pt x="351488" y="1334373"/>
                  </a:lnTo>
                  <a:lnTo>
                    <a:pt x="351488" y="1124504"/>
                  </a:lnTo>
                  <a:lnTo>
                    <a:pt x="357557" y="1124504"/>
                  </a:lnTo>
                  <a:cubicBezTo>
                    <a:pt x="443982" y="1124492"/>
                    <a:pt x="526519" y="1160375"/>
                    <a:pt x="585365" y="1223550"/>
                  </a:cubicBezTo>
                  <a:lnTo>
                    <a:pt x="384642" y="1223550"/>
                  </a:lnTo>
                  <a:lnTo>
                    <a:pt x="384642" y="1238580"/>
                  </a:lnTo>
                  <a:lnTo>
                    <a:pt x="598178" y="1238580"/>
                  </a:lnTo>
                  <a:cubicBezTo>
                    <a:pt x="618913" y="1263616"/>
                    <a:pt x="635591" y="1291737"/>
                    <a:pt x="647628" y="1321922"/>
                  </a:cubicBezTo>
                  <a:lnTo>
                    <a:pt x="609529" y="1321922"/>
                  </a:lnTo>
                  <a:lnTo>
                    <a:pt x="609529" y="1320464"/>
                  </a:lnTo>
                  <a:lnTo>
                    <a:pt x="384754" y="1320464"/>
                  </a:lnTo>
                  <a:lnTo>
                    <a:pt x="384754" y="1335383"/>
                  </a:lnTo>
                  <a:lnTo>
                    <a:pt x="385429" y="1335383"/>
                  </a:lnTo>
                  <a:cubicBezTo>
                    <a:pt x="384844" y="1337043"/>
                    <a:pt x="384541" y="1338781"/>
                    <a:pt x="384530" y="1340542"/>
                  </a:cubicBezTo>
                  <a:cubicBezTo>
                    <a:pt x="384530" y="1350884"/>
                    <a:pt x="392936" y="1359275"/>
                    <a:pt x="403298" y="1359275"/>
                  </a:cubicBezTo>
                  <a:lnTo>
                    <a:pt x="658866" y="1359275"/>
                  </a:lnTo>
                  <a:cubicBezTo>
                    <a:pt x="661227" y="1368585"/>
                    <a:pt x="663250" y="1378007"/>
                    <a:pt x="664711" y="1387654"/>
                  </a:cubicBezTo>
                  <a:lnTo>
                    <a:pt x="190100" y="1387654"/>
                  </a:lnTo>
                  <a:cubicBezTo>
                    <a:pt x="181839" y="1387654"/>
                    <a:pt x="175153" y="1380980"/>
                    <a:pt x="175153" y="1372735"/>
                  </a:cubicBezTo>
                  <a:close/>
                  <a:moveTo>
                    <a:pt x="596267" y="1170830"/>
                  </a:moveTo>
                  <a:lnTo>
                    <a:pt x="590872" y="1166118"/>
                  </a:lnTo>
                  <a:lnTo>
                    <a:pt x="590872" y="1103640"/>
                  </a:lnTo>
                  <a:lnTo>
                    <a:pt x="640210" y="1103640"/>
                  </a:lnTo>
                  <a:lnTo>
                    <a:pt x="640210" y="1170942"/>
                  </a:lnTo>
                  <a:close/>
                  <a:moveTo>
                    <a:pt x="254273" y="997640"/>
                  </a:moveTo>
                  <a:cubicBezTo>
                    <a:pt x="254329" y="989429"/>
                    <a:pt x="260994" y="982777"/>
                    <a:pt x="269221" y="982721"/>
                  </a:cubicBezTo>
                  <a:lnTo>
                    <a:pt x="748776" y="982721"/>
                  </a:lnTo>
                  <a:cubicBezTo>
                    <a:pt x="757003" y="982777"/>
                    <a:pt x="763667" y="989429"/>
                    <a:pt x="763724" y="997640"/>
                  </a:cubicBezTo>
                  <a:lnTo>
                    <a:pt x="763724" y="1296348"/>
                  </a:lnTo>
                  <a:cubicBezTo>
                    <a:pt x="763724" y="1304592"/>
                    <a:pt x="757037" y="1311266"/>
                    <a:pt x="748776" y="1311266"/>
                  </a:cubicBezTo>
                  <a:lnTo>
                    <a:pt x="714049" y="1311266"/>
                  </a:lnTo>
                  <a:lnTo>
                    <a:pt x="714049" y="1074027"/>
                  </a:lnTo>
                  <a:cubicBezTo>
                    <a:pt x="714049" y="1049249"/>
                    <a:pt x="693920" y="1029159"/>
                    <a:pt x="669094" y="1029159"/>
                  </a:cubicBezTo>
                  <a:lnTo>
                    <a:pt x="254273" y="1029159"/>
                  </a:lnTo>
                  <a:close/>
                  <a:moveTo>
                    <a:pt x="175602" y="1074027"/>
                  </a:moveTo>
                  <a:cubicBezTo>
                    <a:pt x="175535" y="1065850"/>
                    <a:pt x="182132" y="1059176"/>
                    <a:pt x="190325" y="1059109"/>
                  </a:cubicBezTo>
                  <a:cubicBezTo>
                    <a:pt x="190403" y="1059109"/>
                    <a:pt x="190471" y="1059109"/>
                    <a:pt x="190550" y="1059109"/>
                  </a:cubicBezTo>
                  <a:lnTo>
                    <a:pt x="668981" y="1059109"/>
                  </a:lnTo>
                  <a:cubicBezTo>
                    <a:pt x="677242" y="1059109"/>
                    <a:pt x="683929" y="1065783"/>
                    <a:pt x="683929" y="1074027"/>
                  </a:cubicBezTo>
                  <a:lnTo>
                    <a:pt x="683929" y="1292309"/>
                  </a:lnTo>
                  <a:cubicBezTo>
                    <a:pt x="667857" y="1255865"/>
                    <a:pt x="645740" y="1222383"/>
                    <a:pt x="618520" y="1193264"/>
                  </a:cubicBezTo>
                  <a:lnTo>
                    <a:pt x="662238" y="1193264"/>
                  </a:lnTo>
                  <a:lnTo>
                    <a:pt x="662238" y="1081094"/>
                  </a:lnTo>
                  <a:lnTo>
                    <a:pt x="567945" y="1081094"/>
                  </a:lnTo>
                  <a:lnTo>
                    <a:pt x="567945" y="1148396"/>
                  </a:lnTo>
                  <a:cubicBezTo>
                    <a:pt x="452782" y="1064336"/>
                    <a:pt x="298565" y="1056663"/>
                    <a:pt x="175602" y="1128878"/>
                  </a:cubicBezTo>
                  <a:close/>
                  <a:moveTo>
                    <a:pt x="145595" y="1207397"/>
                  </a:moveTo>
                  <a:lnTo>
                    <a:pt x="145595" y="1372735"/>
                  </a:lnTo>
                  <a:cubicBezTo>
                    <a:pt x="145595" y="1397514"/>
                    <a:pt x="165723" y="1417603"/>
                    <a:pt x="190550" y="1417603"/>
                  </a:cubicBezTo>
                  <a:lnTo>
                    <a:pt x="668757" y="1417603"/>
                  </a:lnTo>
                  <a:cubicBezTo>
                    <a:pt x="668757" y="1423548"/>
                    <a:pt x="668757" y="1429605"/>
                    <a:pt x="668757" y="1435662"/>
                  </a:cubicBezTo>
                  <a:cubicBezTo>
                    <a:pt x="668914" y="1607574"/>
                    <a:pt x="529408" y="1747057"/>
                    <a:pt x="357163" y="1747214"/>
                  </a:cubicBezTo>
                  <a:cubicBezTo>
                    <a:pt x="184919" y="1747370"/>
                    <a:pt x="45166" y="1608134"/>
                    <a:pt x="45008" y="1436223"/>
                  </a:cubicBezTo>
                  <a:cubicBezTo>
                    <a:pt x="44930" y="1349404"/>
                    <a:pt x="81186" y="1266488"/>
                    <a:pt x="145033" y="1207509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1" name="Freeform 280">
              <a:extLst>
                <a:ext uri="{FF2B5EF4-FFF2-40B4-BE49-F238E27FC236}">
                  <a16:creationId xmlns:a16="http://schemas.microsoft.com/office/drawing/2014/main" id="{CB868193-5C54-3D4D-B315-D0E25717E10F}"/>
                </a:ext>
              </a:extLst>
            </p:cNvPr>
            <p:cNvSpPr/>
            <p:nvPr/>
          </p:nvSpPr>
          <p:spPr>
            <a:xfrm>
              <a:off x="8838050" y="1820405"/>
              <a:ext cx="11695" cy="23443"/>
            </a:xfrm>
            <a:custGeom>
              <a:avLst/>
              <a:gdLst>
                <a:gd name="connsiteX0" fmla="*/ 11695 w 11695"/>
                <a:gd name="connsiteY0" fmla="*/ 0 h 23443"/>
                <a:gd name="connsiteX1" fmla="*/ 2929 w 11695"/>
                <a:gd name="connsiteY1" fmla="*/ 4038 h 23443"/>
                <a:gd name="connsiteX2" fmla="*/ 7 w 11695"/>
                <a:gd name="connsiteY2" fmla="*/ 11217 h 23443"/>
                <a:gd name="connsiteX3" fmla="*/ 2929 w 11695"/>
                <a:gd name="connsiteY3" fmla="*/ 18845 h 23443"/>
                <a:gd name="connsiteX4" fmla="*/ 11695 w 11695"/>
                <a:gd name="connsiteY4" fmla="*/ 23443 h 23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695" h="23443">
                  <a:moveTo>
                    <a:pt x="11695" y="0"/>
                  </a:moveTo>
                  <a:cubicBezTo>
                    <a:pt x="8458" y="513"/>
                    <a:pt x="5424" y="1910"/>
                    <a:pt x="2929" y="4038"/>
                  </a:cubicBezTo>
                  <a:cubicBezTo>
                    <a:pt x="1041" y="5948"/>
                    <a:pt x="-15" y="8532"/>
                    <a:pt x="7" y="11217"/>
                  </a:cubicBezTo>
                  <a:cubicBezTo>
                    <a:pt x="-94" y="14050"/>
                    <a:pt x="962" y="16804"/>
                    <a:pt x="2929" y="18845"/>
                  </a:cubicBezTo>
                  <a:cubicBezTo>
                    <a:pt x="5469" y="21009"/>
                    <a:pt x="8469" y="22580"/>
                    <a:pt x="11695" y="23443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2" name="Freeform 281">
              <a:extLst>
                <a:ext uri="{FF2B5EF4-FFF2-40B4-BE49-F238E27FC236}">
                  <a16:creationId xmlns:a16="http://schemas.microsoft.com/office/drawing/2014/main" id="{1717CE86-825F-E246-BD0B-0D3096B5E71E}"/>
                </a:ext>
              </a:extLst>
            </p:cNvPr>
            <p:cNvSpPr/>
            <p:nvPr/>
          </p:nvSpPr>
          <p:spPr>
            <a:xfrm>
              <a:off x="8866265" y="1864824"/>
              <a:ext cx="9216" cy="22433"/>
            </a:xfrm>
            <a:custGeom>
              <a:avLst/>
              <a:gdLst>
                <a:gd name="connsiteX0" fmla="*/ 9216 w 9216"/>
                <a:gd name="connsiteY0" fmla="*/ 11666 h 22433"/>
                <a:gd name="connsiteX1" fmla="*/ 6968 w 9216"/>
                <a:gd name="connsiteY1" fmla="*/ 4823 h 22433"/>
                <a:gd name="connsiteX2" fmla="*/ 0 w 9216"/>
                <a:gd name="connsiteY2" fmla="*/ 0 h 22433"/>
                <a:gd name="connsiteX3" fmla="*/ 0 w 9216"/>
                <a:gd name="connsiteY3" fmla="*/ 22434 h 22433"/>
                <a:gd name="connsiteX4" fmla="*/ 6631 w 9216"/>
                <a:gd name="connsiteY4" fmla="*/ 18059 h 22433"/>
                <a:gd name="connsiteX5" fmla="*/ 9216 w 9216"/>
                <a:gd name="connsiteY5" fmla="*/ 11666 h 22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216" h="22433">
                  <a:moveTo>
                    <a:pt x="9216" y="11666"/>
                  </a:moveTo>
                  <a:cubicBezTo>
                    <a:pt x="9238" y="9200"/>
                    <a:pt x="8452" y="6795"/>
                    <a:pt x="6968" y="4823"/>
                  </a:cubicBezTo>
                  <a:cubicBezTo>
                    <a:pt x="5069" y="2678"/>
                    <a:pt x="2675" y="1023"/>
                    <a:pt x="0" y="0"/>
                  </a:cubicBezTo>
                  <a:lnTo>
                    <a:pt x="0" y="22434"/>
                  </a:lnTo>
                  <a:cubicBezTo>
                    <a:pt x="2495" y="21459"/>
                    <a:pt x="4754" y="19968"/>
                    <a:pt x="6631" y="18059"/>
                  </a:cubicBezTo>
                  <a:cubicBezTo>
                    <a:pt x="8306" y="16350"/>
                    <a:pt x="9227" y="14053"/>
                    <a:pt x="9216" y="11666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3" name="Freeform 282">
              <a:extLst>
                <a:ext uri="{FF2B5EF4-FFF2-40B4-BE49-F238E27FC236}">
                  <a16:creationId xmlns:a16="http://schemas.microsoft.com/office/drawing/2014/main" id="{AA1769F2-0B54-A44E-8A7F-D86502BD2EDF}"/>
                </a:ext>
              </a:extLst>
            </p:cNvPr>
            <p:cNvSpPr/>
            <p:nvPr/>
          </p:nvSpPr>
          <p:spPr>
            <a:xfrm>
              <a:off x="8768376" y="1766900"/>
              <a:ext cx="175998" cy="175657"/>
            </a:xfrm>
            <a:custGeom>
              <a:avLst/>
              <a:gdLst>
                <a:gd name="connsiteX0" fmla="*/ 87999 w 175998"/>
                <a:gd name="connsiteY0" fmla="*/ 175658 h 175657"/>
                <a:gd name="connsiteX1" fmla="*/ 175999 w 175998"/>
                <a:gd name="connsiteY1" fmla="*/ 87829 h 175657"/>
                <a:gd name="connsiteX2" fmla="*/ 87999 w 175998"/>
                <a:gd name="connsiteY2" fmla="*/ 0 h 175657"/>
                <a:gd name="connsiteX3" fmla="*/ 0 w 175998"/>
                <a:gd name="connsiteY3" fmla="*/ 87829 h 175657"/>
                <a:gd name="connsiteX4" fmla="*/ 87999 w 175998"/>
                <a:gd name="connsiteY4" fmla="*/ 175658 h 175657"/>
                <a:gd name="connsiteX5" fmla="*/ 53047 w 175998"/>
                <a:gd name="connsiteY5" fmla="*/ 65507 h 175657"/>
                <a:gd name="connsiteX6" fmla="*/ 60914 w 175998"/>
                <a:gd name="connsiteY6" fmla="*/ 46214 h 175657"/>
                <a:gd name="connsiteX7" fmla="*/ 81369 w 175998"/>
                <a:gd name="connsiteY7" fmla="*/ 37016 h 175657"/>
                <a:gd name="connsiteX8" fmla="*/ 81369 w 175998"/>
                <a:gd name="connsiteY8" fmla="*/ 32305 h 175657"/>
                <a:gd name="connsiteX9" fmla="*/ 83841 w 175998"/>
                <a:gd name="connsiteY9" fmla="*/ 26248 h 175657"/>
                <a:gd name="connsiteX10" fmla="*/ 90022 w 175998"/>
                <a:gd name="connsiteY10" fmla="*/ 23780 h 175657"/>
                <a:gd name="connsiteX11" fmla="*/ 95867 w 175998"/>
                <a:gd name="connsiteY11" fmla="*/ 25799 h 175657"/>
                <a:gd name="connsiteX12" fmla="*/ 98227 w 175998"/>
                <a:gd name="connsiteY12" fmla="*/ 31856 h 175657"/>
                <a:gd name="connsiteX13" fmla="*/ 98227 w 175998"/>
                <a:gd name="connsiteY13" fmla="*/ 37128 h 175657"/>
                <a:gd name="connsiteX14" fmla="*/ 118006 w 175998"/>
                <a:gd name="connsiteY14" fmla="*/ 45877 h 175657"/>
                <a:gd name="connsiteX15" fmla="*/ 122165 w 175998"/>
                <a:gd name="connsiteY15" fmla="*/ 53281 h 175657"/>
                <a:gd name="connsiteX16" fmla="*/ 119693 w 175998"/>
                <a:gd name="connsiteY16" fmla="*/ 59001 h 175657"/>
                <a:gd name="connsiteX17" fmla="*/ 114073 w 175998"/>
                <a:gd name="connsiteY17" fmla="*/ 61469 h 175657"/>
                <a:gd name="connsiteX18" fmla="*/ 110252 w 175998"/>
                <a:gd name="connsiteY18" fmla="*/ 60235 h 175657"/>
                <a:gd name="connsiteX19" fmla="*/ 98227 w 175998"/>
                <a:gd name="connsiteY19" fmla="*/ 54178 h 175657"/>
                <a:gd name="connsiteX20" fmla="*/ 98227 w 175998"/>
                <a:gd name="connsiteY20" fmla="*/ 80201 h 175657"/>
                <a:gd name="connsiteX21" fmla="*/ 118119 w 175998"/>
                <a:gd name="connsiteY21" fmla="*/ 89736 h 175657"/>
                <a:gd name="connsiteX22" fmla="*/ 116995 w 175998"/>
                <a:gd name="connsiteY22" fmla="*/ 126527 h 175657"/>
                <a:gd name="connsiteX23" fmla="*/ 98227 w 175998"/>
                <a:gd name="connsiteY23" fmla="*/ 136511 h 175657"/>
                <a:gd name="connsiteX24" fmla="*/ 98227 w 175998"/>
                <a:gd name="connsiteY24" fmla="*/ 145260 h 175657"/>
                <a:gd name="connsiteX25" fmla="*/ 95754 w 175998"/>
                <a:gd name="connsiteY25" fmla="*/ 151429 h 175657"/>
                <a:gd name="connsiteX26" fmla="*/ 89573 w 175998"/>
                <a:gd name="connsiteY26" fmla="*/ 153897 h 175657"/>
                <a:gd name="connsiteX27" fmla="*/ 83729 w 175998"/>
                <a:gd name="connsiteY27" fmla="*/ 151429 h 175657"/>
                <a:gd name="connsiteX28" fmla="*/ 81256 w 175998"/>
                <a:gd name="connsiteY28" fmla="*/ 145260 h 175657"/>
                <a:gd name="connsiteX29" fmla="*/ 81256 w 175998"/>
                <a:gd name="connsiteY29" fmla="*/ 137969 h 175657"/>
                <a:gd name="connsiteX30" fmla="*/ 67320 w 175998"/>
                <a:gd name="connsiteY30" fmla="*/ 134716 h 175657"/>
                <a:gd name="connsiteX31" fmla="*/ 55182 w 175998"/>
                <a:gd name="connsiteY31" fmla="*/ 127088 h 175657"/>
                <a:gd name="connsiteX32" fmla="*/ 51361 w 175998"/>
                <a:gd name="connsiteY32" fmla="*/ 119573 h 175657"/>
                <a:gd name="connsiteX33" fmla="*/ 59566 w 175998"/>
                <a:gd name="connsiteY33" fmla="*/ 111385 h 175657"/>
                <a:gd name="connsiteX34" fmla="*/ 64286 w 175998"/>
                <a:gd name="connsiteY34" fmla="*/ 113067 h 175657"/>
                <a:gd name="connsiteX35" fmla="*/ 72715 w 175998"/>
                <a:gd name="connsiteY35" fmla="*/ 118676 h 175657"/>
                <a:gd name="connsiteX36" fmla="*/ 81256 w 175998"/>
                <a:gd name="connsiteY36" fmla="*/ 121368 h 175657"/>
                <a:gd name="connsiteX37" fmla="*/ 81256 w 175998"/>
                <a:gd name="connsiteY37" fmla="*/ 93774 h 175657"/>
                <a:gd name="connsiteX38" fmla="*/ 53047 w 175998"/>
                <a:gd name="connsiteY38" fmla="*/ 65507 h 1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75998" h="175657">
                  <a:moveTo>
                    <a:pt x="87999" y="175658"/>
                  </a:moveTo>
                  <a:cubicBezTo>
                    <a:pt x="136596" y="175658"/>
                    <a:pt x="175999" y="136331"/>
                    <a:pt x="175999" y="87829"/>
                  </a:cubicBezTo>
                  <a:cubicBezTo>
                    <a:pt x="175999" y="39322"/>
                    <a:pt x="136596" y="0"/>
                    <a:pt x="87999" y="0"/>
                  </a:cubicBezTo>
                  <a:cubicBezTo>
                    <a:pt x="39403" y="0"/>
                    <a:pt x="0" y="39322"/>
                    <a:pt x="0" y="87829"/>
                  </a:cubicBezTo>
                  <a:cubicBezTo>
                    <a:pt x="0" y="136331"/>
                    <a:pt x="39403" y="175658"/>
                    <a:pt x="87999" y="175658"/>
                  </a:cubicBezTo>
                  <a:close/>
                  <a:moveTo>
                    <a:pt x="53047" y="65507"/>
                  </a:moveTo>
                  <a:cubicBezTo>
                    <a:pt x="52788" y="58251"/>
                    <a:pt x="55654" y="51231"/>
                    <a:pt x="60914" y="46214"/>
                  </a:cubicBezTo>
                  <a:cubicBezTo>
                    <a:pt x="66567" y="41030"/>
                    <a:pt x="73738" y="37803"/>
                    <a:pt x="81369" y="37016"/>
                  </a:cubicBezTo>
                  <a:lnTo>
                    <a:pt x="81369" y="32305"/>
                  </a:lnTo>
                  <a:cubicBezTo>
                    <a:pt x="81357" y="30038"/>
                    <a:pt x="82245" y="27859"/>
                    <a:pt x="83841" y="26248"/>
                  </a:cubicBezTo>
                  <a:cubicBezTo>
                    <a:pt x="85471" y="24602"/>
                    <a:pt x="87707" y="23708"/>
                    <a:pt x="90022" y="23780"/>
                  </a:cubicBezTo>
                  <a:cubicBezTo>
                    <a:pt x="92158" y="23642"/>
                    <a:pt x="94270" y="24369"/>
                    <a:pt x="95867" y="25799"/>
                  </a:cubicBezTo>
                  <a:cubicBezTo>
                    <a:pt x="97440" y="27421"/>
                    <a:pt x="98283" y="29603"/>
                    <a:pt x="98227" y="31856"/>
                  </a:cubicBezTo>
                  <a:lnTo>
                    <a:pt x="98227" y="37128"/>
                  </a:lnTo>
                  <a:cubicBezTo>
                    <a:pt x="105509" y="38153"/>
                    <a:pt x="112353" y="41183"/>
                    <a:pt x="118006" y="45877"/>
                  </a:cubicBezTo>
                  <a:cubicBezTo>
                    <a:pt x="120490" y="47548"/>
                    <a:pt x="122030" y="50295"/>
                    <a:pt x="122165" y="53281"/>
                  </a:cubicBezTo>
                  <a:cubicBezTo>
                    <a:pt x="122165" y="55447"/>
                    <a:pt x="121277" y="57516"/>
                    <a:pt x="119693" y="59001"/>
                  </a:cubicBezTo>
                  <a:cubicBezTo>
                    <a:pt x="118265" y="60595"/>
                    <a:pt x="116220" y="61495"/>
                    <a:pt x="114073" y="61469"/>
                  </a:cubicBezTo>
                  <a:cubicBezTo>
                    <a:pt x="112691" y="61531"/>
                    <a:pt x="111331" y="61093"/>
                    <a:pt x="110252" y="60235"/>
                  </a:cubicBezTo>
                  <a:cubicBezTo>
                    <a:pt x="106656" y="57485"/>
                    <a:pt x="102576" y="55431"/>
                    <a:pt x="98227" y="54178"/>
                  </a:cubicBezTo>
                  <a:lnTo>
                    <a:pt x="98227" y="80201"/>
                  </a:lnTo>
                  <a:cubicBezTo>
                    <a:pt x="105588" y="81560"/>
                    <a:pt x="112455" y="84851"/>
                    <a:pt x="118119" y="89736"/>
                  </a:cubicBezTo>
                  <a:cubicBezTo>
                    <a:pt x="126942" y="100580"/>
                    <a:pt x="126458" y="116240"/>
                    <a:pt x="116995" y="126527"/>
                  </a:cubicBezTo>
                  <a:cubicBezTo>
                    <a:pt x="111871" y="131631"/>
                    <a:pt x="105329" y="135108"/>
                    <a:pt x="98227" y="136511"/>
                  </a:cubicBezTo>
                  <a:lnTo>
                    <a:pt x="98227" y="145260"/>
                  </a:lnTo>
                  <a:cubicBezTo>
                    <a:pt x="98294" y="147571"/>
                    <a:pt x="97406" y="149803"/>
                    <a:pt x="95754" y="151429"/>
                  </a:cubicBezTo>
                  <a:cubicBezTo>
                    <a:pt x="94102" y="153033"/>
                    <a:pt x="91877" y="153919"/>
                    <a:pt x="89573" y="153897"/>
                  </a:cubicBezTo>
                  <a:cubicBezTo>
                    <a:pt x="87370" y="153919"/>
                    <a:pt x="85258" y="153022"/>
                    <a:pt x="83729" y="151429"/>
                  </a:cubicBezTo>
                  <a:cubicBezTo>
                    <a:pt x="82077" y="149803"/>
                    <a:pt x="81188" y="147571"/>
                    <a:pt x="81256" y="145260"/>
                  </a:cubicBezTo>
                  <a:lnTo>
                    <a:pt x="81256" y="137969"/>
                  </a:lnTo>
                  <a:cubicBezTo>
                    <a:pt x="76491" y="137509"/>
                    <a:pt x="71805" y="136410"/>
                    <a:pt x="67320" y="134716"/>
                  </a:cubicBezTo>
                  <a:cubicBezTo>
                    <a:pt x="62915" y="132798"/>
                    <a:pt x="58813" y="130229"/>
                    <a:pt x="55182" y="127088"/>
                  </a:cubicBezTo>
                  <a:cubicBezTo>
                    <a:pt x="52845" y="125279"/>
                    <a:pt x="51440" y="122522"/>
                    <a:pt x="51361" y="119573"/>
                  </a:cubicBezTo>
                  <a:cubicBezTo>
                    <a:pt x="51361" y="115050"/>
                    <a:pt x="55036" y="111385"/>
                    <a:pt x="59566" y="111385"/>
                  </a:cubicBezTo>
                  <a:cubicBezTo>
                    <a:pt x="61285" y="111362"/>
                    <a:pt x="62960" y="111960"/>
                    <a:pt x="64286" y="113067"/>
                  </a:cubicBezTo>
                  <a:cubicBezTo>
                    <a:pt x="66882" y="115230"/>
                    <a:pt x="69714" y="117111"/>
                    <a:pt x="72715" y="118676"/>
                  </a:cubicBezTo>
                  <a:cubicBezTo>
                    <a:pt x="75389" y="120040"/>
                    <a:pt x="78278" y="120949"/>
                    <a:pt x="81256" y="121368"/>
                  </a:cubicBezTo>
                  <a:lnTo>
                    <a:pt x="81256" y="93774"/>
                  </a:lnTo>
                  <a:cubicBezTo>
                    <a:pt x="62454" y="90334"/>
                    <a:pt x="53047" y="80911"/>
                    <a:pt x="53047" y="65507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4" name="Freeform 283">
              <a:extLst>
                <a:ext uri="{FF2B5EF4-FFF2-40B4-BE49-F238E27FC236}">
                  <a16:creationId xmlns:a16="http://schemas.microsoft.com/office/drawing/2014/main" id="{65017CD4-7624-A84E-AC05-E26A2128E133}"/>
                </a:ext>
              </a:extLst>
            </p:cNvPr>
            <p:cNvSpPr/>
            <p:nvPr/>
          </p:nvSpPr>
          <p:spPr>
            <a:xfrm>
              <a:off x="8600689" y="1953550"/>
              <a:ext cx="18998" cy="37689"/>
            </a:xfrm>
            <a:custGeom>
              <a:avLst/>
              <a:gdLst>
                <a:gd name="connsiteX0" fmla="*/ 18999 w 18998"/>
                <a:gd name="connsiteY0" fmla="*/ 0 h 37689"/>
                <a:gd name="connsiteX1" fmla="*/ 4838 w 18998"/>
                <a:gd name="connsiteY1" fmla="*/ 6506 h 37689"/>
                <a:gd name="connsiteX2" fmla="*/ 4838 w 18998"/>
                <a:gd name="connsiteY2" fmla="*/ 30286 h 37689"/>
                <a:gd name="connsiteX3" fmla="*/ 18999 w 18998"/>
                <a:gd name="connsiteY3" fmla="*/ 37689 h 37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998" h="37689">
                  <a:moveTo>
                    <a:pt x="18999" y="0"/>
                  </a:moveTo>
                  <a:cubicBezTo>
                    <a:pt x="13728" y="673"/>
                    <a:pt x="8783" y="2950"/>
                    <a:pt x="4838" y="6506"/>
                  </a:cubicBezTo>
                  <a:cubicBezTo>
                    <a:pt x="-1613" y="13124"/>
                    <a:pt x="-1613" y="23668"/>
                    <a:pt x="4838" y="30286"/>
                  </a:cubicBezTo>
                  <a:cubicBezTo>
                    <a:pt x="8862" y="33898"/>
                    <a:pt x="13728" y="36444"/>
                    <a:pt x="18999" y="37689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5" name="Freeform 284">
              <a:extLst>
                <a:ext uri="{FF2B5EF4-FFF2-40B4-BE49-F238E27FC236}">
                  <a16:creationId xmlns:a16="http://schemas.microsoft.com/office/drawing/2014/main" id="{0EB894E6-8518-9D47-BC64-6C19893643DE}"/>
                </a:ext>
              </a:extLst>
            </p:cNvPr>
            <p:cNvSpPr/>
            <p:nvPr/>
          </p:nvSpPr>
          <p:spPr>
            <a:xfrm>
              <a:off x="8646998" y="2025002"/>
              <a:ext cx="14954" cy="35782"/>
            </a:xfrm>
            <a:custGeom>
              <a:avLst/>
              <a:gdLst>
                <a:gd name="connsiteX0" fmla="*/ 14948 w 14954"/>
                <a:gd name="connsiteY0" fmla="*/ 19069 h 35782"/>
                <a:gd name="connsiteX1" fmla="*/ 11239 w 14954"/>
                <a:gd name="connsiteY1" fmla="*/ 7852 h 35782"/>
                <a:gd name="connsiteX2" fmla="*/ 0 w 14954"/>
                <a:gd name="connsiteY2" fmla="*/ 0 h 35782"/>
                <a:gd name="connsiteX3" fmla="*/ 0 w 14954"/>
                <a:gd name="connsiteY3" fmla="*/ 35782 h 35782"/>
                <a:gd name="connsiteX4" fmla="*/ 11239 w 14954"/>
                <a:gd name="connsiteY4" fmla="*/ 28603 h 35782"/>
                <a:gd name="connsiteX5" fmla="*/ 14948 w 14954"/>
                <a:gd name="connsiteY5" fmla="*/ 19069 h 35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54" h="35782">
                  <a:moveTo>
                    <a:pt x="14948" y="19069"/>
                  </a:moveTo>
                  <a:cubicBezTo>
                    <a:pt x="15060" y="15008"/>
                    <a:pt x="13745" y="11049"/>
                    <a:pt x="11239" y="7852"/>
                  </a:cubicBezTo>
                  <a:cubicBezTo>
                    <a:pt x="8227" y="4319"/>
                    <a:pt x="4361" y="1615"/>
                    <a:pt x="0" y="0"/>
                  </a:cubicBezTo>
                  <a:lnTo>
                    <a:pt x="0" y="35782"/>
                  </a:lnTo>
                  <a:cubicBezTo>
                    <a:pt x="4226" y="34223"/>
                    <a:pt x="8059" y="31778"/>
                    <a:pt x="11239" y="28603"/>
                  </a:cubicBezTo>
                  <a:cubicBezTo>
                    <a:pt x="13655" y="26012"/>
                    <a:pt x="14981" y="22602"/>
                    <a:pt x="14948" y="19069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6" name="Freeform 285">
              <a:extLst>
                <a:ext uri="{FF2B5EF4-FFF2-40B4-BE49-F238E27FC236}">
                  <a16:creationId xmlns:a16="http://schemas.microsoft.com/office/drawing/2014/main" id="{8C92E76A-D987-D54A-B264-902E344448FF}"/>
                </a:ext>
              </a:extLst>
            </p:cNvPr>
            <p:cNvSpPr/>
            <p:nvPr/>
          </p:nvSpPr>
          <p:spPr>
            <a:xfrm>
              <a:off x="8488302" y="1867961"/>
              <a:ext cx="685674" cy="549971"/>
            </a:xfrm>
            <a:custGeom>
              <a:avLst/>
              <a:gdLst>
                <a:gd name="connsiteX0" fmla="*/ 58785 w 685674"/>
                <a:gd name="connsiteY0" fmla="*/ 255638 h 549971"/>
                <a:gd name="connsiteX1" fmla="*/ 55863 w 685674"/>
                <a:gd name="connsiteY1" fmla="*/ 270893 h 549971"/>
                <a:gd name="connsiteX2" fmla="*/ 74294 w 685674"/>
                <a:gd name="connsiteY2" fmla="*/ 306787 h 549971"/>
                <a:gd name="connsiteX3" fmla="*/ 65303 w 685674"/>
                <a:gd name="connsiteY3" fmla="*/ 306787 h 549971"/>
                <a:gd name="connsiteX4" fmla="*/ 21404 w 685674"/>
                <a:gd name="connsiteY4" fmla="*/ 351139 h 549971"/>
                <a:gd name="connsiteX5" fmla="*/ 60133 w 685674"/>
                <a:gd name="connsiteY5" fmla="*/ 394616 h 549971"/>
                <a:gd name="connsiteX6" fmla="*/ 53199 w 685674"/>
                <a:gd name="connsiteY6" fmla="*/ 456567 h 549971"/>
                <a:gd name="connsiteX7" fmla="*/ 88342 w 685674"/>
                <a:gd name="connsiteY7" fmla="*/ 473135 h 549971"/>
                <a:gd name="connsiteX8" fmla="*/ 116664 w 685674"/>
                <a:gd name="connsiteY8" fmla="*/ 473135 h 549971"/>
                <a:gd name="connsiteX9" fmla="*/ 114585 w 685674"/>
                <a:gd name="connsiteY9" fmla="*/ 535445 h 549971"/>
                <a:gd name="connsiteX10" fmla="*/ 146783 w 685674"/>
                <a:gd name="connsiteY10" fmla="*/ 549410 h 549971"/>
                <a:gd name="connsiteX11" fmla="*/ 310756 w 685674"/>
                <a:gd name="connsiteY11" fmla="*/ 549410 h 549971"/>
                <a:gd name="connsiteX12" fmla="*/ 407185 w 685674"/>
                <a:gd name="connsiteY12" fmla="*/ 549971 h 549971"/>
                <a:gd name="connsiteX13" fmla="*/ 645895 w 685674"/>
                <a:gd name="connsiteY13" fmla="*/ 497700 h 549971"/>
                <a:gd name="connsiteX14" fmla="*/ 685567 w 685674"/>
                <a:gd name="connsiteY14" fmla="*/ 465956 h 549971"/>
                <a:gd name="connsiteX15" fmla="*/ 685567 w 685674"/>
                <a:gd name="connsiteY15" fmla="*/ 427706 h 549971"/>
                <a:gd name="connsiteX16" fmla="*/ 684219 w 685674"/>
                <a:gd name="connsiteY16" fmla="*/ 280540 h 549971"/>
                <a:gd name="connsiteX17" fmla="*/ 677138 w 685674"/>
                <a:gd name="connsiteY17" fmla="*/ 271005 h 549971"/>
                <a:gd name="connsiteX18" fmla="*/ 630610 w 685674"/>
                <a:gd name="connsiteY18" fmla="*/ 253955 h 549971"/>
                <a:gd name="connsiteX19" fmla="*/ 415838 w 685674"/>
                <a:gd name="connsiteY19" fmla="*/ 147618 h 549971"/>
                <a:gd name="connsiteX20" fmla="*/ 411792 w 685674"/>
                <a:gd name="connsiteY20" fmla="*/ 147618 h 549971"/>
                <a:gd name="connsiteX21" fmla="*/ 357847 w 685674"/>
                <a:gd name="connsiteY21" fmla="*/ 145039 h 549971"/>
                <a:gd name="connsiteX22" fmla="*/ 353351 w 685674"/>
                <a:gd name="connsiteY22" fmla="*/ 145039 h 549971"/>
                <a:gd name="connsiteX23" fmla="*/ 338853 w 685674"/>
                <a:gd name="connsiteY23" fmla="*/ 145039 h 549971"/>
                <a:gd name="connsiteX24" fmla="*/ 294752 w 685674"/>
                <a:gd name="connsiteY24" fmla="*/ 189189 h 549971"/>
                <a:gd name="connsiteX25" fmla="*/ 317163 w 685674"/>
                <a:gd name="connsiteY25" fmla="*/ 227483 h 549971"/>
                <a:gd name="connsiteX26" fmla="*/ 310531 w 685674"/>
                <a:gd name="connsiteY26" fmla="*/ 227483 h 549971"/>
                <a:gd name="connsiteX27" fmla="*/ 305137 w 685674"/>
                <a:gd name="connsiteY27" fmla="*/ 227483 h 549971"/>
                <a:gd name="connsiteX28" fmla="*/ 299967 w 685674"/>
                <a:gd name="connsiteY28" fmla="*/ 227483 h 549971"/>
                <a:gd name="connsiteX29" fmla="*/ 254563 w 685674"/>
                <a:gd name="connsiteY29" fmla="*/ 227483 h 549971"/>
                <a:gd name="connsiteX30" fmla="*/ 227927 w 685674"/>
                <a:gd name="connsiteY30" fmla="*/ 29066 h 549971"/>
                <a:gd name="connsiteX31" fmla="*/ 29125 w 685674"/>
                <a:gd name="connsiteY31" fmla="*/ 55650 h 549971"/>
                <a:gd name="connsiteX32" fmla="*/ 55761 w 685674"/>
                <a:gd name="connsiteY32" fmla="*/ 254068 h 549971"/>
                <a:gd name="connsiteX33" fmla="*/ 58785 w 685674"/>
                <a:gd name="connsiteY33" fmla="*/ 256311 h 549971"/>
                <a:gd name="connsiteX34" fmla="*/ 43050 w 685674"/>
                <a:gd name="connsiteY34" fmla="*/ 350870 h 549971"/>
                <a:gd name="connsiteX35" fmla="*/ 65528 w 685674"/>
                <a:gd name="connsiteY35" fmla="*/ 328436 h 549971"/>
                <a:gd name="connsiteX36" fmla="*/ 265577 w 685674"/>
                <a:gd name="connsiteY36" fmla="*/ 328436 h 549971"/>
                <a:gd name="connsiteX37" fmla="*/ 340989 w 685674"/>
                <a:gd name="connsiteY37" fmla="*/ 328436 h 549971"/>
                <a:gd name="connsiteX38" fmla="*/ 337392 w 685674"/>
                <a:gd name="connsiteY38" fmla="*/ 359395 h 549971"/>
                <a:gd name="connsiteX39" fmla="*/ 338066 w 685674"/>
                <a:gd name="connsiteY39" fmla="*/ 371958 h 549971"/>
                <a:gd name="connsiteX40" fmla="*/ 265577 w 685674"/>
                <a:gd name="connsiteY40" fmla="*/ 371958 h 549971"/>
                <a:gd name="connsiteX41" fmla="*/ 65528 w 685674"/>
                <a:gd name="connsiteY41" fmla="*/ 371958 h 549971"/>
                <a:gd name="connsiteX42" fmla="*/ 43050 w 685674"/>
                <a:gd name="connsiteY42" fmla="*/ 350982 h 549971"/>
                <a:gd name="connsiteX43" fmla="*/ 316825 w 685674"/>
                <a:gd name="connsiteY43" fmla="*/ 188448 h 549971"/>
                <a:gd name="connsiteX44" fmla="*/ 339303 w 685674"/>
                <a:gd name="connsiteY44" fmla="*/ 166014 h 549971"/>
                <a:gd name="connsiteX45" fmla="*/ 353463 w 685674"/>
                <a:gd name="connsiteY45" fmla="*/ 166014 h 549971"/>
                <a:gd name="connsiteX46" fmla="*/ 356048 w 685674"/>
                <a:gd name="connsiteY46" fmla="*/ 166014 h 549971"/>
                <a:gd name="connsiteX47" fmla="*/ 357172 w 685674"/>
                <a:gd name="connsiteY47" fmla="*/ 166014 h 549971"/>
                <a:gd name="connsiteX48" fmla="*/ 406173 w 685674"/>
                <a:gd name="connsiteY48" fmla="*/ 167921 h 549971"/>
                <a:gd name="connsiteX49" fmla="*/ 415501 w 685674"/>
                <a:gd name="connsiteY49" fmla="*/ 168706 h 549971"/>
                <a:gd name="connsiteX50" fmla="*/ 611954 w 685674"/>
                <a:gd name="connsiteY50" fmla="*/ 265957 h 549971"/>
                <a:gd name="connsiteX51" fmla="*/ 618585 w 685674"/>
                <a:gd name="connsiteY51" fmla="*/ 272463 h 549971"/>
                <a:gd name="connsiteX52" fmla="*/ 662977 w 685674"/>
                <a:gd name="connsiteY52" fmla="*/ 288840 h 549971"/>
                <a:gd name="connsiteX53" fmla="*/ 663764 w 685674"/>
                <a:gd name="connsiteY53" fmla="*/ 427258 h 549971"/>
                <a:gd name="connsiteX54" fmla="*/ 663764 w 685674"/>
                <a:gd name="connsiteY54" fmla="*/ 463713 h 549971"/>
                <a:gd name="connsiteX55" fmla="*/ 634656 w 685674"/>
                <a:gd name="connsiteY55" fmla="*/ 478183 h 549971"/>
                <a:gd name="connsiteX56" fmla="*/ 627912 w 685674"/>
                <a:gd name="connsiteY56" fmla="*/ 484688 h 549971"/>
                <a:gd name="connsiteX57" fmla="*/ 407409 w 685674"/>
                <a:gd name="connsiteY57" fmla="*/ 527649 h 549971"/>
                <a:gd name="connsiteX58" fmla="*/ 310981 w 685674"/>
                <a:gd name="connsiteY58" fmla="*/ 527089 h 549971"/>
                <a:gd name="connsiteX59" fmla="*/ 146783 w 685674"/>
                <a:gd name="connsiteY59" fmla="*/ 527089 h 549971"/>
                <a:gd name="connsiteX60" fmla="*/ 128521 w 685674"/>
                <a:gd name="connsiteY60" fmla="*/ 501121 h 549971"/>
                <a:gd name="connsiteX61" fmla="*/ 146783 w 685674"/>
                <a:gd name="connsiteY61" fmla="*/ 482894 h 549971"/>
                <a:gd name="connsiteX62" fmla="*/ 343798 w 685674"/>
                <a:gd name="connsiteY62" fmla="*/ 482894 h 549971"/>
                <a:gd name="connsiteX63" fmla="*/ 355037 w 685674"/>
                <a:gd name="connsiteY63" fmla="*/ 471677 h 549971"/>
                <a:gd name="connsiteX64" fmla="*/ 355037 w 685674"/>
                <a:gd name="connsiteY64" fmla="*/ 461581 h 549971"/>
                <a:gd name="connsiteX65" fmla="*/ 343798 w 685674"/>
                <a:gd name="connsiteY65" fmla="*/ 450364 h 549971"/>
                <a:gd name="connsiteX66" fmla="*/ 88342 w 685674"/>
                <a:gd name="connsiteY66" fmla="*/ 450364 h 549971"/>
                <a:gd name="connsiteX67" fmla="*/ 69686 w 685674"/>
                <a:gd name="connsiteY67" fmla="*/ 424678 h 549971"/>
                <a:gd name="connsiteX68" fmla="*/ 88342 w 685674"/>
                <a:gd name="connsiteY68" fmla="*/ 406057 h 549971"/>
                <a:gd name="connsiteX69" fmla="*/ 343798 w 685674"/>
                <a:gd name="connsiteY69" fmla="*/ 406057 h 549971"/>
                <a:gd name="connsiteX70" fmla="*/ 345034 w 685674"/>
                <a:gd name="connsiteY70" fmla="*/ 406057 h 549971"/>
                <a:gd name="connsiteX71" fmla="*/ 525528 w 685674"/>
                <a:gd name="connsiteY71" fmla="*/ 494458 h 549971"/>
                <a:gd name="connsiteX72" fmla="*/ 614112 w 685674"/>
                <a:gd name="connsiteY72" fmla="*/ 314314 h 549971"/>
                <a:gd name="connsiteX73" fmla="*/ 434270 w 685674"/>
                <a:gd name="connsiteY73" fmla="*/ 225689 h 549971"/>
                <a:gd name="connsiteX74" fmla="*/ 421008 w 685674"/>
                <a:gd name="connsiteY74" fmla="*/ 211219 h 549971"/>
                <a:gd name="connsiteX75" fmla="*/ 416400 w 685674"/>
                <a:gd name="connsiteY75" fmla="*/ 210209 h 549971"/>
                <a:gd name="connsiteX76" fmla="*/ 359420 w 685674"/>
                <a:gd name="connsiteY76" fmla="*/ 210209 h 549971"/>
                <a:gd name="connsiteX77" fmla="*/ 357397 w 685674"/>
                <a:gd name="connsiteY77" fmla="*/ 210209 h 549971"/>
                <a:gd name="connsiteX78" fmla="*/ 353576 w 685674"/>
                <a:gd name="connsiteY78" fmla="*/ 210209 h 549971"/>
                <a:gd name="connsiteX79" fmla="*/ 339078 w 685674"/>
                <a:gd name="connsiteY79" fmla="*/ 210209 h 549971"/>
                <a:gd name="connsiteX80" fmla="*/ 316825 w 685674"/>
                <a:gd name="connsiteY80" fmla="*/ 188448 h 549971"/>
                <a:gd name="connsiteX81" fmla="*/ 424043 w 685674"/>
                <a:gd name="connsiteY81" fmla="*/ 401571 h 549971"/>
                <a:gd name="connsiteX82" fmla="*/ 433483 w 685674"/>
                <a:gd name="connsiteY82" fmla="*/ 397645 h 549971"/>
                <a:gd name="connsiteX83" fmla="*/ 441125 w 685674"/>
                <a:gd name="connsiteY83" fmla="*/ 400337 h 549971"/>
                <a:gd name="connsiteX84" fmla="*/ 454612 w 685674"/>
                <a:gd name="connsiteY84" fmla="*/ 409310 h 549971"/>
                <a:gd name="connsiteX85" fmla="*/ 468548 w 685674"/>
                <a:gd name="connsiteY85" fmla="*/ 413685 h 549971"/>
                <a:gd name="connsiteX86" fmla="*/ 468548 w 685674"/>
                <a:gd name="connsiteY86" fmla="*/ 368817 h 549971"/>
                <a:gd name="connsiteX87" fmla="*/ 422694 w 685674"/>
                <a:gd name="connsiteY87" fmla="*/ 323164 h 549971"/>
                <a:gd name="connsiteX88" fmla="*/ 435506 w 685674"/>
                <a:gd name="connsiteY88" fmla="*/ 292093 h 549971"/>
                <a:gd name="connsiteX89" fmla="*/ 468548 w 685674"/>
                <a:gd name="connsiteY89" fmla="*/ 277174 h 549971"/>
                <a:gd name="connsiteX90" fmla="*/ 468548 w 685674"/>
                <a:gd name="connsiteY90" fmla="*/ 269659 h 549971"/>
                <a:gd name="connsiteX91" fmla="*/ 472482 w 685674"/>
                <a:gd name="connsiteY91" fmla="*/ 259788 h 549971"/>
                <a:gd name="connsiteX92" fmla="*/ 482371 w 685674"/>
                <a:gd name="connsiteY92" fmla="*/ 255750 h 549971"/>
                <a:gd name="connsiteX93" fmla="*/ 492037 w 685674"/>
                <a:gd name="connsiteY93" fmla="*/ 259788 h 549971"/>
                <a:gd name="connsiteX94" fmla="*/ 495858 w 685674"/>
                <a:gd name="connsiteY94" fmla="*/ 269659 h 549971"/>
                <a:gd name="connsiteX95" fmla="*/ 495858 w 685674"/>
                <a:gd name="connsiteY95" fmla="*/ 278072 h 549971"/>
                <a:gd name="connsiteX96" fmla="*/ 527776 w 685674"/>
                <a:gd name="connsiteY96" fmla="*/ 292205 h 549971"/>
                <a:gd name="connsiteX97" fmla="*/ 534406 w 685674"/>
                <a:gd name="connsiteY97" fmla="*/ 304207 h 549971"/>
                <a:gd name="connsiteX98" fmla="*/ 530473 w 685674"/>
                <a:gd name="connsiteY98" fmla="*/ 313405 h 549971"/>
                <a:gd name="connsiteX99" fmla="*/ 521370 w 685674"/>
                <a:gd name="connsiteY99" fmla="*/ 317443 h 549971"/>
                <a:gd name="connsiteX100" fmla="*/ 515189 w 685674"/>
                <a:gd name="connsiteY100" fmla="*/ 315424 h 549971"/>
                <a:gd name="connsiteX101" fmla="*/ 495858 w 685674"/>
                <a:gd name="connsiteY101" fmla="*/ 305553 h 549971"/>
                <a:gd name="connsiteX102" fmla="*/ 495858 w 685674"/>
                <a:gd name="connsiteY102" fmla="*/ 347729 h 549971"/>
                <a:gd name="connsiteX103" fmla="*/ 528001 w 685674"/>
                <a:gd name="connsiteY103" fmla="*/ 362984 h 549971"/>
                <a:gd name="connsiteX104" fmla="*/ 526202 w 685674"/>
                <a:gd name="connsiteY104" fmla="*/ 422322 h 549971"/>
                <a:gd name="connsiteX105" fmla="*/ 495858 w 685674"/>
                <a:gd name="connsiteY105" fmla="*/ 438475 h 549971"/>
                <a:gd name="connsiteX106" fmla="*/ 495858 w 685674"/>
                <a:gd name="connsiteY106" fmla="*/ 452496 h 549971"/>
                <a:gd name="connsiteX107" fmla="*/ 491924 w 685674"/>
                <a:gd name="connsiteY107" fmla="*/ 462479 h 549971"/>
                <a:gd name="connsiteX108" fmla="*/ 481922 w 685674"/>
                <a:gd name="connsiteY108" fmla="*/ 466405 h 549971"/>
                <a:gd name="connsiteX109" fmla="*/ 472369 w 685674"/>
                <a:gd name="connsiteY109" fmla="*/ 462479 h 549971"/>
                <a:gd name="connsiteX110" fmla="*/ 468548 w 685674"/>
                <a:gd name="connsiteY110" fmla="*/ 452496 h 549971"/>
                <a:gd name="connsiteX111" fmla="*/ 468548 w 685674"/>
                <a:gd name="connsiteY111" fmla="*/ 440718 h 549971"/>
                <a:gd name="connsiteX112" fmla="*/ 446070 w 685674"/>
                <a:gd name="connsiteY112" fmla="*/ 435446 h 549971"/>
                <a:gd name="connsiteX113" fmla="*/ 426403 w 685674"/>
                <a:gd name="connsiteY113" fmla="*/ 423219 h 549971"/>
                <a:gd name="connsiteX114" fmla="*/ 420221 w 685674"/>
                <a:gd name="connsiteY114" fmla="*/ 411105 h 549971"/>
                <a:gd name="connsiteX115" fmla="*/ 424043 w 685674"/>
                <a:gd name="connsiteY115" fmla="*/ 401907 h 549971"/>
                <a:gd name="connsiteX116" fmla="*/ 303451 w 685674"/>
                <a:gd name="connsiteY116" fmla="*/ 248796 h 549971"/>
                <a:gd name="connsiteX117" fmla="*/ 306711 w 685674"/>
                <a:gd name="connsiteY117" fmla="*/ 248796 h 549971"/>
                <a:gd name="connsiteX118" fmla="*/ 310756 w 685674"/>
                <a:gd name="connsiteY118" fmla="*/ 248796 h 549971"/>
                <a:gd name="connsiteX119" fmla="*/ 391563 w 685674"/>
                <a:gd name="connsiteY119" fmla="*/ 248796 h 549971"/>
                <a:gd name="connsiteX120" fmla="*/ 352115 w 685674"/>
                <a:gd name="connsiteY120" fmla="*/ 297141 h 549971"/>
                <a:gd name="connsiteX121" fmla="*/ 343798 w 685674"/>
                <a:gd name="connsiteY121" fmla="*/ 293103 h 549971"/>
                <a:gd name="connsiteX122" fmla="*/ 100031 w 685674"/>
                <a:gd name="connsiteY122" fmla="*/ 293103 h 549971"/>
                <a:gd name="connsiteX123" fmla="*/ 77553 w 685674"/>
                <a:gd name="connsiteY123" fmla="*/ 270669 h 549971"/>
                <a:gd name="connsiteX124" fmla="*/ 77553 w 685674"/>
                <a:gd name="connsiteY124" fmla="*/ 267191 h 549971"/>
                <a:gd name="connsiteX125" fmla="*/ 233209 w 685674"/>
                <a:gd name="connsiteY125" fmla="*/ 248571 h 549971"/>
                <a:gd name="connsiteX126" fmla="*/ 299518 w 685674"/>
                <a:gd name="connsiteY126" fmla="*/ 248571 h 549971"/>
                <a:gd name="connsiteX127" fmla="*/ 303451 w 685674"/>
                <a:gd name="connsiteY127" fmla="*/ 249132 h 549971"/>
                <a:gd name="connsiteX128" fmla="*/ 85532 w 685674"/>
                <a:gd name="connsiteY128" fmla="*/ 104545 h 549971"/>
                <a:gd name="connsiteX129" fmla="*/ 98345 w 685674"/>
                <a:gd name="connsiteY129" fmla="*/ 73474 h 549971"/>
                <a:gd name="connsiteX130" fmla="*/ 131386 w 685674"/>
                <a:gd name="connsiteY130" fmla="*/ 58556 h 549971"/>
                <a:gd name="connsiteX131" fmla="*/ 131386 w 685674"/>
                <a:gd name="connsiteY131" fmla="*/ 51040 h 549971"/>
                <a:gd name="connsiteX132" fmla="*/ 135320 w 685674"/>
                <a:gd name="connsiteY132" fmla="*/ 41169 h 549971"/>
                <a:gd name="connsiteX133" fmla="*/ 145210 w 685674"/>
                <a:gd name="connsiteY133" fmla="*/ 37243 h 549971"/>
                <a:gd name="connsiteX134" fmla="*/ 154763 w 685674"/>
                <a:gd name="connsiteY134" fmla="*/ 41169 h 549971"/>
                <a:gd name="connsiteX135" fmla="*/ 158696 w 685674"/>
                <a:gd name="connsiteY135" fmla="*/ 51040 h 549971"/>
                <a:gd name="connsiteX136" fmla="*/ 158696 w 685674"/>
                <a:gd name="connsiteY136" fmla="*/ 59341 h 549971"/>
                <a:gd name="connsiteX137" fmla="*/ 190615 w 685674"/>
                <a:gd name="connsiteY137" fmla="*/ 73474 h 549971"/>
                <a:gd name="connsiteX138" fmla="*/ 197245 w 685674"/>
                <a:gd name="connsiteY138" fmla="*/ 85589 h 549971"/>
                <a:gd name="connsiteX139" fmla="*/ 193312 w 685674"/>
                <a:gd name="connsiteY139" fmla="*/ 94787 h 549971"/>
                <a:gd name="connsiteX140" fmla="*/ 184209 w 685674"/>
                <a:gd name="connsiteY140" fmla="*/ 98712 h 549971"/>
                <a:gd name="connsiteX141" fmla="*/ 178027 w 685674"/>
                <a:gd name="connsiteY141" fmla="*/ 96693 h 549971"/>
                <a:gd name="connsiteX142" fmla="*/ 158696 w 685674"/>
                <a:gd name="connsiteY142" fmla="*/ 86935 h 549971"/>
                <a:gd name="connsiteX143" fmla="*/ 158696 w 685674"/>
                <a:gd name="connsiteY143" fmla="*/ 128998 h 549971"/>
                <a:gd name="connsiteX144" fmla="*/ 190840 w 685674"/>
                <a:gd name="connsiteY144" fmla="*/ 144366 h 549971"/>
                <a:gd name="connsiteX145" fmla="*/ 189041 w 685674"/>
                <a:gd name="connsiteY145" fmla="*/ 203591 h 549971"/>
                <a:gd name="connsiteX146" fmla="*/ 158696 w 685674"/>
                <a:gd name="connsiteY146" fmla="*/ 219744 h 549971"/>
                <a:gd name="connsiteX147" fmla="*/ 158696 w 685674"/>
                <a:gd name="connsiteY147" fmla="*/ 226362 h 549971"/>
                <a:gd name="connsiteX148" fmla="*/ 131386 w 685674"/>
                <a:gd name="connsiteY148" fmla="*/ 226362 h 549971"/>
                <a:gd name="connsiteX149" fmla="*/ 131386 w 685674"/>
                <a:gd name="connsiteY149" fmla="*/ 221090 h 549971"/>
                <a:gd name="connsiteX150" fmla="*/ 108909 w 685674"/>
                <a:gd name="connsiteY150" fmla="*/ 215818 h 549971"/>
                <a:gd name="connsiteX151" fmla="*/ 89241 w 685674"/>
                <a:gd name="connsiteY151" fmla="*/ 203591 h 549971"/>
                <a:gd name="connsiteX152" fmla="*/ 83060 w 685674"/>
                <a:gd name="connsiteY152" fmla="*/ 191589 h 549971"/>
                <a:gd name="connsiteX153" fmla="*/ 96209 w 685674"/>
                <a:gd name="connsiteY153" fmla="*/ 178353 h 549971"/>
                <a:gd name="connsiteX154" fmla="*/ 103964 w 685674"/>
                <a:gd name="connsiteY154" fmla="*/ 181045 h 549971"/>
                <a:gd name="connsiteX155" fmla="*/ 117451 w 685674"/>
                <a:gd name="connsiteY155" fmla="*/ 190019 h 549971"/>
                <a:gd name="connsiteX156" fmla="*/ 131386 w 685674"/>
                <a:gd name="connsiteY156" fmla="*/ 194505 h 549971"/>
                <a:gd name="connsiteX157" fmla="*/ 131386 w 685674"/>
                <a:gd name="connsiteY157" fmla="*/ 149638 h 549971"/>
                <a:gd name="connsiteX158" fmla="*/ 85532 w 685674"/>
                <a:gd name="connsiteY158" fmla="*/ 104882 h 549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</a:cxnLst>
              <a:rect l="l" t="t" r="r" b="b"/>
              <a:pathLst>
                <a:path w="685674" h="549971">
                  <a:moveTo>
                    <a:pt x="58785" y="255638"/>
                  </a:moveTo>
                  <a:cubicBezTo>
                    <a:pt x="56885" y="260506"/>
                    <a:pt x="55896" y="265677"/>
                    <a:pt x="55863" y="270893"/>
                  </a:cubicBezTo>
                  <a:cubicBezTo>
                    <a:pt x="55963" y="285094"/>
                    <a:pt x="62808" y="298408"/>
                    <a:pt x="74294" y="306787"/>
                  </a:cubicBezTo>
                  <a:lnTo>
                    <a:pt x="65303" y="306787"/>
                  </a:lnTo>
                  <a:cubicBezTo>
                    <a:pt x="40915" y="306933"/>
                    <a:pt x="21258" y="326798"/>
                    <a:pt x="21404" y="351139"/>
                  </a:cubicBezTo>
                  <a:cubicBezTo>
                    <a:pt x="21539" y="373282"/>
                    <a:pt x="38116" y="391890"/>
                    <a:pt x="60133" y="394616"/>
                  </a:cubicBezTo>
                  <a:cubicBezTo>
                    <a:pt x="41072" y="409815"/>
                    <a:pt x="37970" y="437555"/>
                    <a:pt x="53199" y="456567"/>
                  </a:cubicBezTo>
                  <a:cubicBezTo>
                    <a:pt x="61718" y="467224"/>
                    <a:pt x="74687" y="473337"/>
                    <a:pt x="88342" y="473135"/>
                  </a:cubicBezTo>
                  <a:lnTo>
                    <a:pt x="116664" y="473135"/>
                  </a:lnTo>
                  <a:cubicBezTo>
                    <a:pt x="98850" y="489770"/>
                    <a:pt x="97918" y="517666"/>
                    <a:pt x="114585" y="535445"/>
                  </a:cubicBezTo>
                  <a:cubicBezTo>
                    <a:pt x="122924" y="544340"/>
                    <a:pt x="134578" y="549399"/>
                    <a:pt x="146783" y="549410"/>
                  </a:cubicBezTo>
                  <a:lnTo>
                    <a:pt x="310756" y="549410"/>
                  </a:lnTo>
                  <a:lnTo>
                    <a:pt x="407185" y="549971"/>
                  </a:lnTo>
                  <a:cubicBezTo>
                    <a:pt x="486418" y="549971"/>
                    <a:pt x="620045" y="543017"/>
                    <a:pt x="645895" y="497700"/>
                  </a:cubicBezTo>
                  <a:cubicBezTo>
                    <a:pt x="672306" y="488166"/>
                    <a:pt x="685567" y="477510"/>
                    <a:pt x="685567" y="465956"/>
                  </a:cubicBezTo>
                  <a:cubicBezTo>
                    <a:pt x="685567" y="456197"/>
                    <a:pt x="685567" y="442849"/>
                    <a:pt x="685567" y="427706"/>
                  </a:cubicBezTo>
                  <a:cubicBezTo>
                    <a:pt x="685567" y="377230"/>
                    <a:pt x="686241" y="308021"/>
                    <a:pt x="684219" y="280540"/>
                  </a:cubicBezTo>
                  <a:cubicBezTo>
                    <a:pt x="683870" y="276277"/>
                    <a:pt x="681128" y="272576"/>
                    <a:pt x="677138" y="271005"/>
                  </a:cubicBezTo>
                  <a:lnTo>
                    <a:pt x="630610" y="253955"/>
                  </a:lnTo>
                  <a:cubicBezTo>
                    <a:pt x="611279" y="205722"/>
                    <a:pt x="558008" y="150198"/>
                    <a:pt x="415838" y="147618"/>
                  </a:cubicBezTo>
                  <a:lnTo>
                    <a:pt x="411792" y="147618"/>
                  </a:lnTo>
                  <a:cubicBezTo>
                    <a:pt x="393901" y="145465"/>
                    <a:pt x="375862" y="144601"/>
                    <a:pt x="357847" y="145039"/>
                  </a:cubicBezTo>
                  <a:lnTo>
                    <a:pt x="353351" y="145039"/>
                  </a:lnTo>
                  <a:lnTo>
                    <a:pt x="338853" y="145039"/>
                  </a:lnTo>
                  <a:cubicBezTo>
                    <a:pt x="314465" y="145072"/>
                    <a:pt x="294719" y="164848"/>
                    <a:pt x="294752" y="189189"/>
                  </a:cubicBezTo>
                  <a:cubicBezTo>
                    <a:pt x="294775" y="205049"/>
                    <a:pt x="303339" y="219676"/>
                    <a:pt x="317163" y="227483"/>
                  </a:cubicBezTo>
                  <a:lnTo>
                    <a:pt x="310531" y="227483"/>
                  </a:lnTo>
                  <a:cubicBezTo>
                    <a:pt x="308734" y="227483"/>
                    <a:pt x="306935" y="227483"/>
                    <a:pt x="305137" y="227483"/>
                  </a:cubicBezTo>
                  <a:lnTo>
                    <a:pt x="299967" y="227483"/>
                  </a:lnTo>
                  <a:lnTo>
                    <a:pt x="254563" y="227483"/>
                  </a:lnTo>
                  <a:cubicBezTo>
                    <a:pt x="302102" y="165352"/>
                    <a:pt x="290178" y="76514"/>
                    <a:pt x="227927" y="29066"/>
                  </a:cubicBezTo>
                  <a:cubicBezTo>
                    <a:pt x="165676" y="-18389"/>
                    <a:pt x="76665" y="-6487"/>
                    <a:pt x="29125" y="55650"/>
                  </a:cubicBezTo>
                  <a:cubicBezTo>
                    <a:pt x="-18426" y="117781"/>
                    <a:pt x="-6501" y="206620"/>
                    <a:pt x="55761" y="254068"/>
                  </a:cubicBezTo>
                  <a:cubicBezTo>
                    <a:pt x="56761" y="254830"/>
                    <a:pt x="57762" y="255582"/>
                    <a:pt x="58785" y="256311"/>
                  </a:cubicBezTo>
                  <a:close/>
                  <a:moveTo>
                    <a:pt x="43050" y="350870"/>
                  </a:moveTo>
                  <a:cubicBezTo>
                    <a:pt x="43050" y="338475"/>
                    <a:pt x="53109" y="328436"/>
                    <a:pt x="65528" y="328436"/>
                  </a:cubicBezTo>
                  <a:lnTo>
                    <a:pt x="265577" y="328436"/>
                  </a:lnTo>
                  <a:cubicBezTo>
                    <a:pt x="270409" y="328436"/>
                    <a:pt x="328289" y="328436"/>
                    <a:pt x="340989" y="328436"/>
                  </a:cubicBezTo>
                  <a:cubicBezTo>
                    <a:pt x="338651" y="338587"/>
                    <a:pt x="337437" y="348974"/>
                    <a:pt x="337392" y="359395"/>
                  </a:cubicBezTo>
                  <a:cubicBezTo>
                    <a:pt x="337392" y="363657"/>
                    <a:pt x="337392" y="367808"/>
                    <a:pt x="338066" y="371958"/>
                  </a:cubicBezTo>
                  <a:cubicBezTo>
                    <a:pt x="321208" y="371958"/>
                    <a:pt x="270634" y="371958"/>
                    <a:pt x="265577" y="371958"/>
                  </a:cubicBezTo>
                  <a:lnTo>
                    <a:pt x="65528" y="371958"/>
                  </a:lnTo>
                  <a:cubicBezTo>
                    <a:pt x="53659" y="371980"/>
                    <a:pt x="43825" y="362794"/>
                    <a:pt x="43050" y="350982"/>
                  </a:cubicBezTo>
                  <a:close/>
                  <a:moveTo>
                    <a:pt x="316825" y="188448"/>
                  </a:moveTo>
                  <a:cubicBezTo>
                    <a:pt x="316825" y="176053"/>
                    <a:pt x="326884" y="166014"/>
                    <a:pt x="339303" y="166014"/>
                  </a:cubicBezTo>
                  <a:lnTo>
                    <a:pt x="353463" y="166014"/>
                  </a:lnTo>
                  <a:lnTo>
                    <a:pt x="356048" y="166014"/>
                  </a:lnTo>
                  <a:lnTo>
                    <a:pt x="357172" y="166014"/>
                  </a:lnTo>
                  <a:cubicBezTo>
                    <a:pt x="388079" y="166014"/>
                    <a:pt x="402802" y="167360"/>
                    <a:pt x="406173" y="167921"/>
                  </a:cubicBezTo>
                  <a:cubicBezTo>
                    <a:pt x="409230" y="168650"/>
                    <a:pt x="412366" y="168908"/>
                    <a:pt x="415501" y="168706"/>
                  </a:cubicBezTo>
                  <a:cubicBezTo>
                    <a:pt x="522044" y="171511"/>
                    <a:pt x="589476" y="205162"/>
                    <a:pt x="611954" y="265957"/>
                  </a:cubicBezTo>
                  <a:cubicBezTo>
                    <a:pt x="613033" y="269031"/>
                    <a:pt x="615483" y="271431"/>
                    <a:pt x="618585" y="272463"/>
                  </a:cubicBezTo>
                  <a:lnTo>
                    <a:pt x="662977" y="288840"/>
                  </a:lnTo>
                  <a:cubicBezTo>
                    <a:pt x="664438" y="319126"/>
                    <a:pt x="664101" y="381044"/>
                    <a:pt x="663764" y="427258"/>
                  </a:cubicBezTo>
                  <a:cubicBezTo>
                    <a:pt x="663764" y="441503"/>
                    <a:pt x="663764" y="454178"/>
                    <a:pt x="663764" y="463713"/>
                  </a:cubicBezTo>
                  <a:cubicBezTo>
                    <a:pt x="654908" y="470073"/>
                    <a:pt x="645074" y="474963"/>
                    <a:pt x="634656" y="478183"/>
                  </a:cubicBezTo>
                  <a:cubicBezTo>
                    <a:pt x="631565" y="479271"/>
                    <a:pt x="629104" y="481637"/>
                    <a:pt x="627912" y="484688"/>
                  </a:cubicBezTo>
                  <a:cubicBezTo>
                    <a:pt x="618247" y="510375"/>
                    <a:pt x="529686" y="527649"/>
                    <a:pt x="407409" y="527649"/>
                  </a:cubicBezTo>
                  <a:lnTo>
                    <a:pt x="310981" y="527089"/>
                  </a:lnTo>
                  <a:lnTo>
                    <a:pt x="146783" y="527089"/>
                  </a:lnTo>
                  <a:cubicBezTo>
                    <a:pt x="134556" y="524946"/>
                    <a:pt x="126374" y="513325"/>
                    <a:pt x="128521" y="501121"/>
                  </a:cubicBezTo>
                  <a:cubicBezTo>
                    <a:pt x="130150" y="491811"/>
                    <a:pt x="137456" y="484520"/>
                    <a:pt x="146783" y="482894"/>
                  </a:cubicBezTo>
                  <a:lnTo>
                    <a:pt x="343798" y="482894"/>
                  </a:lnTo>
                  <a:cubicBezTo>
                    <a:pt x="350002" y="482894"/>
                    <a:pt x="355037" y="477868"/>
                    <a:pt x="355037" y="471677"/>
                  </a:cubicBezTo>
                  <a:lnTo>
                    <a:pt x="355037" y="461581"/>
                  </a:lnTo>
                  <a:cubicBezTo>
                    <a:pt x="355037" y="455390"/>
                    <a:pt x="350002" y="450364"/>
                    <a:pt x="343798" y="450364"/>
                  </a:cubicBezTo>
                  <a:lnTo>
                    <a:pt x="88342" y="450364"/>
                  </a:lnTo>
                  <a:cubicBezTo>
                    <a:pt x="76081" y="448413"/>
                    <a:pt x="67730" y="436915"/>
                    <a:pt x="69686" y="424678"/>
                  </a:cubicBezTo>
                  <a:cubicBezTo>
                    <a:pt x="71214" y="415098"/>
                    <a:pt x="78745" y="407583"/>
                    <a:pt x="88342" y="406057"/>
                  </a:cubicBezTo>
                  <a:lnTo>
                    <a:pt x="343798" y="406057"/>
                  </a:lnTo>
                  <a:lnTo>
                    <a:pt x="345034" y="406057"/>
                  </a:lnTo>
                  <a:cubicBezTo>
                    <a:pt x="370411" y="480213"/>
                    <a:pt x="451229" y="519798"/>
                    <a:pt x="525528" y="494458"/>
                  </a:cubicBezTo>
                  <a:cubicBezTo>
                    <a:pt x="599827" y="469131"/>
                    <a:pt x="639489" y="388480"/>
                    <a:pt x="614112" y="314314"/>
                  </a:cubicBezTo>
                  <a:cubicBezTo>
                    <a:pt x="588813" y="240416"/>
                    <a:pt x="508434" y="200809"/>
                    <a:pt x="434270" y="225689"/>
                  </a:cubicBezTo>
                  <a:cubicBezTo>
                    <a:pt x="432404" y="219037"/>
                    <a:pt x="427482" y="213664"/>
                    <a:pt x="421008" y="211219"/>
                  </a:cubicBezTo>
                  <a:cubicBezTo>
                    <a:pt x="419558" y="210557"/>
                    <a:pt x="417985" y="210220"/>
                    <a:pt x="416400" y="210209"/>
                  </a:cubicBezTo>
                  <a:lnTo>
                    <a:pt x="359420" y="210209"/>
                  </a:lnTo>
                  <a:lnTo>
                    <a:pt x="357397" y="210209"/>
                  </a:lnTo>
                  <a:cubicBezTo>
                    <a:pt x="356127" y="210321"/>
                    <a:pt x="354846" y="210321"/>
                    <a:pt x="353576" y="210209"/>
                  </a:cubicBezTo>
                  <a:lnTo>
                    <a:pt x="339078" y="210209"/>
                  </a:lnTo>
                  <a:cubicBezTo>
                    <a:pt x="327007" y="210097"/>
                    <a:pt x="317185" y="200484"/>
                    <a:pt x="316825" y="188448"/>
                  </a:cubicBezTo>
                  <a:close/>
                  <a:moveTo>
                    <a:pt x="424043" y="401571"/>
                  </a:moveTo>
                  <a:cubicBezTo>
                    <a:pt x="426481" y="398980"/>
                    <a:pt x="429920" y="397544"/>
                    <a:pt x="433483" y="397645"/>
                  </a:cubicBezTo>
                  <a:cubicBezTo>
                    <a:pt x="436270" y="397633"/>
                    <a:pt x="438967" y="398587"/>
                    <a:pt x="441125" y="400337"/>
                  </a:cubicBezTo>
                  <a:cubicBezTo>
                    <a:pt x="445317" y="403758"/>
                    <a:pt x="449835" y="406764"/>
                    <a:pt x="454612" y="409310"/>
                  </a:cubicBezTo>
                  <a:cubicBezTo>
                    <a:pt x="458961" y="411587"/>
                    <a:pt x="463682" y="413068"/>
                    <a:pt x="468548" y="413685"/>
                  </a:cubicBezTo>
                  <a:lnTo>
                    <a:pt x="468548" y="368817"/>
                  </a:lnTo>
                  <a:cubicBezTo>
                    <a:pt x="437979" y="363209"/>
                    <a:pt x="422694" y="347987"/>
                    <a:pt x="422694" y="323164"/>
                  </a:cubicBezTo>
                  <a:cubicBezTo>
                    <a:pt x="422301" y="311453"/>
                    <a:pt x="426964" y="300136"/>
                    <a:pt x="435506" y="292093"/>
                  </a:cubicBezTo>
                  <a:cubicBezTo>
                    <a:pt x="444565" y="283613"/>
                    <a:pt x="456185" y="278363"/>
                    <a:pt x="468548" y="277174"/>
                  </a:cubicBezTo>
                  <a:lnTo>
                    <a:pt x="468548" y="269659"/>
                  </a:lnTo>
                  <a:cubicBezTo>
                    <a:pt x="468469" y="265980"/>
                    <a:pt x="469896" y="262413"/>
                    <a:pt x="472482" y="259788"/>
                  </a:cubicBezTo>
                  <a:cubicBezTo>
                    <a:pt x="475077" y="257130"/>
                    <a:pt x="478651" y="255672"/>
                    <a:pt x="482371" y="255750"/>
                  </a:cubicBezTo>
                  <a:cubicBezTo>
                    <a:pt x="486024" y="255672"/>
                    <a:pt x="489530" y="257141"/>
                    <a:pt x="492037" y="259788"/>
                  </a:cubicBezTo>
                  <a:cubicBezTo>
                    <a:pt x="494599" y="262424"/>
                    <a:pt x="495970" y="265991"/>
                    <a:pt x="495858" y="269659"/>
                  </a:cubicBezTo>
                  <a:lnTo>
                    <a:pt x="495858" y="278072"/>
                  </a:lnTo>
                  <a:cubicBezTo>
                    <a:pt x="507591" y="279766"/>
                    <a:pt x="518639" y="284656"/>
                    <a:pt x="527776" y="292205"/>
                  </a:cubicBezTo>
                  <a:cubicBezTo>
                    <a:pt x="531765" y="294931"/>
                    <a:pt x="534227" y="299384"/>
                    <a:pt x="534406" y="304207"/>
                  </a:cubicBezTo>
                  <a:cubicBezTo>
                    <a:pt x="534406" y="307685"/>
                    <a:pt x="532980" y="311005"/>
                    <a:pt x="530473" y="313405"/>
                  </a:cubicBezTo>
                  <a:cubicBezTo>
                    <a:pt x="528147" y="315974"/>
                    <a:pt x="524843" y="317443"/>
                    <a:pt x="521370" y="317443"/>
                  </a:cubicBezTo>
                  <a:cubicBezTo>
                    <a:pt x="519144" y="317443"/>
                    <a:pt x="516986" y="316737"/>
                    <a:pt x="515189" y="315424"/>
                  </a:cubicBezTo>
                  <a:cubicBezTo>
                    <a:pt x="509411" y="310982"/>
                    <a:pt x="502860" y="307629"/>
                    <a:pt x="495858" y="305553"/>
                  </a:cubicBezTo>
                  <a:lnTo>
                    <a:pt x="495858" y="347729"/>
                  </a:lnTo>
                  <a:cubicBezTo>
                    <a:pt x="507760" y="349804"/>
                    <a:pt x="518875" y="355076"/>
                    <a:pt x="528001" y="362984"/>
                  </a:cubicBezTo>
                  <a:cubicBezTo>
                    <a:pt x="541981" y="380550"/>
                    <a:pt x="541228" y="405631"/>
                    <a:pt x="526202" y="422322"/>
                  </a:cubicBezTo>
                  <a:cubicBezTo>
                    <a:pt x="517875" y="430533"/>
                    <a:pt x="507332" y="436153"/>
                    <a:pt x="495858" y="438475"/>
                  </a:cubicBezTo>
                  <a:lnTo>
                    <a:pt x="495858" y="452496"/>
                  </a:lnTo>
                  <a:cubicBezTo>
                    <a:pt x="495926" y="456208"/>
                    <a:pt x="494509" y="459798"/>
                    <a:pt x="491924" y="462479"/>
                  </a:cubicBezTo>
                  <a:cubicBezTo>
                    <a:pt x="489261" y="465081"/>
                    <a:pt x="485653" y="466495"/>
                    <a:pt x="481922" y="466405"/>
                  </a:cubicBezTo>
                  <a:cubicBezTo>
                    <a:pt x="478337" y="466450"/>
                    <a:pt x="474887" y="465036"/>
                    <a:pt x="472369" y="462479"/>
                  </a:cubicBezTo>
                  <a:cubicBezTo>
                    <a:pt x="469818" y="459787"/>
                    <a:pt x="468435" y="456197"/>
                    <a:pt x="468548" y="452496"/>
                  </a:cubicBezTo>
                  <a:lnTo>
                    <a:pt x="468548" y="440718"/>
                  </a:lnTo>
                  <a:cubicBezTo>
                    <a:pt x="460838" y="440034"/>
                    <a:pt x="453274" y="438261"/>
                    <a:pt x="446070" y="435446"/>
                  </a:cubicBezTo>
                  <a:cubicBezTo>
                    <a:pt x="438889" y="432473"/>
                    <a:pt x="432247" y="428334"/>
                    <a:pt x="426403" y="423219"/>
                  </a:cubicBezTo>
                  <a:cubicBezTo>
                    <a:pt x="422649" y="420292"/>
                    <a:pt x="420378" y="415861"/>
                    <a:pt x="420221" y="411105"/>
                  </a:cubicBezTo>
                  <a:cubicBezTo>
                    <a:pt x="420199" y="407650"/>
                    <a:pt x="421581" y="404330"/>
                    <a:pt x="424043" y="401907"/>
                  </a:cubicBezTo>
                  <a:close/>
                  <a:moveTo>
                    <a:pt x="303451" y="248796"/>
                  </a:moveTo>
                  <a:cubicBezTo>
                    <a:pt x="304530" y="248908"/>
                    <a:pt x="305632" y="248908"/>
                    <a:pt x="306711" y="248796"/>
                  </a:cubicBezTo>
                  <a:cubicBezTo>
                    <a:pt x="308059" y="248683"/>
                    <a:pt x="309408" y="248683"/>
                    <a:pt x="310756" y="248796"/>
                  </a:cubicBezTo>
                  <a:lnTo>
                    <a:pt x="391563" y="248796"/>
                  </a:lnTo>
                  <a:cubicBezTo>
                    <a:pt x="374963" y="261774"/>
                    <a:pt x="361488" y="278285"/>
                    <a:pt x="352115" y="297141"/>
                  </a:cubicBezTo>
                  <a:cubicBezTo>
                    <a:pt x="350047" y="294662"/>
                    <a:pt x="347024" y="293192"/>
                    <a:pt x="343798" y="293103"/>
                  </a:cubicBezTo>
                  <a:lnTo>
                    <a:pt x="100031" y="293103"/>
                  </a:lnTo>
                  <a:cubicBezTo>
                    <a:pt x="87611" y="293103"/>
                    <a:pt x="77553" y="283063"/>
                    <a:pt x="77553" y="270669"/>
                  </a:cubicBezTo>
                  <a:cubicBezTo>
                    <a:pt x="77441" y="269513"/>
                    <a:pt x="77441" y="268347"/>
                    <a:pt x="77553" y="267191"/>
                  </a:cubicBezTo>
                  <a:cubicBezTo>
                    <a:pt x="128431" y="292990"/>
                    <a:pt x="189872" y="285632"/>
                    <a:pt x="233209" y="248571"/>
                  </a:cubicBezTo>
                  <a:lnTo>
                    <a:pt x="299518" y="248571"/>
                  </a:lnTo>
                  <a:cubicBezTo>
                    <a:pt x="300844" y="248582"/>
                    <a:pt x="302170" y="248773"/>
                    <a:pt x="303451" y="249132"/>
                  </a:cubicBezTo>
                  <a:close/>
                  <a:moveTo>
                    <a:pt x="85532" y="104545"/>
                  </a:moveTo>
                  <a:cubicBezTo>
                    <a:pt x="85162" y="92835"/>
                    <a:pt x="89826" y="81528"/>
                    <a:pt x="98345" y="73474"/>
                  </a:cubicBezTo>
                  <a:cubicBezTo>
                    <a:pt x="107471" y="65095"/>
                    <a:pt x="119058" y="59868"/>
                    <a:pt x="131386" y="58556"/>
                  </a:cubicBezTo>
                  <a:lnTo>
                    <a:pt x="131386" y="51040"/>
                  </a:lnTo>
                  <a:cubicBezTo>
                    <a:pt x="131263" y="47350"/>
                    <a:pt x="132690" y="43772"/>
                    <a:pt x="135320" y="41169"/>
                  </a:cubicBezTo>
                  <a:cubicBezTo>
                    <a:pt x="137950" y="38590"/>
                    <a:pt x="141513" y="37165"/>
                    <a:pt x="145210" y="37243"/>
                  </a:cubicBezTo>
                  <a:cubicBezTo>
                    <a:pt x="148806" y="37154"/>
                    <a:pt x="152268" y="38578"/>
                    <a:pt x="154763" y="41169"/>
                  </a:cubicBezTo>
                  <a:cubicBezTo>
                    <a:pt x="157348" y="43794"/>
                    <a:pt x="158775" y="47361"/>
                    <a:pt x="158696" y="51040"/>
                  </a:cubicBezTo>
                  <a:lnTo>
                    <a:pt x="158696" y="59341"/>
                  </a:lnTo>
                  <a:cubicBezTo>
                    <a:pt x="170396" y="61169"/>
                    <a:pt x="181399" y="66049"/>
                    <a:pt x="190615" y="73474"/>
                  </a:cubicBezTo>
                  <a:cubicBezTo>
                    <a:pt x="194638" y="76222"/>
                    <a:pt x="197099" y="80732"/>
                    <a:pt x="197245" y="85589"/>
                  </a:cubicBezTo>
                  <a:cubicBezTo>
                    <a:pt x="197223" y="89055"/>
                    <a:pt x="195807" y="92375"/>
                    <a:pt x="193312" y="94787"/>
                  </a:cubicBezTo>
                  <a:cubicBezTo>
                    <a:pt x="190951" y="97299"/>
                    <a:pt x="187659" y="98712"/>
                    <a:pt x="184209" y="98712"/>
                  </a:cubicBezTo>
                  <a:cubicBezTo>
                    <a:pt x="181983" y="98712"/>
                    <a:pt x="179825" y="98006"/>
                    <a:pt x="178027" y="96693"/>
                  </a:cubicBezTo>
                  <a:cubicBezTo>
                    <a:pt x="172262" y="92240"/>
                    <a:pt x="165710" y="88931"/>
                    <a:pt x="158696" y="86935"/>
                  </a:cubicBezTo>
                  <a:lnTo>
                    <a:pt x="158696" y="128998"/>
                  </a:lnTo>
                  <a:cubicBezTo>
                    <a:pt x="170609" y="131107"/>
                    <a:pt x="181725" y="136424"/>
                    <a:pt x="190840" y="144366"/>
                  </a:cubicBezTo>
                  <a:cubicBezTo>
                    <a:pt x="204854" y="161886"/>
                    <a:pt x="204090" y="186956"/>
                    <a:pt x="189041" y="203591"/>
                  </a:cubicBezTo>
                  <a:cubicBezTo>
                    <a:pt x="180747" y="211847"/>
                    <a:pt x="170183" y="217455"/>
                    <a:pt x="158696" y="219744"/>
                  </a:cubicBezTo>
                  <a:lnTo>
                    <a:pt x="158696" y="226362"/>
                  </a:lnTo>
                  <a:lnTo>
                    <a:pt x="131386" y="226362"/>
                  </a:lnTo>
                  <a:lnTo>
                    <a:pt x="131386" y="221090"/>
                  </a:lnTo>
                  <a:cubicBezTo>
                    <a:pt x="123677" y="220461"/>
                    <a:pt x="116091" y="218689"/>
                    <a:pt x="108909" y="215818"/>
                  </a:cubicBezTo>
                  <a:cubicBezTo>
                    <a:pt x="101705" y="212879"/>
                    <a:pt x="95052" y="208751"/>
                    <a:pt x="89241" y="203591"/>
                  </a:cubicBezTo>
                  <a:cubicBezTo>
                    <a:pt x="85477" y="200720"/>
                    <a:pt x="83206" y="196311"/>
                    <a:pt x="83060" y="191589"/>
                  </a:cubicBezTo>
                  <a:cubicBezTo>
                    <a:pt x="83060" y="184320"/>
                    <a:pt x="88926" y="178409"/>
                    <a:pt x="96209" y="178353"/>
                  </a:cubicBezTo>
                  <a:cubicBezTo>
                    <a:pt x="99031" y="178319"/>
                    <a:pt x="101772" y="179273"/>
                    <a:pt x="103964" y="181045"/>
                  </a:cubicBezTo>
                  <a:cubicBezTo>
                    <a:pt x="108122" y="184511"/>
                    <a:pt x="112652" y="187517"/>
                    <a:pt x="117451" y="190019"/>
                  </a:cubicBezTo>
                  <a:cubicBezTo>
                    <a:pt x="121811" y="192284"/>
                    <a:pt x="126520" y="193799"/>
                    <a:pt x="131386" y="194505"/>
                  </a:cubicBezTo>
                  <a:lnTo>
                    <a:pt x="131386" y="149638"/>
                  </a:lnTo>
                  <a:cubicBezTo>
                    <a:pt x="100817" y="144702"/>
                    <a:pt x="85532" y="129783"/>
                    <a:pt x="85532" y="104882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7" name="Freeform 286">
              <a:extLst>
                <a:ext uri="{FF2B5EF4-FFF2-40B4-BE49-F238E27FC236}">
                  <a16:creationId xmlns:a16="http://schemas.microsoft.com/office/drawing/2014/main" id="{4397FD6F-2EEA-FF44-BD69-CF1D40FCA0BF}"/>
                </a:ext>
              </a:extLst>
            </p:cNvPr>
            <p:cNvSpPr/>
            <p:nvPr/>
          </p:nvSpPr>
          <p:spPr>
            <a:xfrm>
              <a:off x="8937848" y="2172617"/>
              <a:ext cx="19001" cy="37464"/>
            </a:xfrm>
            <a:custGeom>
              <a:avLst/>
              <a:gdLst>
                <a:gd name="connsiteX0" fmla="*/ 19002 w 19001"/>
                <a:gd name="connsiteY0" fmla="*/ 0 h 37464"/>
                <a:gd name="connsiteX1" fmla="*/ 4841 w 19001"/>
                <a:gd name="connsiteY1" fmla="*/ 6618 h 37464"/>
                <a:gd name="connsiteX2" fmla="*/ 8 w 19001"/>
                <a:gd name="connsiteY2" fmla="*/ 17835 h 37464"/>
                <a:gd name="connsiteX3" fmla="*/ 4841 w 19001"/>
                <a:gd name="connsiteY3" fmla="*/ 30061 h 37464"/>
                <a:gd name="connsiteX4" fmla="*/ 19002 w 19001"/>
                <a:gd name="connsiteY4" fmla="*/ 37465 h 37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01" h="37464">
                  <a:moveTo>
                    <a:pt x="19002" y="0"/>
                  </a:moveTo>
                  <a:cubicBezTo>
                    <a:pt x="13731" y="785"/>
                    <a:pt x="8809" y="3085"/>
                    <a:pt x="4841" y="6618"/>
                  </a:cubicBezTo>
                  <a:cubicBezTo>
                    <a:pt x="1807" y="9568"/>
                    <a:pt x="65" y="13606"/>
                    <a:pt x="8" y="17835"/>
                  </a:cubicBezTo>
                  <a:cubicBezTo>
                    <a:pt x="-138" y="22400"/>
                    <a:pt x="1616" y="26820"/>
                    <a:pt x="4841" y="30061"/>
                  </a:cubicBezTo>
                  <a:cubicBezTo>
                    <a:pt x="8876" y="33651"/>
                    <a:pt x="13742" y="36197"/>
                    <a:pt x="19002" y="37465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8" name="Freeform 287">
              <a:extLst>
                <a:ext uri="{FF2B5EF4-FFF2-40B4-BE49-F238E27FC236}">
                  <a16:creationId xmlns:a16="http://schemas.microsoft.com/office/drawing/2014/main" id="{2462DBD1-338D-0D46-9107-8E12106718D0}"/>
                </a:ext>
              </a:extLst>
            </p:cNvPr>
            <p:cNvSpPr/>
            <p:nvPr/>
          </p:nvSpPr>
          <p:spPr>
            <a:xfrm>
              <a:off x="8984159" y="2244070"/>
              <a:ext cx="14957" cy="35669"/>
            </a:xfrm>
            <a:custGeom>
              <a:avLst/>
              <a:gdLst>
                <a:gd name="connsiteX0" fmla="*/ 14948 w 14957"/>
                <a:gd name="connsiteY0" fmla="*/ 19069 h 35669"/>
                <a:gd name="connsiteX1" fmla="*/ 11239 w 14957"/>
                <a:gd name="connsiteY1" fmla="*/ 7852 h 35669"/>
                <a:gd name="connsiteX2" fmla="*/ 0 w 14957"/>
                <a:gd name="connsiteY2" fmla="*/ 0 h 35669"/>
                <a:gd name="connsiteX3" fmla="*/ 0 w 14957"/>
                <a:gd name="connsiteY3" fmla="*/ 35670 h 35669"/>
                <a:gd name="connsiteX4" fmla="*/ 11239 w 14957"/>
                <a:gd name="connsiteY4" fmla="*/ 28491 h 35669"/>
                <a:gd name="connsiteX5" fmla="*/ 14948 w 14957"/>
                <a:gd name="connsiteY5" fmla="*/ 19069 h 3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57" h="35669">
                  <a:moveTo>
                    <a:pt x="14948" y="19069"/>
                  </a:moveTo>
                  <a:cubicBezTo>
                    <a:pt x="15083" y="15008"/>
                    <a:pt x="13768" y="11037"/>
                    <a:pt x="11239" y="7852"/>
                  </a:cubicBezTo>
                  <a:cubicBezTo>
                    <a:pt x="8261" y="4285"/>
                    <a:pt x="4383" y="1570"/>
                    <a:pt x="0" y="0"/>
                  </a:cubicBezTo>
                  <a:lnTo>
                    <a:pt x="0" y="35670"/>
                  </a:lnTo>
                  <a:cubicBezTo>
                    <a:pt x="4260" y="34200"/>
                    <a:pt x="8115" y="31744"/>
                    <a:pt x="11239" y="28491"/>
                  </a:cubicBezTo>
                  <a:cubicBezTo>
                    <a:pt x="13633" y="25934"/>
                    <a:pt x="14959" y="22568"/>
                    <a:pt x="14948" y="19069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9" name="Freeform 288">
              <a:extLst>
                <a:ext uri="{FF2B5EF4-FFF2-40B4-BE49-F238E27FC236}">
                  <a16:creationId xmlns:a16="http://schemas.microsoft.com/office/drawing/2014/main" id="{2B7A1AED-03CA-E34B-9DB9-D69234766B16}"/>
                </a:ext>
              </a:extLst>
            </p:cNvPr>
            <p:cNvSpPr/>
            <p:nvPr/>
          </p:nvSpPr>
          <p:spPr>
            <a:xfrm>
              <a:off x="6317090" y="981201"/>
              <a:ext cx="680139" cy="776273"/>
            </a:xfrm>
            <a:custGeom>
              <a:avLst/>
              <a:gdLst>
                <a:gd name="connsiteX0" fmla="*/ 326721 w 680139"/>
                <a:gd name="connsiteY0" fmla="*/ 774369 h 776273"/>
                <a:gd name="connsiteX1" fmla="*/ 353357 w 680139"/>
                <a:gd name="connsiteY1" fmla="*/ 774369 h 776273"/>
                <a:gd name="connsiteX2" fmla="*/ 678493 w 680139"/>
                <a:gd name="connsiteY2" fmla="*/ 137806 h 776273"/>
                <a:gd name="connsiteX3" fmla="*/ 629379 w 680139"/>
                <a:gd name="connsiteY3" fmla="*/ 92938 h 776273"/>
                <a:gd name="connsiteX4" fmla="*/ 368642 w 680139"/>
                <a:gd name="connsiteY4" fmla="*/ 9933 h 776273"/>
                <a:gd name="connsiteX5" fmla="*/ 311437 w 680139"/>
                <a:gd name="connsiteY5" fmla="*/ 9933 h 776273"/>
                <a:gd name="connsiteX6" fmla="*/ 50811 w 680139"/>
                <a:gd name="connsiteY6" fmla="*/ 93611 h 776273"/>
                <a:gd name="connsiteX7" fmla="*/ 1698 w 680139"/>
                <a:gd name="connsiteY7" fmla="*/ 138479 h 776273"/>
                <a:gd name="connsiteX8" fmla="*/ 326721 w 680139"/>
                <a:gd name="connsiteY8" fmla="*/ 774369 h 776273"/>
                <a:gd name="connsiteX9" fmla="*/ 48226 w 680139"/>
                <a:gd name="connsiteY9" fmla="*/ 141957 h 776273"/>
                <a:gd name="connsiteX10" fmla="*/ 340432 w 680139"/>
                <a:gd name="connsiteY10" fmla="*/ 49753 h 776273"/>
                <a:gd name="connsiteX11" fmla="*/ 630391 w 680139"/>
                <a:gd name="connsiteY11" fmla="*/ 141957 h 776273"/>
                <a:gd name="connsiteX12" fmla="*/ 341107 w 680139"/>
                <a:gd name="connsiteY12" fmla="*/ 727931 h 776273"/>
                <a:gd name="connsiteX13" fmla="*/ 48226 w 680139"/>
                <a:gd name="connsiteY13" fmla="*/ 141957 h 776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80139" h="776273">
                  <a:moveTo>
                    <a:pt x="326721" y="774369"/>
                  </a:moveTo>
                  <a:cubicBezTo>
                    <a:pt x="335420" y="776909"/>
                    <a:pt x="344658" y="776909"/>
                    <a:pt x="353357" y="774369"/>
                  </a:cubicBezTo>
                  <a:cubicBezTo>
                    <a:pt x="683775" y="674538"/>
                    <a:pt x="685685" y="261978"/>
                    <a:pt x="678493" y="137806"/>
                  </a:cubicBezTo>
                  <a:cubicBezTo>
                    <a:pt x="676874" y="112105"/>
                    <a:pt x="655172" y="92285"/>
                    <a:pt x="629379" y="92938"/>
                  </a:cubicBezTo>
                  <a:cubicBezTo>
                    <a:pt x="535311" y="97312"/>
                    <a:pt x="442794" y="67858"/>
                    <a:pt x="368642" y="9933"/>
                  </a:cubicBezTo>
                  <a:cubicBezTo>
                    <a:pt x="351885" y="-3311"/>
                    <a:pt x="328193" y="-3311"/>
                    <a:pt x="311437" y="9933"/>
                  </a:cubicBezTo>
                  <a:cubicBezTo>
                    <a:pt x="237306" y="67888"/>
                    <a:pt x="144890" y="97558"/>
                    <a:pt x="50811" y="93611"/>
                  </a:cubicBezTo>
                  <a:cubicBezTo>
                    <a:pt x="24838" y="92471"/>
                    <a:pt x="2855" y="112556"/>
                    <a:pt x="1698" y="138479"/>
                  </a:cubicBezTo>
                  <a:cubicBezTo>
                    <a:pt x="-5608" y="261866"/>
                    <a:pt x="-4034" y="674538"/>
                    <a:pt x="326721" y="774369"/>
                  </a:cubicBezTo>
                  <a:close/>
                  <a:moveTo>
                    <a:pt x="48226" y="141957"/>
                  </a:moveTo>
                  <a:cubicBezTo>
                    <a:pt x="153454" y="146425"/>
                    <a:pt x="256906" y="113784"/>
                    <a:pt x="340432" y="49753"/>
                  </a:cubicBezTo>
                  <a:cubicBezTo>
                    <a:pt x="423206" y="113573"/>
                    <a:pt x="525882" y="146221"/>
                    <a:pt x="630391" y="141957"/>
                  </a:cubicBezTo>
                  <a:cubicBezTo>
                    <a:pt x="637022" y="258725"/>
                    <a:pt x="634887" y="638756"/>
                    <a:pt x="341107" y="727931"/>
                  </a:cubicBezTo>
                  <a:cubicBezTo>
                    <a:pt x="44405" y="638420"/>
                    <a:pt x="43393" y="255809"/>
                    <a:pt x="48226" y="141957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0" name="Freeform 289">
              <a:extLst>
                <a:ext uri="{FF2B5EF4-FFF2-40B4-BE49-F238E27FC236}">
                  <a16:creationId xmlns:a16="http://schemas.microsoft.com/office/drawing/2014/main" id="{84F4049A-E98A-0F47-98CA-3FEDB57ED809}"/>
                </a:ext>
              </a:extLst>
            </p:cNvPr>
            <p:cNvSpPr/>
            <p:nvPr/>
          </p:nvSpPr>
          <p:spPr>
            <a:xfrm>
              <a:off x="6537666" y="1272678"/>
              <a:ext cx="289505" cy="218175"/>
            </a:xfrm>
            <a:custGeom>
              <a:avLst/>
              <a:gdLst>
                <a:gd name="connsiteX0" fmla="*/ 78048 w 289505"/>
                <a:gd name="connsiteY0" fmla="*/ 211106 h 218175"/>
                <a:gd name="connsiteX1" fmla="*/ 112326 w 289505"/>
                <a:gd name="connsiteY1" fmla="*/ 211106 h 218175"/>
                <a:gd name="connsiteX2" fmla="*/ 282368 w 289505"/>
                <a:gd name="connsiteY2" fmla="*/ 41393 h 218175"/>
                <a:gd name="connsiteX3" fmla="*/ 282424 w 289505"/>
                <a:gd name="connsiteY3" fmla="*/ 7125 h 218175"/>
                <a:gd name="connsiteX4" fmla="*/ 248090 w 289505"/>
                <a:gd name="connsiteY4" fmla="*/ 7069 h 218175"/>
                <a:gd name="connsiteX5" fmla="*/ 95243 w 289505"/>
                <a:gd name="connsiteY5" fmla="*/ 159620 h 218175"/>
                <a:gd name="connsiteX6" fmla="*/ 39050 w 289505"/>
                <a:gd name="connsiteY6" fmla="*/ 104096 h 218175"/>
                <a:gd name="connsiteX7" fmla="*/ 5008 w 289505"/>
                <a:gd name="connsiteY7" fmla="*/ 108574 h 218175"/>
                <a:gd name="connsiteX8" fmla="*/ 4772 w 289505"/>
                <a:gd name="connsiteY8" fmla="*/ 137747 h 21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9505" h="218175">
                  <a:moveTo>
                    <a:pt x="78048" y="211106"/>
                  </a:moveTo>
                  <a:cubicBezTo>
                    <a:pt x="87522" y="220532"/>
                    <a:pt x="102852" y="220532"/>
                    <a:pt x="112326" y="211106"/>
                  </a:cubicBezTo>
                  <a:lnTo>
                    <a:pt x="282368" y="41393"/>
                  </a:lnTo>
                  <a:cubicBezTo>
                    <a:pt x="291864" y="31946"/>
                    <a:pt x="291887" y="16603"/>
                    <a:pt x="282424" y="7125"/>
                  </a:cubicBezTo>
                  <a:cubicBezTo>
                    <a:pt x="272961" y="-2353"/>
                    <a:pt x="257586" y="-2378"/>
                    <a:pt x="248090" y="7069"/>
                  </a:cubicBezTo>
                  <a:lnTo>
                    <a:pt x="95243" y="159620"/>
                  </a:lnTo>
                  <a:lnTo>
                    <a:pt x="39050" y="104096"/>
                  </a:lnTo>
                  <a:cubicBezTo>
                    <a:pt x="28407" y="95951"/>
                    <a:pt x="13178" y="97957"/>
                    <a:pt x="5008" y="108574"/>
                  </a:cubicBezTo>
                  <a:cubicBezTo>
                    <a:pt x="-1578" y="117155"/>
                    <a:pt x="-1679" y="129058"/>
                    <a:pt x="4772" y="137747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1" name="Freeform 290">
              <a:extLst>
                <a:ext uri="{FF2B5EF4-FFF2-40B4-BE49-F238E27FC236}">
                  <a16:creationId xmlns:a16="http://schemas.microsoft.com/office/drawing/2014/main" id="{73A542EC-08B1-C44F-85B4-3C2E85817D49}"/>
                </a:ext>
              </a:extLst>
            </p:cNvPr>
            <p:cNvSpPr/>
            <p:nvPr/>
          </p:nvSpPr>
          <p:spPr>
            <a:xfrm>
              <a:off x="5797424" y="4690827"/>
              <a:ext cx="403244" cy="28042"/>
            </a:xfrm>
            <a:custGeom>
              <a:avLst/>
              <a:gdLst>
                <a:gd name="connsiteX0" fmla="*/ 403245 w 403244"/>
                <a:gd name="connsiteY0" fmla="*/ 14021 h 28042"/>
                <a:gd name="connsiteX1" fmla="*/ 389197 w 403244"/>
                <a:gd name="connsiteY1" fmla="*/ 0 h 28042"/>
                <a:gd name="connsiteX2" fmla="*/ 14048 w 403244"/>
                <a:gd name="connsiteY2" fmla="*/ 0 h 28042"/>
                <a:gd name="connsiteX3" fmla="*/ 0 w 403244"/>
                <a:gd name="connsiteY3" fmla="*/ 14021 h 28042"/>
                <a:gd name="connsiteX4" fmla="*/ 14048 w 403244"/>
                <a:gd name="connsiteY4" fmla="*/ 28042 h 28042"/>
                <a:gd name="connsiteX5" fmla="*/ 389309 w 403244"/>
                <a:gd name="connsiteY5" fmla="*/ 28042 h 28042"/>
                <a:gd name="connsiteX6" fmla="*/ 403245 w 403244"/>
                <a:gd name="connsiteY6" fmla="*/ 14021 h 28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3244" h="28042">
                  <a:moveTo>
                    <a:pt x="403245" y="14021"/>
                  </a:moveTo>
                  <a:cubicBezTo>
                    <a:pt x="403245" y="6281"/>
                    <a:pt x="396951" y="0"/>
                    <a:pt x="389197" y="0"/>
                  </a:cubicBezTo>
                  <a:lnTo>
                    <a:pt x="14048" y="0"/>
                  </a:lnTo>
                  <a:cubicBezTo>
                    <a:pt x="6294" y="0"/>
                    <a:pt x="0" y="6281"/>
                    <a:pt x="0" y="14021"/>
                  </a:cubicBezTo>
                  <a:cubicBezTo>
                    <a:pt x="0" y="21761"/>
                    <a:pt x="6294" y="28042"/>
                    <a:pt x="14048" y="28042"/>
                  </a:cubicBezTo>
                  <a:lnTo>
                    <a:pt x="389309" y="28042"/>
                  </a:lnTo>
                  <a:cubicBezTo>
                    <a:pt x="397019" y="27986"/>
                    <a:pt x="403245" y="21716"/>
                    <a:pt x="403245" y="14021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2" name="Freeform 291">
              <a:extLst>
                <a:ext uri="{FF2B5EF4-FFF2-40B4-BE49-F238E27FC236}">
                  <a16:creationId xmlns:a16="http://schemas.microsoft.com/office/drawing/2014/main" id="{2FA2D261-7E4E-734B-962E-B405A319130F}"/>
                </a:ext>
              </a:extLst>
            </p:cNvPr>
            <p:cNvSpPr/>
            <p:nvPr/>
          </p:nvSpPr>
          <p:spPr>
            <a:xfrm>
              <a:off x="5797424" y="4751062"/>
              <a:ext cx="316819" cy="28042"/>
            </a:xfrm>
            <a:custGeom>
              <a:avLst/>
              <a:gdLst>
                <a:gd name="connsiteX0" fmla="*/ 302771 w 316819"/>
                <a:gd name="connsiteY0" fmla="*/ 0 h 28042"/>
                <a:gd name="connsiteX1" fmla="*/ 14048 w 316819"/>
                <a:gd name="connsiteY1" fmla="*/ 0 h 28042"/>
                <a:gd name="connsiteX2" fmla="*/ 0 w 316819"/>
                <a:gd name="connsiteY2" fmla="*/ 14021 h 28042"/>
                <a:gd name="connsiteX3" fmla="*/ 14048 w 316819"/>
                <a:gd name="connsiteY3" fmla="*/ 28042 h 28042"/>
                <a:gd name="connsiteX4" fmla="*/ 302771 w 316819"/>
                <a:gd name="connsiteY4" fmla="*/ 28042 h 28042"/>
                <a:gd name="connsiteX5" fmla="*/ 316819 w 316819"/>
                <a:gd name="connsiteY5" fmla="*/ 14021 h 28042"/>
                <a:gd name="connsiteX6" fmla="*/ 302771 w 316819"/>
                <a:gd name="connsiteY6" fmla="*/ 0 h 28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6819" h="28042">
                  <a:moveTo>
                    <a:pt x="302771" y="0"/>
                  </a:moveTo>
                  <a:lnTo>
                    <a:pt x="14048" y="0"/>
                  </a:lnTo>
                  <a:cubicBezTo>
                    <a:pt x="6294" y="0"/>
                    <a:pt x="0" y="6281"/>
                    <a:pt x="0" y="14021"/>
                  </a:cubicBezTo>
                  <a:cubicBezTo>
                    <a:pt x="0" y="21761"/>
                    <a:pt x="6294" y="28042"/>
                    <a:pt x="14048" y="28042"/>
                  </a:cubicBezTo>
                  <a:lnTo>
                    <a:pt x="302771" y="28042"/>
                  </a:lnTo>
                  <a:cubicBezTo>
                    <a:pt x="310526" y="28042"/>
                    <a:pt x="316819" y="21761"/>
                    <a:pt x="316819" y="14021"/>
                  </a:cubicBezTo>
                  <a:cubicBezTo>
                    <a:pt x="316819" y="6281"/>
                    <a:pt x="310526" y="0"/>
                    <a:pt x="302771" y="0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3" name="Freeform 292">
              <a:extLst>
                <a:ext uri="{FF2B5EF4-FFF2-40B4-BE49-F238E27FC236}">
                  <a16:creationId xmlns:a16="http://schemas.microsoft.com/office/drawing/2014/main" id="{20C14411-8006-6E4D-BD94-AF8F55355CF9}"/>
                </a:ext>
              </a:extLst>
            </p:cNvPr>
            <p:cNvSpPr/>
            <p:nvPr/>
          </p:nvSpPr>
          <p:spPr>
            <a:xfrm>
              <a:off x="5797424" y="4905408"/>
              <a:ext cx="243655" cy="28042"/>
            </a:xfrm>
            <a:custGeom>
              <a:avLst/>
              <a:gdLst>
                <a:gd name="connsiteX0" fmla="*/ 14048 w 243655"/>
                <a:gd name="connsiteY0" fmla="*/ 28042 h 28042"/>
                <a:gd name="connsiteX1" fmla="*/ 229607 w 243655"/>
                <a:gd name="connsiteY1" fmla="*/ 28042 h 28042"/>
                <a:gd name="connsiteX2" fmla="*/ 243655 w 243655"/>
                <a:gd name="connsiteY2" fmla="*/ 14021 h 28042"/>
                <a:gd name="connsiteX3" fmla="*/ 229607 w 243655"/>
                <a:gd name="connsiteY3" fmla="*/ 0 h 28042"/>
                <a:gd name="connsiteX4" fmla="*/ 14048 w 243655"/>
                <a:gd name="connsiteY4" fmla="*/ 0 h 28042"/>
                <a:gd name="connsiteX5" fmla="*/ 0 w 243655"/>
                <a:gd name="connsiteY5" fmla="*/ 14021 h 28042"/>
                <a:gd name="connsiteX6" fmla="*/ 14048 w 243655"/>
                <a:gd name="connsiteY6" fmla="*/ 28042 h 28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3655" h="28042">
                  <a:moveTo>
                    <a:pt x="14048" y="28042"/>
                  </a:moveTo>
                  <a:lnTo>
                    <a:pt x="229607" y="28042"/>
                  </a:lnTo>
                  <a:cubicBezTo>
                    <a:pt x="237361" y="28042"/>
                    <a:pt x="243655" y="21761"/>
                    <a:pt x="243655" y="14021"/>
                  </a:cubicBezTo>
                  <a:cubicBezTo>
                    <a:pt x="243655" y="6281"/>
                    <a:pt x="237361" y="0"/>
                    <a:pt x="229607" y="0"/>
                  </a:cubicBezTo>
                  <a:lnTo>
                    <a:pt x="14048" y="0"/>
                  </a:lnTo>
                  <a:cubicBezTo>
                    <a:pt x="6294" y="0"/>
                    <a:pt x="0" y="6281"/>
                    <a:pt x="0" y="14021"/>
                  </a:cubicBezTo>
                  <a:cubicBezTo>
                    <a:pt x="0" y="21761"/>
                    <a:pt x="6294" y="28042"/>
                    <a:pt x="14048" y="28042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4" name="Freeform 293">
              <a:extLst>
                <a:ext uri="{FF2B5EF4-FFF2-40B4-BE49-F238E27FC236}">
                  <a16:creationId xmlns:a16="http://schemas.microsoft.com/office/drawing/2014/main" id="{403973B0-0EF6-5245-A645-1A9BBF70B653}"/>
                </a:ext>
              </a:extLst>
            </p:cNvPr>
            <p:cNvSpPr/>
            <p:nvPr/>
          </p:nvSpPr>
          <p:spPr>
            <a:xfrm>
              <a:off x="5797424" y="4965755"/>
              <a:ext cx="316819" cy="28042"/>
            </a:xfrm>
            <a:custGeom>
              <a:avLst/>
              <a:gdLst>
                <a:gd name="connsiteX0" fmla="*/ 14048 w 316819"/>
                <a:gd name="connsiteY0" fmla="*/ 28042 h 28042"/>
                <a:gd name="connsiteX1" fmla="*/ 302771 w 316819"/>
                <a:gd name="connsiteY1" fmla="*/ 28042 h 28042"/>
                <a:gd name="connsiteX2" fmla="*/ 316819 w 316819"/>
                <a:gd name="connsiteY2" fmla="*/ 14021 h 28042"/>
                <a:gd name="connsiteX3" fmla="*/ 302771 w 316819"/>
                <a:gd name="connsiteY3" fmla="*/ 0 h 28042"/>
                <a:gd name="connsiteX4" fmla="*/ 14048 w 316819"/>
                <a:gd name="connsiteY4" fmla="*/ 0 h 28042"/>
                <a:gd name="connsiteX5" fmla="*/ 0 w 316819"/>
                <a:gd name="connsiteY5" fmla="*/ 14021 h 28042"/>
                <a:gd name="connsiteX6" fmla="*/ 14048 w 316819"/>
                <a:gd name="connsiteY6" fmla="*/ 28042 h 28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6819" h="28042">
                  <a:moveTo>
                    <a:pt x="14048" y="28042"/>
                  </a:moveTo>
                  <a:lnTo>
                    <a:pt x="302771" y="28042"/>
                  </a:lnTo>
                  <a:cubicBezTo>
                    <a:pt x="310526" y="28042"/>
                    <a:pt x="316819" y="21761"/>
                    <a:pt x="316819" y="14021"/>
                  </a:cubicBezTo>
                  <a:cubicBezTo>
                    <a:pt x="316819" y="6281"/>
                    <a:pt x="310526" y="0"/>
                    <a:pt x="302771" y="0"/>
                  </a:cubicBezTo>
                  <a:lnTo>
                    <a:pt x="14048" y="0"/>
                  </a:lnTo>
                  <a:cubicBezTo>
                    <a:pt x="6294" y="0"/>
                    <a:pt x="0" y="6281"/>
                    <a:pt x="0" y="14021"/>
                  </a:cubicBezTo>
                  <a:cubicBezTo>
                    <a:pt x="0" y="21761"/>
                    <a:pt x="6294" y="28042"/>
                    <a:pt x="14048" y="28042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5" name="Freeform 294">
              <a:extLst>
                <a:ext uri="{FF2B5EF4-FFF2-40B4-BE49-F238E27FC236}">
                  <a16:creationId xmlns:a16="http://schemas.microsoft.com/office/drawing/2014/main" id="{4E8081F3-5F11-6E47-A0E5-EC13313EFB15}"/>
                </a:ext>
              </a:extLst>
            </p:cNvPr>
            <p:cNvSpPr/>
            <p:nvPr/>
          </p:nvSpPr>
          <p:spPr>
            <a:xfrm>
              <a:off x="5931502" y="1953326"/>
              <a:ext cx="147676" cy="140212"/>
            </a:xfrm>
            <a:custGeom>
              <a:avLst/>
              <a:gdLst>
                <a:gd name="connsiteX0" fmla="*/ 96653 w 147676"/>
                <a:gd name="connsiteY0" fmla="*/ 46214 h 140212"/>
                <a:gd name="connsiteX1" fmla="*/ 73838 w 147676"/>
                <a:gd name="connsiteY1" fmla="*/ 0 h 140212"/>
                <a:gd name="connsiteX2" fmla="*/ 51024 w 147676"/>
                <a:gd name="connsiteY2" fmla="*/ 46214 h 140212"/>
                <a:gd name="connsiteX3" fmla="*/ 0 w 147676"/>
                <a:gd name="connsiteY3" fmla="*/ 53505 h 140212"/>
                <a:gd name="connsiteX4" fmla="*/ 36863 w 147676"/>
                <a:gd name="connsiteY4" fmla="*/ 89511 h 140212"/>
                <a:gd name="connsiteX5" fmla="*/ 28209 w 147676"/>
                <a:gd name="connsiteY5" fmla="*/ 140212 h 140212"/>
                <a:gd name="connsiteX6" fmla="*/ 73838 w 147676"/>
                <a:gd name="connsiteY6" fmla="*/ 116320 h 140212"/>
                <a:gd name="connsiteX7" fmla="*/ 119468 w 147676"/>
                <a:gd name="connsiteY7" fmla="*/ 140212 h 140212"/>
                <a:gd name="connsiteX8" fmla="*/ 110814 w 147676"/>
                <a:gd name="connsiteY8" fmla="*/ 89511 h 140212"/>
                <a:gd name="connsiteX9" fmla="*/ 147677 w 147676"/>
                <a:gd name="connsiteY9" fmla="*/ 53505 h 140212"/>
                <a:gd name="connsiteX10" fmla="*/ 96653 w 147676"/>
                <a:gd name="connsiteY10" fmla="*/ 46214 h 140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7676" h="140212">
                  <a:moveTo>
                    <a:pt x="96653" y="46214"/>
                  </a:moveTo>
                  <a:lnTo>
                    <a:pt x="73838" y="0"/>
                  </a:lnTo>
                  <a:lnTo>
                    <a:pt x="51024" y="46214"/>
                  </a:lnTo>
                  <a:lnTo>
                    <a:pt x="0" y="53505"/>
                  </a:lnTo>
                  <a:lnTo>
                    <a:pt x="36863" y="89511"/>
                  </a:lnTo>
                  <a:lnTo>
                    <a:pt x="28209" y="140212"/>
                  </a:lnTo>
                  <a:lnTo>
                    <a:pt x="73838" y="116320"/>
                  </a:lnTo>
                  <a:lnTo>
                    <a:pt x="119468" y="140212"/>
                  </a:lnTo>
                  <a:lnTo>
                    <a:pt x="110814" y="89511"/>
                  </a:lnTo>
                  <a:lnTo>
                    <a:pt x="147677" y="53505"/>
                  </a:lnTo>
                  <a:lnTo>
                    <a:pt x="96653" y="46214"/>
                  </a:ln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6" name="Freeform 295">
              <a:extLst>
                <a:ext uri="{FF2B5EF4-FFF2-40B4-BE49-F238E27FC236}">
                  <a16:creationId xmlns:a16="http://schemas.microsoft.com/office/drawing/2014/main" id="{F34F21E1-CD1E-0F45-8F23-D643E936CAA9}"/>
                </a:ext>
              </a:extLst>
            </p:cNvPr>
            <p:cNvSpPr/>
            <p:nvPr/>
          </p:nvSpPr>
          <p:spPr>
            <a:xfrm>
              <a:off x="8740671" y="3879885"/>
              <a:ext cx="206524" cy="155659"/>
            </a:xfrm>
            <a:custGeom>
              <a:avLst/>
              <a:gdLst>
                <a:gd name="connsiteX0" fmla="*/ 57376 w 206524"/>
                <a:gd name="connsiteY0" fmla="*/ 150599 h 155659"/>
                <a:gd name="connsiteX1" fmla="*/ 81696 w 206524"/>
                <a:gd name="connsiteY1" fmla="*/ 150667 h 155659"/>
                <a:gd name="connsiteX2" fmla="*/ 81764 w 206524"/>
                <a:gd name="connsiteY2" fmla="*/ 150599 h 155659"/>
                <a:gd name="connsiteX3" fmla="*/ 201568 w 206524"/>
                <a:gd name="connsiteY3" fmla="*/ 29232 h 155659"/>
                <a:gd name="connsiteX4" fmla="*/ 201400 w 206524"/>
                <a:gd name="connsiteY4" fmla="*/ 4947 h 155659"/>
                <a:gd name="connsiteX5" fmla="*/ 177068 w 206524"/>
                <a:gd name="connsiteY5" fmla="*/ 5115 h 155659"/>
                <a:gd name="connsiteX6" fmla="*/ 69289 w 206524"/>
                <a:gd name="connsiteY6" fmla="*/ 114257 h 155659"/>
                <a:gd name="connsiteX7" fmla="*/ 29504 w 206524"/>
                <a:gd name="connsiteY7" fmla="*/ 74997 h 155659"/>
                <a:gd name="connsiteX8" fmla="*/ 5116 w 206524"/>
                <a:gd name="connsiteY8" fmla="*/ 74997 h 155659"/>
                <a:gd name="connsiteX9" fmla="*/ 4891 w 206524"/>
                <a:gd name="connsiteY9" fmla="*/ 99114 h 155659"/>
                <a:gd name="connsiteX10" fmla="*/ 5116 w 206524"/>
                <a:gd name="connsiteY10" fmla="*/ 99338 h 155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6524" h="155659">
                  <a:moveTo>
                    <a:pt x="57376" y="150599"/>
                  </a:moveTo>
                  <a:cubicBezTo>
                    <a:pt x="64074" y="157318"/>
                    <a:pt x="74953" y="157352"/>
                    <a:pt x="81696" y="150667"/>
                  </a:cubicBezTo>
                  <a:cubicBezTo>
                    <a:pt x="81719" y="150644"/>
                    <a:pt x="81741" y="150622"/>
                    <a:pt x="81764" y="150599"/>
                  </a:cubicBezTo>
                  <a:lnTo>
                    <a:pt x="201568" y="29232"/>
                  </a:lnTo>
                  <a:cubicBezTo>
                    <a:pt x="208244" y="22479"/>
                    <a:pt x="208165" y="11610"/>
                    <a:pt x="201400" y="4947"/>
                  </a:cubicBezTo>
                  <a:cubicBezTo>
                    <a:pt x="194634" y="-1716"/>
                    <a:pt x="183744" y="-1637"/>
                    <a:pt x="177068" y="5115"/>
                  </a:cubicBezTo>
                  <a:lnTo>
                    <a:pt x="69289" y="114257"/>
                  </a:lnTo>
                  <a:lnTo>
                    <a:pt x="29504" y="74997"/>
                  </a:lnTo>
                  <a:cubicBezTo>
                    <a:pt x="22761" y="68312"/>
                    <a:pt x="11859" y="68312"/>
                    <a:pt x="5116" y="74997"/>
                  </a:cubicBezTo>
                  <a:cubicBezTo>
                    <a:pt x="-1616" y="81593"/>
                    <a:pt x="-1718" y="92383"/>
                    <a:pt x="4891" y="99114"/>
                  </a:cubicBezTo>
                  <a:cubicBezTo>
                    <a:pt x="4958" y="99181"/>
                    <a:pt x="5037" y="99259"/>
                    <a:pt x="5116" y="99338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7" name="Freeform 296">
              <a:extLst>
                <a:ext uri="{FF2B5EF4-FFF2-40B4-BE49-F238E27FC236}">
                  <a16:creationId xmlns:a16="http://schemas.microsoft.com/office/drawing/2014/main" id="{75821C76-D769-BD4A-970A-99570D81CEE9}"/>
                </a:ext>
              </a:extLst>
            </p:cNvPr>
            <p:cNvSpPr/>
            <p:nvPr/>
          </p:nvSpPr>
          <p:spPr>
            <a:xfrm>
              <a:off x="8366454" y="3622748"/>
              <a:ext cx="299356" cy="298828"/>
            </a:xfrm>
            <a:custGeom>
              <a:avLst/>
              <a:gdLst>
                <a:gd name="connsiteX0" fmla="*/ 51275 w 299356"/>
                <a:gd name="connsiteY0" fmla="*/ 262028 h 298828"/>
                <a:gd name="connsiteX1" fmla="*/ 262484 w 299356"/>
                <a:gd name="connsiteY1" fmla="*/ 247603 h 298828"/>
                <a:gd name="connsiteX2" fmla="*/ 248042 w 299356"/>
                <a:gd name="connsiteY2" fmla="*/ 36802 h 298828"/>
                <a:gd name="connsiteX3" fmla="*/ 36889 w 299356"/>
                <a:gd name="connsiteY3" fmla="*/ 51149 h 298828"/>
                <a:gd name="connsiteX4" fmla="*/ 51275 w 299356"/>
                <a:gd name="connsiteY4" fmla="*/ 262028 h 298828"/>
                <a:gd name="connsiteX5" fmla="*/ 56894 w 299356"/>
                <a:gd name="connsiteY5" fmla="*/ 69545 h 298828"/>
                <a:gd name="connsiteX6" fmla="*/ 114099 w 299356"/>
                <a:gd name="connsiteY6" fmla="*/ 32753 h 298828"/>
                <a:gd name="connsiteX7" fmla="*/ 149389 w 299356"/>
                <a:gd name="connsiteY7" fmla="*/ 149970 h 298828"/>
                <a:gd name="connsiteX8" fmla="*/ 229970 w 299356"/>
                <a:gd name="connsiteY8" fmla="*/ 57767 h 298828"/>
                <a:gd name="connsiteX9" fmla="*/ 241816 w 299356"/>
                <a:gd name="connsiteY9" fmla="*/ 230430 h 298828"/>
                <a:gd name="connsiteX10" fmla="*/ 68807 w 299356"/>
                <a:gd name="connsiteY10" fmla="*/ 242253 h 298828"/>
                <a:gd name="connsiteX11" fmla="*/ 56973 w 299356"/>
                <a:gd name="connsiteY11" fmla="*/ 69578 h 298828"/>
                <a:gd name="connsiteX12" fmla="*/ 57007 w 299356"/>
                <a:gd name="connsiteY12" fmla="*/ 69545 h 298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9356" h="298828">
                  <a:moveTo>
                    <a:pt x="51275" y="262028"/>
                  </a:moveTo>
                  <a:cubicBezTo>
                    <a:pt x="113593" y="316262"/>
                    <a:pt x="208156" y="309801"/>
                    <a:pt x="262484" y="247603"/>
                  </a:cubicBezTo>
                  <a:cubicBezTo>
                    <a:pt x="316823" y="185416"/>
                    <a:pt x="310350" y="91025"/>
                    <a:pt x="248042" y="36802"/>
                  </a:cubicBezTo>
                  <a:cubicBezTo>
                    <a:pt x="185757" y="-17409"/>
                    <a:pt x="91239" y="-10982"/>
                    <a:pt x="36889" y="51149"/>
                  </a:cubicBezTo>
                  <a:cubicBezTo>
                    <a:pt x="-17450" y="113358"/>
                    <a:pt x="-11010" y="207738"/>
                    <a:pt x="51275" y="262028"/>
                  </a:cubicBezTo>
                  <a:close/>
                  <a:moveTo>
                    <a:pt x="56894" y="69545"/>
                  </a:moveTo>
                  <a:cubicBezTo>
                    <a:pt x="72066" y="52103"/>
                    <a:pt x="91914" y="39338"/>
                    <a:pt x="114099" y="32753"/>
                  </a:cubicBezTo>
                  <a:lnTo>
                    <a:pt x="149389" y="149970"/>
                  </a:lnTo>
                  <a:lnTo>
                    <a:pt x="229970" y="57767"/>
                  </a:lnTo>
                  <a:cubicBezTo>
                    <a:pt x="281016" y="102186"/>
                    <a:pt x="286310" y="179482"/>
                    <a:pt x="241816" y="230430"/>
                  </a:cubicBezTo>
                  <a:cubicBezTo>
                    <a:pt x="197310" y="281377"/>
                    <a:pt x="119853" y="286660"/>
                    <a:pt x="68807" y="242253"/>
                  </a:cubicBezTo>
                  <a:cubicBezTo>
                    <a:pt x="17772" y="197833"/>
                    <a:pt x="12468" y="120526"/>
                    <a:pt x="56973" y="69578"/>
                  </a:cubicBezTo>
                  <a:cubicBezTo>
                    <a:pt x="56984" y="69567"/>
                    <a:pt x="56995" y="69556"/>
                    <a:pt x="57007" y="69545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8" name="Freeform 297">
              <a:extLst>
                <a:ext uri="{FF2B5EF4-FFF2-40B4-BE49-F238E27FC236}">
                  <a16:creationId xmlns:a16="http://schemas.microsoft.com/office/drawing/2014/main" id="{423CC782-71FA-3942-AA7A-C53055C8FF84}"/>
                </a:ext>
              </a:extLst>
            </p:cNvPr>
            <p:cNvSpPr/>
            <p:nvPr/>
          </p:nvSpPr>
          <p:spPr>
            <a:xfrm>
              <a:off x="8366143" y="3978998"/>
              <a:ext cx="299399" cy="298819"/>
            </a:xfrm>
            <a:custGeom>
              <a:avLst/>
              <a:gdLst>
                <a:gd name="connsiteX0" fmla="*/ 149700 w 299399"/>
                <a:gd name="connsiteY0" fmla="*/ 298820 h 298819"/>
                <a:gd name="connsiteX1" fmla="*/ 299399 w 299399"/>
                <a:gd name="connsiteY1" fmla="*/ 149410 h 298819"/>
                <a:gd name="connsiteX2" fmla="*/ 149700 w 299399"/>
                <a:gd name="connsiteY2" fmla="*/ 0 h 298819"/>
                <a:gd name="connsiteX3" fmla="*/ 0 w 299399"/>
                <a:gd name="connsiteY3" fmla="*/ 149410 h 298819"/>
                <a:gd name="connsiteX4" fmla="*/ 149700 w 299399"/>
                <a:gd name="connsiteY4" fmla="*/ 298820 h 298819"/>
                <a:gd name="connsiteX5" fmla="*/ 149700 w 299399"/>
                <a:gd name="connsiteY5" fmla="*/ 27033 h 298819"/>
                <a:gd name="connsiteX6" fmla="*/ 215109 w 299399"/>
                <a:gd name="connsiteY6" fmla="*/ 45877 h 298819"/>
                <a:gd name="connsiteX7" fmla="*/ 149700 w 299399"/>
                <a:gd name="connsiteY7" fmla="*/ 149410 h 298819"/>
                <a:gd name="connsiteX8" fmla="*/ 209377 w 299399"/>
                <a:gd name="connsiteY8" fmla="*/ 256308 h 298819"/>
                <a:gd name="connsiteX9" fmla="*/ 149700 w 299399"/>
                <a:gd name="connsiteY9" fmla="*/ 271787 h 298819"/>
                <a:gd name="connsiteX10" fmla="*/ 27086 w 299399"/>
                <a:gd name="connsiteY10" fmla="*/ 149410 h 298819"/>
                <a:gd name="connsiteX11" fmla="*/ 149700 w 299399"/>
                <a:gd name="connsiteY11" fmla="*/ 27033 h 298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9399" h="298819">
                  <a:moveTo>
                    <a:pt x="149700" y="298820"/>
                  </a:moveTo>
                  <a:cubicBezTo>
                    <a:pt x="232372" y="298820"/>
                    <a:pt x="299399" y="231922"/>
                    <a:pt x="299399" y="149410"/>
                  </a:cubicBezTo>
                  <a:cubicBezTo>
                    <a:pt x="299399" y="66898"/>
                    <a:pt x="232372" y="0"/>
                    <a:pt x="149700" y="0"/>
                  </a:cubicBezTo>
                  <a:cubicBezTo>
                    <a:pt x="67028" y="0"/>
                    <a:pt x="0" y="66898"/>
                    <a:pt x="0" y="149410"/>
                  </a:cubicBezTo>
                  <a:cubicBezTo>
                    <a:pt x="0" y="231922"/>
                    <a:pt x="67028" y="298820"/>
                    <a:pt x="149700" y="298820"/>
                  </a:cubicBezTo>
                  <a:close/>
                  <a:moveTo>
                    <a:pt x="149700" y="27033"/>
                  </a:moveTo>
                  <a:cubicBezTo>
                    <a:pt x="172851" y="27033"/>
                    <a:pt x="195520" y="33561"/>
                    <a:pt x="215109" y="45877"/>
                  </a:cubicBezTo>
                  <a:lnTo>
                    <a:pt x="149700" y="149410"/>
                  </a:lnTo>
                  <a:lnTo>
                    <a:pt x="209377" y="256308"/>
                  </a:lnTo>
                  <a:cubicBezTo>
                    <a:pt x="191148" y="266493"/>
                    <a:pt x="170593" y="271821"/>
                    <a:pt x="149700" y="271787"/>
                  </a:cubicBezTo>
                  <a:cubicBezTo>
                    <a:pt x="81986" y="271787"/>
                    <a:pt x="27086" y="216992"/>
                    <a:pt x="27086" y="149410"/>
                  </a:cubicBezTo>
                  <a:cubicBezTo>
                    <a:pt x="27086" y="81828"/>
                    <a:pt x="81986" y="27033"/>
                    <a:pt x="149700" y="27033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9" name="Freeform 298">
              <a:extLst>
                <a:ext uri="{FF2B5EF4-FFF2-40B4-BE49-F238E27FC236}">
                  <a16:creationId xmlns:a16="http://schemas.microsoft.com/office/drawing/2014/main" id="{4479E648-33FE-B44F-BD19-EC054EBCF6FA}"/>
                </a:ext>
              </a:extLst>
            </p:cNvPr>
            <p:cNvSpPr/>
            <p:nvPr/>
          </p:nvSpPr>
          <p:spPr>
            <a:xfrm>
              <a:off x="8304892" y="4322686"/>
              <a:ext cx="396389" cy="28042"/>
            </a:xfrm>
            <a:custGeom>
              <a:avLst/>
              <a:gdLst>
                <a:gd name="connsiteX0" fmla="*/ 382341 w 396389"/>
                <a:gd name="connsiteY0" fmla="*/ 0 h 28042"/>
                <a:gd name="connsiteX1" fmla="*/ 14048 w 396389"/>
                <a:gd name="connsiteY1" fmla="*/ 0 h 28042"/>
                <a:gd name="connsiteX2" fmla="*/ 0 w 396389"/>
                <a:gd name="connsiteY2" fmla="*/ 14021 h 28042"/>
                <a:gd name="connsiteX3" fmla="*/ 14048 w 396389"/>
                <a:gd name="connsiteY3" fmla="*/ 28042 h 28042"/>
                <a:gd name="connsiteX4" fmla="*/ 382341 w 396389"/>
                <a:gd name="connsiteY4" fmla="*/ 28042 h 28042"/>
                <a:gd name="connsiteX5" fmla="*/ 396389 w 396389"/>
                <a:gd name="connsiteY5" fmla="*/ 14021 h 28042"/>
                <a:gd name="connsiteX6" fmla="*/ 382341 w 396389"/>
                <a:gd name="connsiteY6" fmla="*/ 0 h 28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6389" h="28042">
                  <a:moveTo>
                    <a:pt x="382341" y="0"/>
                  </a:moveTo>
                  <a:lnTo>
                    <a:pt x="14048" y="0"/>
                  </a:lnTo>
                  <a:cubicBezTo>
                    <a:pt x="6294" y="0"/>
                    <a:pt x="0" y="6281"/>
                    <a:pt x="0" y="14021"/>
                  </a:cubicBezTo>
                  <a:cubicBezTo>
                    <a:pt x="0" y="21761"/>
                    <a:pt x="6294" y="28042"/>
                    <a:pt x="14048" y="28042"/>
                  </a:cubicBezTo>
                  <a:lnTo>
                    <a:pt x="382341" y="28042"/>
                  </a:lnTo>
                  <a:cubicBezTo>
                    <a:pt x="390096" y="28042"/>
                    <a:pt x="396389" y="21761"/>
                    <a:pt x="396389" y="14021"/>
                  </a:cubicBezTo>
                  <a:cubicBezTo>
                    <a:pt x="396389" y="6281"/>
                    <a:pt x="390096" y="0"/>
                    <a:pt x="382341" y="0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0" name="Freeform 299">
              <a:extLst>
                <a:ext uri="{FF2B5EF4-FFF2-40B4-BE49-F238E27FC236}">
                  <a16:creationId xmlns:a16="http://schemas.microsoft.com/office/drawing/2014/main" id="{58909A05-15EF-B949-907C-DA4959406AC3}"/>
                </a:ext>
              </a:extLst>
            </p:cNvPr>
            <p:cNvSpPr/>
            <p:nvPr/>
          </p:nvSpPr>
          <p:spPr>
            <a:xfrm>
              <a:off x="8304892" y="4392455"/>
              <a:ext cx="396389" cy="28042"/>
            </a:xfrm>
            <a:custGeom>
              <a:avLst/>
              <a:gdLst>
                <a:gd name="connsiteX0" fmla="*/ 382341 w 396389"/>
                <a:gd name="connsiteY0" fmla="*/ 0 h 28042"/>
                <a:gd name="connsiteX1" fmla="*/ 14048 w 396389"/>
                <a:gd name="connsiteY1" fmla="*/ 0 h 28042"/>
                <a:gd name="connsiteX2" fmla="*/ 0 w 396389"/>
                <a:gd name="connsiteY2" fmla="*/ 14021 h 28042"/>
                <a:gd name="connsiteX3" fmla="*/ 14048 w 396389"/>
                <a:gd name="connsiteY3" fmla="*/ 28042 h 28042"/>
                <a:gd name="connsiteX4" fmla="*/ 382341 w 396389"/>
                <a:gd name="connsiteY4" fmla="*/ 28042 h 28042"/>
                <a:gd name="connsiteX5" fmla="*/ 396389 w 396389"/>
                <a:gd name="connsiteY5" fmla="*/ 14021 h 28042"/>
                <a:gd name="connsiteX6" fmla="*/ 382341 w 396389"/>
                <a:gd name="connsiteY6" fmla="*/ 0 h 28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6389" h="28042">
                  <a:moveTo>
                    <a:pt x="382341" y="0"/>
                  </a:moveTo>
                  <a:lnTo>
                    <a:pt x="14048" y="0"/>
                  </a:lnTo>
                  <a:cubicBezTo>
                    <a:pt x="6294" y="0"/>
                    <a:pt x="0" y="6281"/>
                    <a:pt x="0" y="14021"/>
                  </a:cubicBezTo>
                  <a:cubicBezTo>
                    <a:pt x="0" y="21761"/>
                    <a:pt x="6294" y="28042"/>
                    <a:pt x="14048" y="28042"/>
                  </a:cubicBezTo>
                  <a:lnTo>
                    <a:pt x="382341" y="28042"/>
                  </a:lnTo>
                  <a:cubicBezTo>
                    <a:pt x="390096" y="28042"/>
                    <a:pt x="396389" y="21761"/>
                    <a:pt x="396389" y="14021"/>
                  </a:cubicBezTo>
                  <a:cubicBezTo>
                    <a:pt x="396389" y="6281"/>
                    <a:pt x="390096" y="0"/>
                    <a:pt x="382341" y="0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1" name="Freeform 300">
              <a:extLst>
                <a:ext uri="{FF2B5EF4-FFF2-40B4-BE49-F238E27FC236}">
                  <a16:creationId xmlns:a16="http://schemas.microsoft.com/office/drawing/2014/main" id="{59DE29D5-A4D4-F743-AA87-ED29CD56C7FD}"/>
                </a:ext>
              </a:extLst>
            </p:cNvPr>
            <p:cNvSpPr/>
            <p:nvPr/>
          </p:nvSpPr>
          <p:spPr>
            <a:xfrm>
              <a:off x="8304892" y="4462337"/>
              <a:ext cx="396389" cy="28042"/>
            </a:xfrm>
            <a:custGeom>
              <a:avLst/>
              <a:gdLst>
                <a:gd name="connsiteX0" fmla="*/ 382341 w 396389"/>
                <a:gd name="connsiteY0" fmla="*/ 0 h 28042"/>
                <a:gd name="connsiteX1" fmla="*/ 14048 w 396389"/>
                <a:gd name="connsiteY1" fmla="*/ 0 h 28042"/>
                <a:gd name="connsiteX2" fmla="*/ 0 w 396389"/>
                <a:gd name="connsiteY2" fmla="*/ 14021 h 28042"/>
                <a:gd name="connsiteX3" fmla="*/ 14048 w 396389"/>
                <a:gd name="connsiteY3" fmla="*/ 28042 h 28042"/>
                <a:gd name="connsiteX4" fmla="*/ 382341 w 396389"/>
                <a:gd name="connsiteY4" fmla="*/ 28042 h 28042"/>
                <a:gd name="connsiteX5" fmla="*/ 396389 w 396389"/>
                <a:gd name="connsiteY5" fmla="*/ 14021 h 28042"/>
                <a:gd name="connsiteX6" fmla="*/ 382341 w 396389"/>
                <a:gd name="connsiteY6" fmla="*/ 0 h 28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6389" h="28042">
                  <a:moveTo>
                    <a:pt x="382341" y="0"/>
                  </a:moveTo>
                  <a:lnTo>
                    <a:pt x="14048" y="0"/>
                  </a:lnTo>
                  <a:cubicBezTo>
                    <a:pt x="6294" y="0"/>
                    <a:pt x="0" y="6281"/>
                    <a:pt x="0" y="14021"/>
                  </a:cubicBezTo>
                  <a:cubicBezTo>
                    <a:pt x="0" y="21761"/>
                    <a:pt x="6294" y="28042"/>
                    <a:pt x="14048" y="28042"/>
                  </a:cubicBezTo>
                  <a:lnTo>
                    <a:pt x="382341" y="28042"/>
                  </a:lnTo>
                  <a:cubicBezTo>
                    <a:pt x="390096" y="28042"/>
                    <a:pt x="396389" y="21761"/>
                    <a:pt x="396389" y="14021"/>
                  </a:cubicBezTo>
                  <a:cubicBezTo>
                    <a:pt x="396389" y="6281"/>
                    <a:pt x="390096" y="0"/>
                    <a:pt x="382341" y="0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2" name="Freeform 301">
              <a:extLst>
                <a:ext uri="{FF2B5EF4-FFF2-40B4-BE49-F238E27FC236}">
                  <a16:creationId xmlns:a16="http://schemas.microsoft.com/office/drawing/2014/main" id="{16FBBCA6-A7B5-254C-9E76-44A16B0A0E29}"/>
                </a:ext>
              </a:extLst>
            </p:cNvPr>
            <p:cNvSpPr/>
            <p:nvPr/>
          </p:nvSpPr>
          <p:spPr>
            <a:xfrm>
              <a:off x="8511123" y="4532107"/>
              <a:ext cx="190158" cy="28042"/>
            </a:xfrm>
            <a:custGeom>
              <a:avLst/>
              <a:gdLst>
                <a:gd name="connsiteX0" fmla="*/ 176110 w 190158"/>
                <a:gd name="connsiteY0" fmla="*/ 0 h 28042"/>
                <a:gd name="connsiteX1" fmla="*/ 14048 w 190158"/>
                <a:gd name="connsiteY1" fmla="*/ 0 h 28042"/>
                <a:gd name="connsiteX2" fmla="*/ 0 w 190158"/>
                <a:gd name="connsiteY2" fmla="*/ 14021 h 28042"/>
                <a:gd name="connsiteX3" fmla="*/ 14048 w 190158"/>
                <a:gd name="connsiteY3" fmla="*/ 28042 h 28042"/>
                <a:gd name="connsiteX4" fmla="*/ 176110 w 190158"/>
                <a:gd name="connsiteY4" fmla="*/ 28042 h 28042"/>
                <a:gd name="connsiteX5" fmla="*/ 190159 w 190158"/>
                <a:gd name="connsiteY5" fmla="*/ 14021 h 28042"/>
                <a:gd name="connsiteX6" fmla="*/ 176110 w 190158"/>
                <a:gd name="connsiteY6" fmla="*/ 0 h 28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0158" h="28042">
                  <a:moveTo>
                    <a:pt x="176110" y="0"/>
                  </a:moveTo>
                  <a:lnTo>
                    <a:pt x="14048" y="0"/>
                  </a:lnTo>
                  <a:cubicBezTo>
                    <a:pt x="6294" y="0"/>
                    <a:pt x="0" y="6281"/>
                    <a:pt x="0" y="14021"/>
                  </a:cubicBezTo>
                  <a:cubicBezTo>
                    <a:pt x="0" y="21761"/>
                    <a:pt x="6294" y="28042"/>
                    <a:pt x="14048" y="28042"/>
                  </a:cubicBezTo>
                  <a:lnTo>
                    <a:pt x="176110" y="28042"/>
                  </a:lnTo>
                  <a:cubicBezTo>
                    <a:pt x="183865" y="28042"/>
                    <a:pt x="190159" y="21761"/>
                    <a:pt x="190159" y="14021"/>
                  </a:cubicBezTo>
                  <a:cubicBezTo>
                    <a:pt x="190159" y="6281"/>
                    <a:pt x="183865" y="0"/>
                    <a:pt x="176110" y="0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3" name="Freeform 302">
              <a:extLst>
                <a:ext uri="{FF2B5EF4-FFF2-40B4-BE49-F238E27FC236}">
                  <a16:creationId xmlns:a16="http://schemas.microsoft.com/office/drawing/2014/main" id="{1BE277D0-DEE4-EE4F-9533-9B93F977EC87}"/>
                </a:ext>
              </a:extLst>
            </p:cNvPr>
            <p:cNvSpPr/>
            <p:nvPr/>
          </p:nvSpPr>
          <p:spPr>
            <a:xfrm>
              <a:off x="8304892" y="4532107"/>
              <a:ext cx="120141" cy="28042"/>
            </a:xfrm>
            <a:custGeom>
              <a:avLst/>
              <a:gdLst>
                <a:gd name="connsiteX0" fmla="*/ 14048 w 120141"/>
                <a:gd name="connsiteY0" fmla="*/ 0 h 28042"/>
                <a:gd name="connsiteX1" fmla="*/ 0 w 120141"/>
                <a:gd name="connsiteY1" fmla="*/ 14021 h 28042"/>
                <a:gd name="connsiteX2" fmla="*/ 14048 w 120141"/>
                <a:gd name="connsiteY2" fmla="*/ 28042 h 28042"/>
                <a:gd name="connsiteX3" fmla="*/ 106093 w 120141"/>
                <a:gd name="connsiteY3" fmla="*/ 28042 h 28042"/>
                <a:gd name="connsiteX4" fmla="*/ 120142 w 120141"/>
                <a:gd name="connsiteY4" fmla="*/ 14021 h 28042"/>
                <a:gd name="connsiteX5" fmla="*/ 106093 w 120141"/>
                <a:gd name="connsiteY5" fmla="*/ 0 h 28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0141" h="28042">
                  <a:moveTo>
                    <a:pt x="14048" y="0"/>
                  </a:moveTo>
                  <a:cubicBezTo>
                    <a:pt x="6294" y="0"/>
                    <a:pt x="0" y="6281"/>
                    <a:pt x="0" y="14021"/>
                  </a:cubicBezTo>
                  <a:cubicBezTo>
                    <a:pt x="0" y="21761"/>
                    <a:pt x="6294" y="28042"/>
                    <a:pt x="14048" y="28042"/>
                  </a:cubicBezTo>
                  <a:lnTo>
                    <a:pt x="106093" y="28042"/>
                  </a:lnTo>
                  <a:cubicBezTo>
                    <a:pt x="113848" y="28042"/>
                    <a:pt x="120142" y="21761"/>
                    <a:pt x="120142" y="14021"/>
                  </a:cubicBezTo>
                  <a:cubicBezTo>
                    <a:pt x="120142" y="6281"/>
                    <a:pt x="113848" y="0"/>
                    <a:pt x="106093" y="0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D3CF71A8-9CA1-C847-92F0-7070FB143F18}"/>
                </a:ext>
              </a:extLst>
            </p:cNvPr>
            <p:cNvGrpSpPr/>
            <p:nvPr/>
          </p:nvGrpSpPr>
          <p:grpSpPr>
            <a:xfrm>
              <a:off x="8294681" y="722771"/>
              <a:ext cx="860830" cy="611486"/>
              <a:chOff x="9455062" y="5080392"/>
              <a:chExt cx="860830" cy="611486"/>
            </a:xfrm>
          </p:grpSpPr>
          <p:sp>
            <p:nvSpPr>
              <p:cNvPr id="52" name="Freeform 51">
                <a:extLst>
                  <a:ext uri="{FF2B5EF4-FFF2-40B4-BE49-F238E27FC236}">
                    <a16:creationId xmlns:a16="http://schemas.microsoft.com/office/drawing/2014/main" id="{353AB085-E0A1-8E4A-904F-B3CD4F98FAE3}"/>
                  </a:ext>
                </a:extLst>
              </p:cNvPr>
              <p:cNvSpPr/>
              <p:nvPr/>
            </p:nvSpPr>
            <p:spPr>
              <a:xfrm>
                <a:off x="10205124" y="5612708"/>
                <a:ext cx="110188" cy="30215"/>
              </a:xfrm>
              <a:custGeom>
                <a:avLst/>
                <a:gdLst>
                  <a:gd name="connsiteX0" fmla="*/ 105428 w 110188"/>
                  <a:gd name="connsiteY0" fmla="*/ 715 h 30215"/>
                  <a:gd name="connsiteX1" fmla="*/ 98572 w 110188"/>
                  <a:gd name="connsiteY1" fmla="*/ 715 h 30215"/>
                  <a:gd name="connsiteX2" fmla="*/ 11472 w 110188"/>
                  <a:gd name="connsiteY2" fmla="*/ 6772 h 30215"/>
                  <a:gd name="connsiteX3" fmla="*/ 368 w 110188"/>
                  <a:gd name="connsiteY3" fmla="*/ 12953 h 30215"/>
                  <a:gd name="connsiteX4" fmla="*/ 234 w 110188"/>
                  <a:gd name="connsiteY4" fmla="*/ 13503 h 30215"/>
                  <a:gd name="connsiteX5" fmla="*/ 1357 w 110188"/>
                  <a:gd name="connsiteY5" fmla="*/ 20232 h 30215"/>
                  <a:gd name="connsiteX6" fmla="*/ 6977 w 110188"/>
                  <a:gd name="connsiteY6" fmla="*/ 24271 h 30215"/>
                  <a:gd name="connsiteX7" fmla="*/ 58562 w 110188"/>
                  <a:gd name="connsiteY7" fmla="*/ 30216 h 30215"/>
                  <a:gd name="connsiteX8" fmla="*/ 104079 w 110188"/>
                  <a:gd name="connsiteY8" fmla="*/ 17653 h 30215"/>
                  <a:gd name="connsiteX9" fmla="*/ 109743 w 110188"/>
                  <a:gd name="connsiteY9" fmla="*/ 6469 h 30215"/>
                  <a:gd name="connsiteX10" fmla="*/ 104978 w 110188"/>
                  <a:gd name="connsiteY10" fmla="*/ 1164 h 302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0188" h="30215">
                    <a:moveTo>
                      <a:pt x="105428" y="715"/>
                    </a:moveTo>
                    <a:cubicBezTo>
                      <a:pt x="103247" y="-238"/>
                      <a:pt x="100752" y="-238"/>
                      <a:pt x="98572" y="715"/>
                    </a:cubicBezTo>
                    <a:cubicBezTo>
                      <a:pt x="61147" y="13727"/>
                      <a:pt x="50358" y="15746"/>
                      <a:pt x="11472" y="6772"/>
                    </a:cubicBezTo>
                    <a:cubicBezTo>
                      <a:pt x="6696" y="5415"/>
                      <a:pt x="1728" y="8186"/>
                      <a:pt x="368" y="12953"/>
                    </a:cubicBezTo>
                    <a:cubicBezTo>
                      <a:pt x="323" y="13143"/>
                      <a:pt x="278" y="13323"/>
                      <a:pt x="234" y="13503"/>
                    </a:cubicBezTo>
                    <a:cubicBezTo>
                      <a:pt x="-306" y="15802"/>
                      <a:pt x="98" y="18225"/>
                      <a:pt x="1357" y="20232"/>
                    </a:cubicBezTo>
                    <a:cubicBezTo>
                      <a:pt x="2616" y="22274"/>
                      <a:pt x="4639" y="23732"/>
                      <a:pt x="6977" y="24271"/>
                    </a:cubicBezTo>
                    <a:cubicBezTo>
                      <a:pt x="23891" y="28174"/>
                      <a:pt x="41198" y="30171"/>
                      <a:pt x="58562" y="30216"/>
                    </a:cubicBezTo>
                    <a:cubicBezTo>
                      <a:pt x="83400" y="30216"/>
                      <a:pt x="79916" y="25953"/>
                      <a:pt x="104079" y="17653"/>
                    </a:cubicBezTo>
                    <a:cubicBezTo>
                      <a:pt x="108743" y="16127"/>
                      <a:pt x="111272" y="11124"/>
                      <a:pt x="109743" y="6469"/>
                    </a:cubicBezTo>
                    <a:cubicBezTo>
                      <a:pt x="108968" y="4114"/>
                      <a:pt x="107237" y="2185"/>
                      <a:pt x="104978" y="1164"/>
                    </a:cubicBezTo>
                    <a:close/>
                  </a:path>
                </a:pathLst>
              </a:custGeom>
              <a:solidFill>
                <a:srgbClr val="040407"/>
              </a:solidFill>
              <a:ln w="112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4" name="Freeform 303">
                <a:extLst>
                  <a:ext uri="{FF2B5EF4-FFF2-40B4-BE49-F238E27FC236}">
                    <a16:creationId xmlns:a16="http://schemas.microsoft.com/office/drawing/2014/main" id="{A6EE543C-7A08-0049-BE37-C42B887083A7}"/>
                  </a:ext>
                </a:extLst>
              </p:cNvPr>
              <p:cNvSpPr/>
              <p:nvPr/>
            </p:nvSpPr>
            <p:spPr>
              <a:xfrm>
                <a:off x="9904048" y="5446851"/>
                <a:ext cx="184090" cy="183734"/>
              </a:xfrm>
              <a:custGeom>
                <a:avLst/>
                <a:gdLst>
                  <a:gd name="connsiteX0" fmla="*/ 92045 w 184090"/>
                  <a:gd name="connsiteY0" fmla="*/ 0 h 183734"/>
                  <a:gd name="connsiteX1" fmla="*/ 0 w 184090"/>
                  <a:gd name="connsiteY1" fmla="*/ 91867 h 183734"/>
                  <a:gd name="connsiteX2" fmla="*/ 92045 w 184090"/>
                  <a:gd name="connsiteY2" fmla="*/ 183734 h 183734"/>
                  <a:gd name="connsiteX3" fmla="*/ 184090 w 184090"/>
                  <a:gd name="connsiteY3" fmla="*/ 92316 h 183734"/>
                  <a:gd name="connsiteX4" fmla="*/ 92269 w 184090"/>
                  <a:gd name="connsiteY4" fmla="*/ 0 h 183734"/>
                  <a:gd name="connsiteX5" fmla="*/ 92045 w 184090"/>
                  <a:gd name="connsiteY5" fmla="*/ 0 h 183734"/>
                  <a:gd name="connsiteX6" fmla="*/ 92045 w 184090"/>
                  <a:gd name="connsiteY6" fmla="*/ 165787 h 183734"/>
                  <a:gd name="connsiteX7" fmla="*/ 17982 w 184090"/>
                  <a:gd name="connsiteY7" fmla="*/ 91867 h 183734"/>
                  <a:gd name="connsiteX8" fmla="*/ 92045 w 184090"/>
                  <a:gd name="connsiteY8" fmla="*/ 17947 h 183734"/>
                  <a:gd name="connsiteX9" fmla="*/ 166108 w 184090"/>
                  <a:gd name="connsiteY9" fmla="*/ 91867 h 183734"/>
                  <a:gd name="connsiteX10" fmla="*/ 166108 w 184090"/>
                  <a:gd name="connsiteY10" fmla="*/ 92316 h 183734"/>
                  <a:gd name="connsiteX11" fmla="*/ 92045 w 184090"/>
                  <a:gd name="connsiteY11" fmla="*/ 165787 h 183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84090" h="183734">
                    <a:moveTo>
                      <a:pt x="92045" y="0"/>
                    </a:moveTo>
                    <a:cubicBezTo>
                      <a:pt x="41212" y="0"/>
                      <a:pt x="0" y="41133"/>
                      <a:pt x="0" y="91867"/>
                    </a:cubicBezTo>
                    <a:cubicBezTo>
                      <a:pt x="0" y="142601"/>
                      <a:pt x="41212" y="183734"/>
                      <a:pt x="92045" y="183734"/>
                    </a:cubicBezTo>
                    <a:cubicBezTo>
                      <a:pt x="142709" y="183734"/>
                      <a:pt x="183842" y="142882"/>
                      <a:pt x="184090" y="92316"/>
                    </a:cubicBezTo>
                    <a:cubicBezTo>
                      <a:pt x="184281" y="41514"/>
                      <a:pt x="143169" y="191"/>
                      <a:pt x="92269" y="0"/>
                    </a:cubicBezTo>
                    <a:cubicBezTo>
                      <a:pt x="92191" y="0"/>
                      <a:pt x="92123" y="0"/>
                      <a:pt x="92045" y="0"/>
                    </a:cubicBezTo>
                    <a:close/>
                    <a:moveTo>
                      <a:pt x="92045" y="165787"/>
                    </a:moveTo>
                    <a:cubicBezTo>
                      <a:pt x="51136" y="165787"/>
                      <a:pt x="17982" y="132686"/>
                      <a:pt x="17982" y="91867"/>
                    </a:cubicBezTo>
                    <a:cubicBezTo>
                      <a:pt x="17982" y="51037"/>
                      <a:pt x="51147" y="17947"/>
                      <a:pt x="92045" y="17947"/>
                    </a:cubicBezTo>
                    <a:cubicBezTo>
                      <a:pt x="132953" y="17947"/>
                      <a:pt x="166108" y="51049"/>
                      <a:pt x="166108" y="91867"/>
                    </a:cubicBezTo>
                    <a:cubicBezTo>
                      <a:pt x="166108" y="92013"/>
                      <a:pt x="166108" y="92170"/>
                      <a:pt x="166108" y="92316"/>
                    </a:cubicBezTo>
                    <a:cubicBezTo>
                      <a:pt x="165861" y="132966"/>
                      <a:pt x="132774" y="165787"/>
                      <a:pt x="92045" y="165787"/>
                    </a:cubicBezTo>
                    <a:close/>
                  </a:path>
                </a:pathLst>
              </a:custGeom>
              <a:solidFill>
                <a:srgbClr val="040407"/>
              </a:solidFill>
              <a:ln w="112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5" name="Freeform 304">
                <a:extLst>
                  <a:ext uri="{FF2B5EF4-FFF2-40B4-BE49-F238E27FC236}">
                    <a16:creationId xmlns:a16="http://schemas.microsoft.com/office/drawing/2014/main" id="{C290BDB4-06F6-494D-9431-0537982CF876}"/>
                  </a:ext>
                </a:extLst>
              </p:cNvPr>
              <p:cNvSpPr/>
              <p:nvPr/>
            </p:nvSpPr>
            <p:spPr>
              <a:xfrm>
                <a:off x="9842933" y="5385843"/>
                <a:ext cx="472959" cy="306035"/>
              </a:xfrm>
              <a:custGeom>
                <a:avLst/>
                <a:gdLst>
                  <a:gd name="connsiteX0" fmla="*/ 369954 w 472959"/>
                  <a:gd name="connsiteY0" fmla="*/ 108456 h 306035"/>
                  <a:gd name="connsiteX1" fmla="*/ 466720 w 472959"/>
                  <a:gd name="connsiteY1" fmla="*/ 101838 h 306035"/>
                  <a:gd name="connsiteX2" fmla="*/ 472226 w 472959"/>
                  <a:gd name="connsiteY2" fmla="*/ 90621 h 306035"/>
                  <a:gd name="connsiteX3" fmla="*/ 460988 w 472959"/>
                  <a:gd name="connsiteY3" fmla="*/ 85012 h 306035"/>
                  <a:gd name="connsiteX4" fmla="*/ 373888 w 472959"/>
                  <a:gd name="connsiteY4" fmla="*/ 91070 h 306035"/>
                  <a:gd name="connsiteX5" fmla="*/ 373102 w 472959"/>
                  <a:gd name="connsiteY5" fmla="*/ 91070 h 306035"/>
                  <a:gd name="connsiteX6" fmla="*/ 340509 w 472959"/>
                  <a:gd name="connsiteY6" fmla="*/ 80413 h 306035"/>
                  <a:gd name="connsiteX7" fmla="*/ 282068 w 472959"/>
                  <a:gd name="connsiteY7" fmla="*/ 69982 h 306035"/>
                  <a:gd name="connsiteX8" fmla="*/ 70117 w 472959"/>
                  <a:gd name="connsiteY8" fmla="*/ 24508 h 306035"/>
                  <a:gd name="connsiteX9" fmla="*/ 24556 w 472959"/>
                  <a:gd name="connsiteY9" fmla="*/ 236049 h 306035"/>
                  <a:gd name="connsiteX10" fmla="*/ 228684 w 472959"/>
                  <a:gd name="connsiteY10" fmla="*/ 286245 h 306035"/>
                  <a:gd name="connsiteX11" fmla="*/ 334890 w 472959"/>
                  <a:gd name="connsiteY11" fmla="*/ 286805 h 306035"/>
                  <a:gd name="connsiteX12" fmla="*/ 370179 w 472959"/>
                  <a:gd name="connsiteY12" fmla="*/ 298022 h 306035"/>
                  <a:gd name="connsiteX13" fmla="*/ 466945 w 472959"/>
                  <a:gd name="connsiteY13" fmla="*/ 291404 h 306035"/>
                  <a:gd name="connsiteX14" fmla="*/ 472451 w 472959"/>
                  <a:gd name="connsiteY14" fmla="*/ 279963 h 306035"/>
                  <a:gd name="connsiteX15" fmla="*/ 460988 w 472959"/>
                  <a:gd name="connsiteY15" fmla="*/ 274467 h 306035"/>
                  <a:gd name="connsiteX16" fmla="*/ 373102 w 472959"/>
                  <a:gd name="connsiteY16" fmla="*/ 280412 h 306035"/>
                  <a:gd name="connsiteX17" fmla="*/ 340509 w 472959"/>
                  <a:gd name="connsiteY17" fmla="*/ 269756 h 306035"/>
                  <a:gd name="connsiteX18" fmla="*/ 262737 w 472959"/>
                  <a:gd name="connsiteY18" fmla="*/ 260109 h 306035"/>
                  <a:gd name="connsiteX19" fmla="*/ 285215 w 472959"/>
                  <a:gd name="connsiteY19" fmla="*/ 229935 h 306035"/>
                  <a:gd name="connsiteX20" fmla="*/ 334215 w 472959"/>
                  <a:gd name="connsiteY20" fmla="*/ 239358 h 306035"/>
                  <a:gd name="connsiteX21" fmla="*/ 345836 w 472959"/>
                  <a:gd name="connsiteY21" fmla="*/ 234209 h 306035"/>
                  <a:gd name="connsiteX22" fmla="*/ 345454 w 472959"/>
                  <a:gd name="connsiteY22" fmla="*/ 226907 h 306035"/>
                  <a:gd name="connsiteX23" fmla="*/ 340284 w 472959"/>
                  <a:gd name="connsiteY23" fmla="*/ 222420 h 306035"/>
                  <a:gd name="connsiteX24" fmla="*/ 294206 w 472959"/>
                  <a:gd name="connsiteY24" fmla="*/ 212549 h 306035"/>
                  <a:gd name="connsiteX25" fmla="*/ 303084 w 472959"/>
                  <a:gd name="connsiteY25" fmla="*/ 184282 h 306035"/>
                  <a:gd name="connsiteX26" fmla="*/ 334552 w 472959"/>
                  <a:gd name="connsiteY26" fmla="*/ 192022 h 306035"/>
                  <a:gd name="connsiteX27" fmla="*/ 369842 w 472959"/>
                  <a:gd name="connsiteY27" fmla="*/ 203239 h 306035"/>
                  <a:gd name="connsiteX28" fmla="*/ 466607 w 472959"/>
                  <a:gd name="connsiteY28" fmla="*/ 196621 h 306035"/>
                  <a:gd name="connsiteX29" fmla="*/ 471665 w 472959"/>
                  <a:gd name="connsiteY29" fmla="*/ 192022 h 306035"/>
                  <a:gd name="connsiteX30" fmla="*/ 471665 w 472959"/>
                  <a:gd name="connsiteY30" fmla="*/ 185180 h 306035"/>
                  <a:gd name="connsiteX31" fmla="*/ 460426 w 472959"/>
                  <a:gd name="connsiteY31" fmla="*/ 179684 h 306035"/>
                  <a:gd name="connsiteX32" fmla="*/ 373326 w 472959"/>
                  <a:gd name="connsiteY32" fmla="*/ 185741 h 306035"/>
                  <a:gd name="connsiteX33" fmla="*/ 372539 w 472959"/>
                  <a:gd name="connsiteY33" fmla="*/ 185741 h 306035"/>
                  <a:gd name="connsiteX34" fmla="*/ 339947 w 472959"/>
                  <a:gd name="connsiteY34" fmla="*/ 174524 h 306035"/>
                  <a:gd name="connsiteX35" fmla="*/ 305557 w 472959"/>
                  <a:gd name="connsiteY35" fmla="*/ 166111 h 306035"/>
                  <a:gd name="connsiteX36" fmla="*/ 306119 w 472959"/>
                  <a:gd name="connsiteY36" fmla="*/ 152426 h 306035"/>
                  <a:gd name="connsiteX37" fmla="*/ 305332 w 472959"/>
                  <a:gd name="connsiteY37" fmla="*/ 136947 h 306035"/>
                  <a:gd name="connsiteX38" fmla="*/ 334215 w 472959"/>
                  <a:gd name="connsiteY38" fmla="*/ 144126 h 306035"/>
                  <a:gd name="connsiteX39" fmla="*/ 334215 w 472959"/>
                  <a:gd name="connsiteY39" fmla="*/ 144126 h 306035"/>
                  <a:gd name="connsiteX40" fmla="*/ 369505 w 472959"/>
                  <a:gd name="connsiteY40" fmla="*/ 155343 h 306035"/>
                  <a:gd name="connsiteX41" fmla="*/ 466270 w 472959"/>
                  <a:gd name="connsiteY41" fmla="*/ 148612 h 306035"/>
                  <a:gd name="connsiteX42" fmla="*/ 471777 w 472959"/>
                  <a:gd name="connsiteY42" fmla="*/ 137395 h 306035"/>
                  <a:gd name="connsiteX43" fmla="*/ 460538 w 472959"/>
                  <a:gd name="connsiteY43" fmla="*/ 131899 h 306035"/>
                  <a:gd name="connsiteX44" fmla="*/ 372652 w 472959"/>
                  <a:gd name="connsiteY44" fmla="*/ 137732 h 306035"/>
                  <a:gd name="connsiteX45" fmla="*/ 340060 w 472959"/>
                  <a:gd name="connsiteY45" fmla="*/ 126515 h 306035"/>
                  <a:gd name="connsiteX46" fmla="*/ 302410 w 472959"/>
                  <a:gd name="connsiteY46" fmla="*/ 117654 h 306035"/>
                  <a:gd name="connsiteX47" fmla="*/ 291958 w 472959"/>
                  <a:gd name="connsiteY47" fmla="*/ 87144 h 306035"/>
                  <a:gd name="connsiteX48" fmla="*/ 334440 w 472959"/>
                  <a:gd name="connsiteY48" fmla="*/ 96117 h 306035"/>
                  <a:gd name="connsiteX49" fmla="*/ 369954 w 472959"/>
                  <a:gd name="connsiteY49" fmla="*/ 108456 h 306035"/>
                  <a:gd name="connsiteX50" fmla="*/ 153160 w 472959"/>
                  <a:gd name="connsiteY50" fmla="*/ 283889 h 306035"/>
                  <a:gd name="connsiteX51" fmla="*/ 21779 w 472959"/>
                  <a:gd name="connsiteY51" fmla="*/ 152763 h 306035"/>
                  <a:gd name="connsiteX52" fmla="*/ 153160 w 472959"/>
                  <a:gd name="connsiteY52" fmla="*/ 21636 h 306035"/>
                  <a:gd name="connsiteX53" fmla="*/ 284541 w 472959"/>
                  <a:gd name="connsiteY53" fmla="*/ 152763 h 306035"/>
                  <a:gd name="connsiteX54" fmla="*/ 284541 w 472959"/>
                  <a:gd name="connsiteY54" fmla="*/ 153324 h 306035"/>
                  <a:gd name="connsiteX55" fmla="*/ 153160 w 472959"/>
                  <a:gd name="connsiteY55" fmla="*/ 284001 h 3060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472959" h="306035">
                    <a:moveTo>
                      <a:pt x="369954" y="108456"/>
                    </a:moveTo>
                    <a:cubicBezTo>
                      <a:pt x="412100" y="118214"/>
                      <a:pt x="426148" y="115971"/>
                      <a:pt x="466720" y="101838"/>
                    </a:cubicBezTo>
                    <a:cubicBezTo>
                      <a:pt x="471294" y="100200"/>
                      <a:pt x="473733" y="95231"/>
                      <a:pt x="472226" y="90621"/>
                    </a:cubicBezTo>
                    <a:cubicBezTo>
                      <a:pt x="470631" y="86010"/>
                      <a:pt x="465641" y="83520"/>
                      <a:pt x="460988" y="85012"/>
                    </a:cubicBezTo>
                    <a:cubicBezTo>
                      <a:pt x="423563" y="98024"/>
                      <a:pt x="412886" y="100043"/>
                      <a:pt x="373888" y="91070"/>
                    </a:cubicBezTo>
                    <a:lnTo>
                      <a:pt x="373102" y="91070"/>
                    </a:lnTo>
                    <a:cubicBezTo>
                      <a:pt x="368493" y="90397"/>
                      <a:pt x="343319" y="81310"/>
                      <a:pt x="340509" y="80413"/>
                    </a:cubicBezTo>
                    <a:cubicBezTo>
                      <a:pt x="321695" y="73908"/>
                      <a:pt x="301971" y="70385"/>
                      <a:pt x="282068" y="69982"/>
                    </a:cubicBezTo>
                    <a:cubicBezTo>
                      <a:pt x="236124" y="-988"/>
                      <a:pt x="141224" y="-21347"/>
                      <a:pt x="70117" y="24508"/>
                    </a:cubicBezTo>
                    <a:cubicBezTo>
                      <a:pt x="-990" y="70363"/>
                      <a:pt x="-21388" y="165079"/>
                      <a:pt x="24556" y="236049"/>
                    </a:cubicBezTo>
                    <a:cubicBezTo>
                      <a:pt x="68577" y="304046"/>
                      <a:pt x="158049" y="326054"/>
                      <a:pt x="228684" y="286245"/>
                    </a:cubicBezTo>
                    <a:cubicBezTo>
                      <a:pt x="263097" y="274254"/>
                      <a:pt x="300600" y="274444"/>
                      <a:pt x="334890" y="286805"/>
                    </a:cubicBezTo>
                    <a:cubicBezTo>
                      <a:pt x="337924" y="287927"/>
                      <a:pt x="363886" y="297237"/>
                      <a:pt x="370179" y="298022"/>
                    </a:cubicBezTo>
                    <a:cubicBezTo>
                      <a:pt x="412325" y="307781"/>
                      <a:pt x="426373" y="305538"/>
                      <a:pt x="466945" y="291404"/>
                    </a:cubicBezTo>
                    <a:cubicBezTo>
                      <a:pt x="471631" y="289767"/>
                      <a:pt x="474092" y="284641"/>
                      <a:pt x="472451" y="279963"/>
                    </a:cubicBezTo>
                    <a:cubicBezTo>
                      <a:pt x="470811" y="275286"/>
                      <a:pt x="465675" y="272829"/>
                      <a:pt x="460988" y="274467"/>
                    </a:cubicBezTo>
                    <a:cubicBezTo>
                      <a:pt x="423563" y="287478"/>
                      <a:pt x="412886" y="289498"/>
                      <a:pt x="373102" y="280412"/>
                    </a:cubicBezTo>
                    <a:cubicBezTo>
                      <a:pt x="368606" y="279739"/>
                      <a:pt x="343319" y="270653"/>
                      <a:pt x="340509" y="269756"/>
                    </a:cubicBezTo>
                    <a:cubicBezTo>
                      <a:pt x="315570" y="261040"/>
                      <a:pt x="289058" y="257742"/>
                      <a:pt x="262737" y="260109"/>
                    </a:cubicBezTo>
                    <a:cubicBezTo>
                      <a:pt x="271436" y="251001"/>
                      <a:pt x="278977" y="240872"/>
                      <a:pt x="285215" y="229935"/>
                    </a:cubicBezTo>
                    <a:cubicBezTo>
                      <a:pt x="301904" y="230777"/>
                      <a:pt x="318403" y="233951"/>
                      <a:pt x="334215" y="239358"/>
                    </a:cubicBezTo>
                    <a:cubicBezTo>
                      <a:pt x="338846" y="241141"/>
                      <a:pt x="344049" y="238830"/>
                      <a:pt x="345836" y="234209"/>
                    </a:cubicBezTo>
                    <a:cubicBezTo>
                      <a:pt x="346746" y="231831"/>
                      <a:pt x="346611" y="229173"/>
                      <a:pt x="345454" y="226907"/>
                    </a:cubicBezTo>
                    <a:cubicBezTo>
                      <a:pt x="344375" y="224809"/>
                      <a:pt x="342521" y="223194"/>
                      <a:pt x="340284" y="222420"/>
                    </a:cubicBezTo>
                    <a:cubicBezTo>
                      <a:pt x="325371" y="217316"/>
                      <a:pt x="309906" y="214007"/>
                      <a:pt x="294206" y="212549"/>
                    </a:cubicBezTo>
                    <a:cubicBezTo>
                      <a:pt x="298128" y="203452"/>
                      <a:pt x="301095" y="193985"/>
                      <a:pt x="303084" y="184282"/>
                    </a:cubicBezTo>
                    <a:cubicBezTo>
                      <a:pt x="313784" y="185909"/>
                      <a:pt x="324325" y="188500"/>
                      <a:pt x="334552" y="192022"/>
                    </a:cubicBezTo>
                    <a:cubicBezTo>
                      <a:pt x="337587" y="193032"/>
                      <a:pt x="363548" y="202342"/>
                      <a:pt x="369842" y="203239"/>
                    </a:cubicBezTo>
                    <a:cubicBezTo>
                      <a:pt x="411987" y="212886"/>
                      <a:pt x="426035" y="210642"/>
                      <a:pt x="466607" y="196621"/>
                    </a:cubicBezTo>
                    <a:cubicBezTo>
                      <a:pt x="468844" y="195825"/>
                      <a:pt x="470664" y="194164"/>
                      <a:pt x="471665" y="192022"/>
                    </a:cubicBezTo>
                    <a:cubicBezTo>
                      <a:pt x="472620" y="189846"/>
                      <a:pt x="472620" y="187356"/>
                      <a:pt x="471665" y="185180"/>
                    </a:cubicBezTo>
                    <a:cubicBezTo>
                      <a:pt x="470069" y="180581"/>
                      <a:pt x="465045" y="178124"/>
                      <a:pt x="460426" y="179684"/>
                    </a:cubicBezTo>
                    <a:cubicBezTo>
                      <a:pt x="422889" y="192695"/>
                      <a:pt x="412212" y="194714"/>
                      <a:pt x="373326" y="185741"/>
                    </a:cubicBezTo>
                    <a:lnTo>
                      <a:pt x="372539" y="185741"/>
                    </a:lnTo>
                    <a:cubicBezTo>
                      <a:pt x="368044" y="185067"/>
                      <a:pt x="342757" y="175870"/>
                      <a:pt x="339947" y="174524"/>
                    </a:cubicBezTo>
                    <a:cubicBezTo>
                      <a:pt x="328742" y="170755"/>
                      <a:pt x="317234" y="167939"/>
                      <a:pt x="305557" y="166111"/>
                    </a:cubicBezTo>
                    <a:cubicBezTo>
                      <a:pt x="305557" y="161624"/>
                      <a:pt x="306119" y="157025"/>
                      <a:pt x="306119" y="152426"/>
                    </a:cubicBezTo>
                    <a:cubicBezTo>
                      <a:pt x="306141" y="147255"/>
                      <a:pt x="305871" y="142084"/>
                      <a:pt x="305332" y="136947"/>
                    </a:cubicBezTo>
                    <a:cubicBezTo>
                      <a:pt x="315132" y="138573"/>
                      <a:pt x="324797" y="140974"/>
                      <a:pt x="334215" y="144126"/>
                    </a:cubicBezTo>
                    <a:lnTo>
                      <a:pt x="334215" y="144126"/>
                    </a:lnTo>
                    <a:cubicBezTo>
                      <a:pt x="336576" y="144911"/>
                      <a:pt x="362874" y="154557"/>
                      <a:pt x="369505" y="155343"/>
                    </a:cubicBezTo>
                    <a:cubicBezTo>
                      <a:pt x="411650" y="164989"/>
                      <a:pt x="425699" y="162746"/>
                      <a:pt x="466270" y="148612"/>
                    </a:cubicBezTo>
                    <a:cubicBezTo>
                      <a:pt x="470844" y="146975"/>
                      <a:pt x="473283" y="142006"/>
                      <a:pt x="471777" y="137395"/>
                    </a:cubicBezTo>
                    <a:cubicBezTo>
                      <a:pt x="470182" y="132797"/>
                      <a:pt x="465158" y="130340"/>
                      <a:pt x="460538" y="131899"/>
                    </a:cubicBezTo>
                    <a:cubicBezTo>
                      <a:pt x="423113" y="144799"/>
                      <a:pt x="412437" y="146930"/>
                      <a:pt x="372652" y="137732"/>
                    </a:cubicBezTo>
                    <a:cubicBezTo>
                      <a:pt x="368157" y="137059"/>
                      <a:pt x="342869" y="127973"/>
                      <a:pt x="340060" y="126515"/>
                    </a:cubicBezTo>
                    <a:cubicBezTo>
                      <a:pt x="327832" y="122320"/>
                      <a:pt x="315222" y="119347"/>
                      <a:pt x="302410" y="117654"/>
                    </a:cubicBezTo>
                    <a:cubicBezTo>
                      <a:pt x="299994" y="107155"/>
                      <a:pt x="296487" y="96924"/>
                      <a:pt x="291958" y="87144"/>
                    </a:cubicBezTo>
                    <a:cubicBezTo>
                      <a:pt x="306422" y="88467"/>
                      <a:pt x="320684" y="91484"/>
                      <a:pt x="334440" y="96117"/>
                    </a:cubicBezTo>
                    <a:cubicBezTo>
                      <a:pt x="337025" y="98024"/>
                      <a:pt x="363436" y="107558"/>
                      <a:pt x="369954" y="108456"/>
                    </a:cubicBezTo>
                    <a:close/>
                    <a:moveTo>
                      <a:pt x="153160" y="283889"/>
                    </a:moveTo>
                    <a:cubicBezTo>
                      <a:pt x="80603" y="283889"/>
                      <a:pt x="21779" y="225180"/>
                      <a:pt x="21779" y="152763"/>
                    </a:cubicBezTo>
                    <a:cubicBezTo>
                      <a:pt x="21779" y="80346"/>
                      <a:pt x="80603" y="21636"/>
                      <a:pt x="153160" y="21636"/>
                    </a:cubicBezTo>
                    <a:cubicBezTo>
                      <a:pt x="225728" y="21636"/>
                      <a:pt x="284541" y="80346"/>
                      <a:pt x="284541" y="152763"/>
                    </a:cubicBezTo>
                    <a:cubicBezTo>
                      <a:pt x="284541" y="152954"/>
                      <a:pt x="284541" y="153133"/>
                      <a:pt x="284541" y="153324"/>
                    </a:cubicBezTo>
                    <a:cubicBezTo>
                      <a:pt x="284226" y="225538"/>
                      <a:pt x="225515" y="283945"/>
                      <a:pt x="153160" y="284001"/>
                    </a:cubicBezTo>
                    <a:close/>
                  </a:path>
                </a:pathLst>
              </a:custGeom>
              <a:solidFill>
                <a:srgbClr val="040407"/>
              </a:solidFill>
              <a:ln w="112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6" name="Freeform 305">
                <a:extLst>
                  <a:ext uri="{FF2B5EF4-FFF2-40B4-BE49-F238E27FC236}">
                    <a16:creationId xmlns:a16="http://schemas.microsoft.com/office/drawing/2014/main" id="{EE3D6340-8BFC-2349-AB2B-103A148A2B35}"/>
                  </a:ext>
                </a:extLst>
              </p:cNvPr>
              <p:cNvSpPr/>
              <p:nvPr/>
            </p:nvSpPr>
            <p:spPr>
              <a:xfrm>
                <a:off x="9455062" y="5193796"/>
                <a:ext cx="539907" cy="382835"/>
              </a:xfrm>
              <a:custGeom>
                <a:avLst/>
                <a:gdLst>
                  <a:gd name="connsiteX0" fmla="*/ 0 w 539907"/>
                  <a:gd name="connsiteY0" fmla="*/ 42512 h 382835"/>
                  <a:gd name="connsiteX1" fmla="*/ 0 w 539907"/>
                  <a:gd name="connsiteY1" fmla="*/ 340323 h 382835"/>
                  <a:gd name="connsiteX2" fmla="*/ 42594 w 539907"/>
                  <a:gd name="connsiteY2" fmla="*/ 382835 h 382835"/>
                  <a:gd name="connsiteX3" fmla="*/ 359639 w 539907"/>
                  <a:gd name="connsiteY3" fmla="*/ 382835 h 382835"/>
                  <a:gd name="connsiteX4" fmla="*/ 356716 w 539907"/>
                  <a:gd name="connsiteY4" fmla="*/ 354456 h 382835"/>
                  <a:gd name="connsiteX5" fmla="*/ 42594 w 539907"/>
                  <a:gd name="connsiteY5" fmla="*/ 354456 h 382835"/>
                  <a:gd name="connsiteX6" fmla="*/ 28434 w 539907"/>
                  <a:gd name="connsiteY6" fmla="*/ 340547 h 382835"/>
                  <a:gd name="connsiteX7" fmla="*/ 28434 w 539907"/>
                  <a:gd name="connsiteY7" fmla="*/ 340323 h 382835"/>
                  <a:gd name="connsiteX8" fmla="*/ 28434 w 539907"/>
                  <a:gd name="connsiteY8" fmla="*/ 42512 h 382835"/>
                  <a:gd name="connsiteX9" fmla="*/ 42370 w 539907"/>
                  <a:gd name="connsiteY9" fmla="*/ 28379 h 382835"/>
                  <a:gd name="connsiteX10" fmla="*/ 42594 w 539907"/>
                  <a:gd name="connsiteY10" fmla="*/ 28379 h 382835"/>
                  <a:gd name="connsiteX11" fmla="*/ 497200 w 539907"/>
                  <a:gd name="connsiteY11" fmla="*/ 28379 h 382835"/>
                  <a:gd name="connsiteX12" fmla="*/ 511474 w 539907"/>
                  <a:gd name="connsiteY12" fmla="*/ 42400 h 382835"/>
                  <a:gd name="connsiteX13" fmla="*/ 511474 w 539907"/>
                  <a:gd name="connsiteY13" fmla="*/ 42512 h 382835"/>
                  <a:gd name="connsiteX14" fmla="*/ 511474 w 539907"/>
                  <a:gd name="connsiteY14" fmla="*/ 169601 h 382835"/>
                  <a:gd name="connsiteX15" fmla="*/ 539907 w 539907"/>
                  <a:gd name="connsiteY15" fmla="*/ 167133 h 382835"/>
                  <a:gd name="connsiteX16" fmla="*/ 539907 w 539907"/>
                  <a:gd name="connsiteY16" fmla="*/ 42512 h 382835"/>
                  <a:gd name="connsiteX17" fmla="*/ 497200 w 539907"/>
                  <a:gd name="connsiteY17" fmla="*/ 0 h 382835"/>
                  <a:gd name="connsiteX18" fmla="*/ 42594 w 539907"/>
                  <a:gd name="connsiteY18" fmla="*/ 0 h 382835"/>
                  <a:gd name="connsiteX19" fmla="*/ 0 w 539907"/>
                  <a:gd name="connsiteY19" fmla="*/ 42512 h 382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39907" h="382835">
                    <a:moveTo>
                      <a:pt x="0" y="42512"/>
                    </a:moveTo>
                    <a:lnTo>
                      <a:pt x="0" y="340323"/>
                    </a:lnTo>
                    <a:cubicBezTo>
                      <a:pt x="0" y="363800"/>
                      <a:pt x="19072" y="382835"/>
                      <a:pt x="42594" y="382835"/>
                    </a:cubicBezTo>
                    <a:lnTo>
                      <a:pt x="359639" y="382835"/>
                    </a:lnTo>
                    <a:cubicBezTo>
                      <a:pt x="357919" y="373469"/>
                      <a:pt x="356941" y="363980"/>
                      <a:pt x="356716" y="354456"/>
                    </a:cubicBezTo>
                    <a:lnTo>
                      <a:pt x="42594" y="354456"/>
                    </a:lnTo>
                    <a:cubicBezTo>
                      <a:pt x="34840" y="354524"/>
                      <a:pt x="28501" y="348287"/>
                      <a:pt x="28434" y="340547"/>
                    </a:cubicBezTo>
                    <a:cubicBezTo>
                      <a:pt x="28434" y="340469"/>
                      <a:pt x="28434" y="340402"/>
                      <a:pt x="28434" y="340323"/>
                    </a:cubicBezTo>
                    <a:lnTo>
                      <a:pt x="28434" y="42512"/>
                    </a:lnTo>
                    <a:cubicBezTo>
                      <a:pt x="28366" y="34773"/>
                      <a:pt x="34615" y="28446"/>
                      <a:pt x="42370" y="28379"/>
                    </a:cubicBezTo>
                    <a:cubicBezTo>
                      <a:pt x="42448" y="28379"/>
                      <a:pt x="42516" y="28379"/>
                      <a:pt x="42594" y="28379"/>
                    </a:cubicBezTo>
                    <a:lnTo>
                      <a:pt x="497200" y="28379"/>
                    </a:lnTo>
                    <a:cubicBezTo>
                      <a:pt x="505022" y="28312"/>
                      <a:pt x="511406" y="34593"/>
                      <a:pt x="511474" y="42400"/>
                    </a:cubicBezTo>
                    <a:cubicBezTo>
                      <a:pt x="511474" y="42434"/>
                      <a:pt x="511474" y="42479"/>
                      <a:pt x="511474" y="42512"/>
                    </a:cubicBezTo>
                    <a:lnTo>
                      <a:pt x="511474" y="169601"/>
                    </a:lnTo>
                    <a:cubicBezTo>
                      <a:pt x="520869" y="168030"/>
                      <a:pt x="530377" y="167212"/>
                      <a:pt x="539907" y="167133"/>
                    </a:cubicBezTo>
                    <a:lnTo>
                      <a:pt x="539907" y="42512"/>
                    </a:lnTo>
                    <a:cubicBezTo>
                      <a:pt x="539840" y="19013"/>
                      <a:pt x="520746" y="0"/>
                      <a:pt x="497200" y="0"/>
                    </a:cubicBezTo>
                    <a:lnTo>
                      <a:pt x="42594" y="0"/>
                    </a:lnTo>
                    <a:cubicBezTo>
                      <a:pt x="19072" y="0"/>
                      <a:pt x="0" y="19035"/>
                      <a:pt x="0" y="42512"/>
                    </a:cubicBezTo>
                    <a:close/>
                  </a:path>
                </a:pathLst>
              </a:custGeom>
              <a:solidFill>
                <a:srgbClr val="040407"/>
              </a:solidFill>
              <a:ln w="112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7" name="Freeform 306">
                <a:extLst>
                  <a:ext uri="{FF2B5EF4-FFF2-40B4-BE49-F238E27FC236}">
                    <a16:creationId xmlns:a16="http://schemas.microsoft.com/office/drawing/2014/main" id="{B29B393C-CE24-EF4B-B96E-DEC6F500370D}"/>
                  </a:ext>
                </a:extLst>
              </p:cNvPr>
              <p:cNvSpPr/>
              <p:nvPr/>
            </p:nvSpPr>
            <p:spPr>
              <a:xfrm>
                <a:off x="9511929" y="5137599"/>
                <a:ext cx="539794" cy="232976"/>
              </a:xfrm>
              <a:custGeom>
                <a:avLst/>
                <a:gdLst>
                  <a:gd name="connsiteX0" fmla="*/ 0 w 539794"/>
                  <a:gd name="connsiteY0" fmla="*/ 42624 h 232976"/>
                  <a:gd name="connsiteX1" fmla="*/ 28322 w 539794"/>
                  <a:gd name="connsiteY1" fmla="*/ 42624 h 232976"/>
                  <a:gd name="connsiteX2" fmla="*/ 42594 w 539794"/>
                  <a:gd name="connsiteY2" fmla="*/ 28379 h 232976"/>
                  <a:gd name="connsiteX3" fmla="*/ 497200 w 539794"/>
                  <a:gd name="connsiteY3" fmla="*/ 28379 h 232976"/>
                  <a:gd name="connsiteX4" fmla="*/ 511361 w 539794"/>
                  <a:gd name="connsiteY4" fmla="*/ 42512 h 232976"/>
                  <a:gd name="connsiteX5" fmla="*/ 511361 w 539794"/>
                  <a:gd name="connsiteY5" fmla="*/ 42624 h 232976"/>
                  <a:gd name="connsiteX6" fmla="*/ 511361 w 539794"/>
                  <a:gd name="connsiteY6" fmla="*/ 226246 h 232976"/>
                  <a:gd name="connsiteX7" fmla="*/ 539795 w 539794"/>
                  <a:gd name="connsiteY7" fmla="*/ 232976 h 232976"/>
                  <a:gd name="connsiteX8" fmla="*/ 539795 w 539794"/>
                  <a:gd name="connsiteY8" fmla="*/ 42624 h 232976"/>
                  <a:gd name="connsiteX9" fmla="*/ 497200 w 539794"/>
                  <a:gd name="connsiteY9" fmla="*/ 0 h 232976"/>
                  <a:gd name="connsiteX10" fmla="*/ 42594 w 539794"/>
                  <a:gd name="connsiteY10" fmla="*/ 0 h 232976"/>
                  <a:gd name="connsiteX11" fmla="*/ 0 w 539794"/>
                  <a:gd name="connsiteY11" fmla="*/ 42624 h 2329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39794" h="232976">
                    <a:moveTo>
                      <a:pt x="0" y="42624"/>
                    </a:moveTo>
                    <a:lnTo>
                      <a:pt x="28322" y="42624"/>
                    </a:lnTo>
                    <a:cubicBezTo>
                      <a:pt x="28322" y="34761"/>
                      <a:pt x="34716" y="28379"/>
                      <a:pt x="42594" y="28379"/>
                    </a:cubicBezTo>
                    <a:lnTo>
                      <a:pt x="497200" y="28379"/>
                    </a:lnTo>
                    <a:cubicBezTo>
                      <a:pt x="505022" y="28379"/>
                      <a:pt x="511361" y="34705"/>
                      <a:pt x="511361" y="42512"/>
                    </a:cubicBezTo>
                    <a:cubicBezTo>
                      <a:pt x="511361" y="42546"/>
                      <a:pt x="511361" y="42591"/>
                      <a:pt x="511361" y="42624"/>
                    </a:cubicBezTo>
                    <a:lnTo>
                      <a:pt x="511361" y="226246"/>
                    </a:lnTo>
                    <a:cubicBezTo>
                      <a:pt x="521004" y="227716"/>
                      <a:pt x="530512" y="229970"/>
                      <a:pt x="539795" y="232976"/>
                    </a:cubicBezTo>
                    <a:lnTo>
                      <a:pt x="539795" y="42624"/>
                    </a:lnTo>
                    <a:cubicBezTo>
                      <a:pt x="539795" y="19125"/>
                      <a:pt x="520746" y="67"/>
                      <a:pt x="497200" y="0"/>
                    </a:cubicBezTo>
                    <a:lnTo>
                      <a:pt x="42594" y="0"/>
                    </a:lnTo>
                    <a:cubicBezTo>
                      <a:pt x="19050" y="67"/>
                      <a:pt x="0" y="19125"/>
                      <a:pt x="0" y="42624"/>
                    </a:cubicBezTo>
                    <a:close/>
                  </a:path>
                </a:pathLst>
              </a:custGeom>
              <a:solidFill>
                <a:srgbClr val="040407"/>
              </a:solidFill>
              <a:ln w="112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8" name="Freeform 307">
                <a:extLst>
                  <a:ext uri="{FF2B5EF4-FFF2-40B4-BE49-F238E27FC236}">
                    <a16:creationId xmlns:a16="http://schemas.microsoft.com/office/drawing/2014/main" id="{17339528-A807-C144-9E9C-3DDDC897F9C3}"/>
                  </a:ext>
                </a:extLst>
              </p:cNvPr>
              <p:cNvSpPr/>
              <p:nvPr/>
            </p:nvSpPr>
            <p:spPr>
              <a:xfrm>
                <a:off x="9568685" y="5080392"/>
                <a:ext cx="539907" cy="320132"/>
              </a:xfrm>
              <a:custGeom>
                <a:avLst/>
                <a:gdLst>
                  <a:gd name="connsiteX0" fmla="*/ 539907 w 539907"/>
                  <a:gd name="connsiteY0" fmla="*/ 320132 h 320132"/>
                  <a:gd name="connsiteX1" fmla="*/ 539907 w 539907"/>
                  <a:gd name="connsiteY1" fmla="*/ 42512 h 320132"/>
                  <a:gd name="connsiteX2" fmla="*/ 497313 w 539907"/>
                  <a:gd name="connsiteY2" fmla="*/ 0 h 320132"/>
                  <a:gd name="connsiteX3" fmla="*/ 42594 w 539907"/>
                  <a:gd name="connsiteY3" fmla="*/ 0 h 320132"/>
                  <a:gd name="connsiteX4" fmla="*/ 0 w 539907"/>
                  <a:gd name="connsiteY4" fmla="*/ 42512 h 320132"/>
                  <a:gd name="connsiteX5" fmla="*/ 28434 w 539907"/>
                  <a:gd name="connsiteY5" fmla="*/ 42512 h 320132"/>
                  <a:gd name="connsiteX6" fmla="*/ 42594 w 539907"/>
                  <a:gd name="connsiteY6" fmla="*/ 28267 h 320132"/>
                  <a:gd name="connsiteX7" fmla="*/ 497313 w 539907"/>
                  <a:gd name="connsiteY7" fmla="*/ 28267 h 320132"/>
                  <a:gd name="connsiteX8" fmla="*/ 511474 w 539907"/>
                  <a:gd name="connsiteY8" fmla="*/ 42512 h 320132"/>
                  <a:gd name="connsiteX9" fmla="*/ 511474 w 539907"/>
                  <a:gd name="connsiteY9" fmla="*/ 301736 h 320132"/>
                  <a:gd name="connsiteX10" fmla="*/ 539907 w 539907"/>
                  <a:gd name="connsiteY10" fmla="*/ 320132 h 320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39907" h="320132">
                    <a:moveTo>
                      <a:pt x="539907" y="320132"/>
                    </a:moveTo>
                    <a:lnTo>
                      <a:pt x="539907" y="42512"/>
                    </a:lnTo>
                    <a:cubicBezTo>
                      <a:pt x="539907" y="19035"/>
                      <a:pt x="520836" y="0"/>
                      <a:pt x="497313" y="0"/>
                    </a:cubicBezTo>
                    <a:lnTo>
                      <a:pt x="42594" y="0"/>
                    </a:lnTo>
                    <a:cubicBezTo>
                      <a:pt x="19072" y="0"/>
                      <a:pt x="0" y="19035"/>
                      <a:pt x="0" y="42512"/>
                    </a:cubicBezTo>
                    <a:lnTo>
                      <a:pt x="28434" y="42512"/>
                    </a:lnTo>
                    <a:cubicBezTo>
                      <a:pt x="28434" y="34694"/>
                      <a:pt x="34762" y="28334"/>
                      <a:pt x="42594" y="28267"/>
                    </a:cubicBezTo>
                    <a:lnTo>
                      <a:pt x="497313" y="28267"/>
                    </a:lnTo>
                    <a:cubicBezTo>
                      <a:pt x="505157" y="28323"/>
                      <a:pt x="511474" y="34683"/>
                      <a:pt x="511474" y="42512"/>
                    </a:cubicBezTo>
                    <a:lnTo>
                      <a:pt x="511474" y="301736"/>
                    </a:lnTo>
                    <a:cubicBezTo>
                      <a:pt x="521498" y="306986"/>
                      <a:pt x="531018" y="313144"/>
                      <a:pt x="539907" y="320132"/>
                    </a:cubicBezTo>
                    <a:close/>
                  </a:path>
                </a:pathLst>
              </a:custGeom>
              <a:solidFill>
                <a:srgbClr val="040407"/>
              </a:solidFill>
              <a:ln w="112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9" name="Freeform 308">
                <a:extLst>
                  <a:ext uri="{FF2B5EF4-FFF2-40B4-BE49-F238E27FC236}">
                    <a16:creationId xmlns:a16="http://schemas.microsoft.com/office/drawing/2014/main" id="{B9AD1C5F-D758-A94E-AF6E-2033A56043F3}"/>
                  </a:ext>
                </a:extLst>
              </p:cNvPr>
              <p:cNvSpPr/>
              <p:nvPr/>
            </p:nvSpPr>
            <p:spPr>
              <a:xfrm>
                <a:off x="9501814" y="5240458"/>
                <a:ext cx="446289" cy="201683"/>
              </a:xfrm>
              <a:custGeom>
                <a:avLst/>
                <a:gdLst>
                  <a:gd name="connsiteX0" fmla="*/ 223201 w 446289"/>
                  <a:gd name="connsiteY0" fmla="*/ 201681 h 201683"/>
                  <a:gd name="connsiteX1" fmla="*/ 293555 w 446289"/>
                  <a:gd name="connsiteY1" fmla="*/ 172629 h 201683"/>
                  <a:gd name="connsiteX2" fmla="*/ 446289 w 446289"/>
                  <a:gd name="connsiteY2" fmla="*/ 20078 h 201683"/>
                  <a:gd name="connsiteX3" fmla="*/ 426284 w 446289"/>
                  <a:gd name="connsiteY3" fmla="*/ 0 h 201683"/>
                  <a:gd name="connsiteX4" fmla="*/ 273438 w 446289"/>
                  <a:gd name="connsiteY4" fmla="*/ 152887 h 201683"/>
                  <a:gd name="connsiteX5" fmla="*/ 172964 w 446289"/>
                  <a:gd name="connsiteY5" fmla="*/ 152887 h 201683"/>
                  <a:gd name="connsiteX6" fmla="*/ 20118 w 446289"/>
                  <a:gd name="connsiteY6" fmla="*/ 336 h 201683"/>
                  <a:gd name="connsiteX7" fmla="*/ 0 w 446289"/>
                  <a:gd name="connsiteY7" fmla="*/ 20415 h 201683"/>
                  <a:gd name="connsiteX8" fmla="*/ 152847 w 446289"/>
                  <a:gd name="connsiteY8" fmla="*/ 172966 h 201683"/>
                  <a:gd name="connsiteX9" fmla="*/ 223201 w 446289"/>
                  <a:gd name="connsiteY9" fmla="*/ 201681 h 201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46289" h="201683">
                    <a:moveTo>
                      <a:pt x="223201" y="201681"/>
                    </a:moveTo>
                    <a:cubicBezTo>
                      <a:pt x="249589" y="201726"/>
                      <a:pt x="274910" y="191272"/>
                      <a:pt x="293555" y="172629"/>
                    </a:cubicBezTo>
                    <a:lnTo>
                      <a:pt x="446289" y="20078"/>
                    </a:lnTo>
                    <a:lnTo>
                      <a:pt x="426284" y="0"/>
                    </a:lnTo>
                    <a:lnTo>
                      <a:pt x="273438" y="152887"/>
                    </a:lnTo>
                    <a:cubicBezTo>
                      <a:pt x="245667" y="180526"/>
                      <a:pt x="200735" y="180526"/>
                      <a:pt x="172964" y="152887"/>
                    </a:cubicBezTo>
                    <a:lnTo>
                      <a:pt x="20118" y="336"/>
                    </a:lnTo>
                    <a:lnTo>
                      <a:pt x="0" y="20415"/>
                    </a:lnTo>
                    <a:lnTo>
                      <a:pt x="152847" y="172966"/>
                    </a:lnTo>
                    <a:cubicBezTo>
                      <a:pt x="171525" y="191519"/>
                      <a:pt x="196846" y="201861"/>
                      <a:pt x="223201" y="201681"/>
                    </a:cubicBezTo>
                    <a:close/>
                  </a:path>
                </a:pathLst>
              </a:custGeom>
              <a:solidFill>
                <a:srgbClr val="040407"/>
              </a:solidFill>
              <a:ln w="112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0" name="Freeform 309">
                <a:extLst>
                  <a:ext uri="{FF2B5EF4-FFF2-40B4-BE49-F238E27FC236}">
                    <a16:creationId xmlns:a16="http://schemas.microsoft.com/office/drawing/2014/main" id="{DD8D80FA-C856-0140-B259-B41FEA78514E}"/>
                  </a:ext>
                </a:extLst>
              </p:cNvPr>
              <p:cNvSpPr/>
              <p:nvPr/>
            </p:nvSpPr>
            <p:spPr>
              <a:xfrm>
                <a:off x="9541483" y="5439072"/>
                <a:ext cx="133747" cy="133488"/>
              </a:xfrm>
              <a:custGeom>
                <a:avLst/>
                <a:gdLst>
                  <a:gd name="connsiteX0" fmla="*/ 0 w 133747"/>
                  <a:gd name="connsiteY0" fmla="*/ 113422 h 133488"/>
                  <a:gd name="connsiteX1" fmla="*/ 113642 w 133747"/>
                  <a:gd name="connsiteY1" fmla="*/ 0 h 133488"/>
                  <a:gd name="connsiteX2" fmla="*/ 133748 w 133747"/>
                  <a:gd name="connsiteY2" fmla="*/ 20067 h 133488"/>
                  <a:gd name="connsiteX3" fmla="*/ 20106 w 133747"/>
                  <a:gd name="connsiteY3" fmla="*/ 133489 h 133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3747" h="133488">
                    <a:moveTo>
                      <a:pt x="0" y="113422"/>
                    </a:moveTo>
                    <a:lnTo>
                      <a:pt x="113642" y="0"/>
                    </a:lnTo>
                    <a:lnTo>
                      <a:pt x="133748" y="20067"/>
                    </a:lnTo>
                    <a:lnTo>
                      <a:pt x="20106" y="133489"/>
                    </a:lnTo>
                    <a:close/>
                  </a:path>
                </a:pathLst>
              </a:custGeom>
              <a:solidFill>
                <a:srgbClr val="040407"/>
              </a:solidFill>
              <a:ln w="112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1" name="Freeform 310">
                <a:extLst>
                  <a:ext uri="{FF2B5EF4-FFF2-40B4-BE49-F238E27FC236}">
                    <a16:creationId xmlns:a16="http://schemas.microsoft.com/office/drawing/2014/main" id="{05829A33-0E49-564F-9C35-16D498E04902}"/>
                  </a:ext>
                </a:extLst>
              </p:cNvPr>
              <p:cNvSpPr/>
              <p:nvPr/>
            </p:nvSpPr>
            <p:spPr>
              <a:xfrm>
                <a:off x="9814363" y="5396486"/>
                <a:ext cx="44954" cy="47335"/>
              </a:xfrm>
              <a:custGeom>
                <a:avLst/>
                <a:gdLst>
                  <a:gd name="connsiteX0" fmla="*/ 44955 w 44954"/>
                  <a:gd name="connsiteY0" fmla="*/ 24789 h 47335"/>
                  <a:gd name="connsiteX1" fmla="*/ 20118 w 44954"/>
                  <a:gd name="connsiteY1" fmla="*/ 0 h 47335"/>
                  <a:gd name="connsiteX2" fmla="*/ 0 w 44954"/>
                  <a:gd name="connsiteY2" fmla="*/ 20078 h 47335"/>
                  <a:gd name="connsiteX3" fmla="*/ 27647 w 44954"/>
                  <a:gd name="connsiteY3" fmla="*/ 47336 h 47335"/>
                  <a:gd name="connsiteX4" fmla="*/ 44955 w 44954"/>
                  <a:gd name="connsiteY4" fmla="*/ 24789 h 47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954" h="47335">
                    <a:moveTo>
                      <a:pt x="44955" y="24789"/>
                    </a:moveTo>
                    <a:lnTo>
                      <a:pt x="20118" y="0"/>
                    </a:lnTo>
                    <a:lnTo>
                      <a:pt x="0" y="20078"/>
                    </a:lnTo>
                    <a:lnTo>
                      <a:pt x="27647" y="47336"/>
                    </a:lnTo>
                    <a:cubicBezTo>
                      <a:pt x="32818" y="39383"/>
                      <a:pt x="38605" y="31845"/>
                      <a:pt x="44955" y="24789"/>
                    </a:cubicBezTo>
                    <a:close/>
                  </a:path>
                </a:pathLst>
              </a:custGeom>
              <a:solidFill>
                <a:srgbClr val="040407"/>
              </a:solidFill>
              <a:ln w="112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312" name="Freeform 311">
              <a:extLst>
                <a:ext uri="{FF2B5EF4-FFF2-40B4-BE49-F238E27FC236}">
                  <a16:creationId xmlns:a16="http://schemas.microsoft.com/office/drawing/2014/main" id="{F6EFB236-1360-FC49-B687-45BB12DFD45A}"/>
                </a:ext>
              </a:extLst>
            </p:cNvPr>
            <p:cNvSpPr/>
            <p:nvPr/>
          </p:nvSpPr>
          <p:spPr>
            <a:xfrm>
              <a:off x="9984308" y="2095777"/>
              <a:ext cx="544178" cy="543582"/>
            </a:xfrm>
            <a:custGeom>
              <a:avLst/>
              <a:gdLst>
                <a:gd name="connsiteX0" fmla="*/ 338510 w 544178"/>
                <a:gd name="connsiteY0" fmla="*/ 23227 h 543582"/>
                <a:gd name="connsiteX1" fmla="*/ 205668 w 544178"/>
                <a:gd name="connsiteY1" fmla="*/ 23227 h 543582"/>
                <a:gd name="connsiteX2" fmla="*/ 118793 w 544178"/>
                <a:gd name="connsiteY2" fmla="*/ 96362 h 543582"/>
                <a:gd name="connsiteX3" fmla="*/ 118793 w 544178"/>
                <a:gd name="connsiteY3" fmla="*/ 96362 h 543582"/>
                <a:gd name="connsiteX4" fmla="*/ 64061 w 544178"/>
                <a:gd name="connsiteY4" fmla="*/ 142352 h 543582"/>
                <a:gd name="connsiteX5" fmla="*/ 64061 w 544178"/>
                <a:gd name="connsiteY5" fmla="*/ 142352 h 543582"/>
                <a:gd name="connsiteX6" fmla="*/ 33154 w 544178"/>
                <a:gd name="connsiteY6" fmla="*/ 169048 h 543582"/>
                <a:gd name="connsiteX7" fmla="*/ 16634 w 544178"/>
                <a:gd name="connsiteY7" fmla="*/ 182845 h 543582"/>
                <a:gd name="connsiteX8" fmla="*/ 16634 w 544178"/>
                <a:gd name="connsiteY8" fmla="*/ 182845 h 543582"/>
                <a:gd name="connsiteX9" fmla="*/ 0 w 544178"/>
                <a:gd name="connsiteY9" fmla="*/ 218403 h 543582"/>
                <a:gd name="connsiteX10" fmla="*/ 0 w 544178"/>
                <a:gd name="connsiteY10" fmla="*/ 507576 h 543582"/>
                <a:gd name="connsiteX11" fmla="*/ 36076 w 544178"/>
                <a:gd name="connsiteY11" fmla="*/ 543583 h 543582"/>
                <a:gd name="connsiteX12" fmla="*/ 508102 w 544178"/>
                <a:gd name="connsiteY12" fmla="*/ 543583 h 543582"/>
                <a:gd name="connsiteX13" fmla="*/ 544178 w 544178"/>
                <a:gd name="connsiteY13" fmla="*/ 507576 h 543582"/>
                <a:gd name="connsiteX14" fmla="*/ 544178 w 544178"/>
                <a:gd name="connsiteY14" fmla="*/ 218178 h 543582"/>
                <a:gd name="connsiteX15" fmla="*/ 528444 w 544178"/>
                <a:gd name="connsiteY15" fmla="*/ 183518 h 543582"/>
                <a:gd name="connsiteX16" fmla="*/ 404818 w 544178"/>
                <a:gd name="connsiteY16" fmla="*/ 79425 h 543582"/>
                <a:gd name="connsiteX17" fmla="*/ 29109 w 544178"/>
                <a:gd name="connsiteY17" fmla="*/ 493331 h 543582"/>
                <a:gd name="connsiteX18" fmla="*/ 29109 w 544178"/>
                <a:gd name="connsiteY18" fmla="*/ 231975 h 543582"/>
                <a:gd name="connsiteX19" fmla="*/ 184090 w 544178"/>
                <a:gd name="connsiteY19" fmla="*/ 362765 h 543582"/>
                <a:gd name="connsiteX20" fmla="*/ 49675 w 544178"/>
                <a:gd name="connsiteY20" fmla="*/ 514082 h 543582"/>
                <a:gd name="connsiteX21" fmla="*/ 224437 w 544178"/>
                <a:gd name="connsiteY21" fmla="*/ 366916 h 543582"/>
                <a:gd name="connsiteX22" fmla="*/ 272089 w 544178"/>
                <a:gd name="connsiteY22" fmla="*/ 350427 h 543582"/>
                <a:gd name="connsiteX23" fmla="*/ 319741 w 544178"/>
                <a:gd name="connsiteY23" fmla="*/ 366803 h 543582"/>
                <a:gd name="connsiteX24" fmla="*/ 494503 w 544178"/>
                <a:gd name="connsiteY24" fmla="*/ 514082 h 543582"/>
                <a:gd name="connsiteX25" fmla="*/ 514958 w 544178"/>
                <a:gd name="connsiteY25" fmla="*/ 493331 h 543582"/>
                <a:gd name="connsiteX26" fmla="*/ 359976 w 544178"/>
                <a:gd name="connsiteY26" fmla="*/ 362653 h 543582"/>
                <a:gd name="connsiteX27" fmla="*/ 514958 w 544178"/>
                <a:gd name="connsiteY27" fmla="*/ 231863 h 543582"/>
                <a:gd name="connsiteX28" fmla="*/ 450673 w 544178"/>
                <a:gd name="connsiteY28" fmla="*/ 155812 h 543582"/>
                <a:gd name="connsiteX29" fmla="*/ 479893 w 544178"/>
                <a:gd name="connsiteY29" fmla="*/ 180265 h 543582"/>
                <a:gd name="connsiteX30" fmla="*/ 479893 w 544178"/>
                <a:gd name="connsiteY30" fmla="*/ 180265 h 543582"/>
                <a:gd name="connsiteX31" fmla="*/ 505405 w 544178"/>
                <a:gd name="connsiteY31" fmla="*/ 201802 h 543582"/>
                <a:gd name="connsiteX32" fmla="*/ 479893 w 544178"/>
                <a:gd name="connsiteY32" fmla="*/ 223562 h 543582"/>
                <a:gd name="connsiteX33" fmla="*/ 479893 w 544178"/>
                <a:gd name="connsiteY33" fmla="*/ 223562 h 543582"/>
                <a:gd name="connsiteX34" fmla="*/ 450784 w 544178"/>
                <a:gd name="connsiteY34" fmla="*/ 248240 h 543582"/>
                <a:gd name="connsiteX35" fmla="*/ 450784 w 544178"/>
                <a:gd name="connsiteY35" fmla="*/ 248240 h 543582"/>
                <a:gd name="connsiteX36" fmla="*/ 363909 w 544178"/>
                <a:gd name="connsiteY36" fmla="*/ 321599 h 543582"/>
                <a:gd name="connsiteX37" fmla="*/ 337499 w 544178"/>
                <a:gd name="connsiteY37" fmla="*/ 344033 h 543582"/>
                <a:gd name="connsiteX38" fmla="*/ 337499 w 544178"/>
                <a:gd name="connsiteY38" fmla="*/ 344033 h 543582"/>
                <a:gd name="connsiteX39" fmla="*/ 207017 w 544178"/>
                <a:gd name="connsiteY39" fmla="*/ 344033 h 543582"/>
                <a:gd name="connsiteX40" fmla="*/ 207017 w 544178"/>
                <a:gd name="connsiteY40" fmla="*/ 344033 h 543582"/>
                <a:gd name="connsiteX41" fmla="*/ 38886 w 544178"/>
                <a:gd name="connsiteY41" fmla="*/ 202699 h 543582"/>
                <a:gd name="connsiteX42" fmla="*/ 38886 w 544178"/>
                <a:gd name="connsiteY42" fmla="*/ 202699 h 543582"/>
                <a:gd name="connsiteX43" fmla="*/ 64061 w 544178"/>
                <a:gd name="connsiteY43" fmla="*/ 180265 h 543582"/>
                <a:gd name="connsiteX44" fmla="*/ 64061 w 544178"/>
                <a:gd name="connsiteY44" fmla="*/ 180265 h 543582"/>
                <a:gd name="connsiteX45" fmla="*/ 93281 w 544178"/>
                <a:gd name="connsiteY45" fmla="*/ 155588 h 543582"/>
                <a:gd name="connsiteX46" fmla="*/ 129245 w 544178"/>
                <a:gd name="connsiteY46" fmla="*/ 125302 h 543582"/>
                <a:gd name="connsiteX47" fmla="*/ 194430 w 544178"/>
                <a:gd name="connsiteY47" fmla="*/ 70339 h 543582"/>
                <a:gd name="connsiteX48" fmla="*/ 194430 w 544178"/>
                <a:gd name="connsiteY48" fmla="*/ 70339 h 543582"/>
                <a:gd name="connsiteX49" fmla="*/ 224100 w 544178"/>
                <a:gd name="connsiteY49" fmla="*/ 45325 h 543582"/>
                <a:gd name="connsiteX50" fmla="*/ 319404 w 544178"/>
                <a:gd name="connsiteY50" fmla="*/ 45325 h 543582"/>
                <a:gd name="connsiteX51" fmla="*/ 376497 w 544178"/>
                <a:gd name="connsiteY51" fmla="*/ 93446 h 543582"/>
                <a:gd name="connsiteX52" fmla="*/ 376497 w 544178"/>
                <a:gd name="connsiteY52" fmla="*/ 93446 h 543582"/>
                <a:gd name="connsiteX53" fmla="*/ 414259 w 544178"/>
                <a:gd name="connsiteY53" fmla="*/ 125302 h 543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544178" h="543582">
                  <a:moveTo>
                    <a:pt x="338510" y="23227"/>
                  </a:moveTo>
                  <a:cubicBezTo>
                    <a:pt x="299669" y="-7742"/>
                    <a:pt x="244510" y="-7742"/>
                    <a:pt x="205668" y="23227"/>
                  </a:cubicBezTo>
                  <a:lnTo>
                    <a:pt x="118793" y="96362"/>
                  </a:lnTo>
                  <a:lnTo>
                    <a:pt x="118793" y="96362"/>
                  </a:lnTo>
                  <a:lnTo>
                    <a:pt x="64061" y="142352"/>
                  </a:lnTo>
                  <a:lnTo>
                    <a:pt x="64061" y="142352"/>
                  </a:lnTo>
                  <a:lnTo>
                    <a:pt x="33154" y="169048"/>
                  </a:lnTo>
                  <a:lnTo>
                    <a:pt x="16634" y="182845"/>
                  </a:lnTo>
                  <a:lnTo>
                    <a:pt x="16634" y="182845"/>
                  </a:lnTo>
                  <a:cubicBezTo>
                    <a:pt x="6125" y="191684"/>
                    <a:pt x="34" y="204684"/>
                    <a:pt x="0" y="218403"/>
                  </a:cubicBezTo>
                  <a:lnTo>
                    <a:pt x="0" y="507576"/>
                  </a:lnTo>
                  <a:cubicBezTo>
                    <a:pt x="0" y="527464"/>
                    <a:pt x="16150" y="543583"/>
                    <a:pt x="36076" y="543583"/>
                  </a:cubicBezTo>
                  <a:lnTo>
                    <a:pt x="508102" y="543583"/>
                  </a:lnTo>
                  <a:cubicBezTo>
                    <a:pt x="528029" y="543583"/>
                    <a:pt x="544178" y="527464"/>
                    <a:pt x="544178" y="507576"/>
                  </a:cubicBezTo>
                  <a:lnTo>
                    <a:pt x="544178" y="218178"/>
                  </a:lnTo>
                  <a:cubicBezTo>
                    <a:pt x="544212" y="204898"/>
                    <a:pt x="538469" y="192256"/>
                    <a:pt x="528444" y="183518"/>
                  </a:cubicBezTo>
                  <a:lnTo>
                    <a:pt x="404818" y="79425"/>
                  </a:lnTo>
                  <a:close/>
                  <a:moveTo>
                    <a:pt x="29109" y="493331"/>
                  </a:moveTo>
                  <a:lnTo>
                    <a:pt x="29109" y="231975"/>
                  </a:lnTo>
                  <a:lnTo>
                    <a:pt x="184090" y="362765"/>
                  </a:lnTo>
                  <a:close/>
                  <a:moveTo>
                    <a:pt x="49675" y="514082"/>
                  </a:moveTo>
                  <a:lnTo>
                    <a:pt x="224437" y="366916"/>
                  </a:lnTo>
                  <a:cubicBezTo>
                    <a:pt x="237868" y="355968"/>
                    <a:pt x="254748" y="350124"/>
                    <a:pt x="272089" y="350427"/>
                  </a:cubicBezTo>
                  <a:cubicBezTo>
                    <a:pt x="289408" y="350157"/>
                    <a:pt x="306266" y="355956"/>
                    <a:pt x="319741" y="366803"/>
                  </a:cubicBezTo>
                  <a:cubicBezTo>
                    <a:pt x="321202" y="368149"/>
                    <a:pt x="451009" y="477515"/>
                    <a:pt x="494503" y="514082"/>
                  </a:cubicBezTo>
                  <a:close/>
                  <a:moveTo>
                    <a:pt x="514958" y="493331"/>
                  </a:moveTo>
                  <a:lnTo>
                    <a:pt x="359976" y="362653"/>
                  </a:lnTo>
                  <a:lnTo>
                    <a:pt x="514958" y="231863"/>
                  </a:lnTo>
                  <a:close/>
                  <a:moveTo>
                    <a:pt x="450673" y="155812"/>
                  </a:moveTo>
                  <a:lnTo>
                    <a:pt x="479893" y="180265"/>
                  </a:lnTo>
                  <a:lnTo>
                    <a:pt x="479893" y="180265"/>
                  </a:lnTo>
                  <a:lnTo>
                    <a:pt x="505405" y="201802"/>
                  </a:lnTo>
                  <a:lnTo>
                    <a:pt x="479893" y="223562"/>
                  </a:lnTo>
                  <a:lnTo>
                    <a:pt x="479893" y="223562"/>
                  </a:lnTo>
                  <a:lnTo>
                    <a:pt x="450784" y="248240"/>
                  </a:lnTo>
                  <a:lnTo>
                    <a:pt x="450784" y="248240"/>
                  </a:lnTo>
                  <a:lnTo>
                    <a:pt x="363909" y="321599"/>
                  </a:lnTo>
                  <a:lnTo>
                    <a:pt x="337499" y="344033"/>
                  </a:lnTo>
                  <a:lnTo>
                    <a:pt x="337499" y="344033"/>
                  </a:lnTo>
                  <a:cubicBezTo>
                    <a:pt x="299174" y="314106"/>
                    <a:pt x="245341" y="314106"/>
                    <a:pt x="207017" y="344033"/>
                  </a:cubicBezTo>
                  <a:lnTo>
                    <a:pt x="207017" y="344033"/>
                  </a:lnTo>
                  <a:lnTo>
                    <a:pt x="38886" y="202699"/>
                  </a:lnTo>
                  <a:lnTo>
                    <a:pt x="38886" y="202699"/>
                  </a:lnTo>
                  <a:lnTo>
                    <a:pt x="64061" y="180265"/>
                  </a:lnTo>
                  <a:lnTo>
                    <a:pt x="64061" y="180265"/>
                  </a:lnTo>
                  <a:lnTo>
                    <a:pt x="93281" y="155588"/>
                  </a:lnTo>
                  <a:lnTo>
                    <a:pt x="129245" y="125302"/>
                  </a:lnTo>
                  <a:lnTo>
                    <a:pt x="194430" y="70339"/>
                  </a:lnTo>
                  <a:lnTo>
                    <a:pt x="194430" y="70339"/>
                  </a:lnTo>
                  <a:lnTo>
                    <a:pt x="224100" y="45325"/>
                  </a:lnTo>
                  <a:cubicBezTo>
                    <a:pt x="252107" y="23508"/>
                    <a:pt x="291398" y="23508"/>
                    <a:pt x="319404" y="45325"/>
                  </a:cubicBezTo>
                  <a:lnTo>
                    <a:pt x="376497" y="93446"/>
                  </a:lnTo>
                  <a:lnTo>
                    <a:pt x="376497" y="93446"/>
                  </a:lnTo>
                  <a:lnTo>
                    <a:pt x="414259" y="125302"/>
                  </a:ln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3" name="Freeform 312">
              <a:extLst>
                <a:ext uri="{FF2B5EF4-FFF2-40B4-BE49-F238E27FC236}">
                  <a16:creationId xmlns:a16="http://schemas.microsoft.com/office/drawing/2014/main" id="{3810553C-1372-8143-A8C5-17BDAC542C37}"/>
                </a:ext>
              </a:extLst>
            </p:cNvPr>
            <p:cNvSpPr/>
            <p:nvPr/>
          </p:nvSpPr>
          <p:spPr>
            <a:xfrm>
              <a:off x="9925080" y="2315301"/>
              <a:ext cx="539907" cy="382835"/>
            </a:xfrm>
            <a:custGeom>
              <a:avLst/>
              <a:gdLst>
                <a:gd name="connsiteX0" fmla="*/ 539907 w 539907"/>
                <a:gd name="connsiteY0" fmla="*/ 340323 h 382835"/>
                <a:gd name="connsiteX1" fmla="*/ 511473 w 539907"/>
                <a:gd name="connsiteY1" fmla="*/ 340323 h 382835"/>
                <a:gd name="connsiteX2" fmla="*/ 497537 w 539907"/>
                <a:gd name="connsiteY2" fmla="*/ 354456 h 382835"/>
                <a:gd name="connsiteX3" fmla="*/ 497313 w 539907"/>
                <a:gd name="connsiteY3" fmla="*/ 354456 h 382835"/>
                <a:gd name="connsiteX4" fmla="*/ 42707 w 539907"/>
                <a:gd name="connsiteY4" fmla="*/ 354456 h 382835"/>
                <a:gd name="connsiteX5" fmla="*/ 28434 w 539907"/>
                <a:gd name="connsiteY5" fmla="*/ 340435 h 382835"/>
                <a:gd name="connsiteX6" fmla="*/ 28434 w 539907"/>
                <a:gd name="connsiteY6" fmla="*/ 340323 h 382835"/>
                <a:gd name="connsiteX7" fmla="*/ 28434 w 539907"/>
                <a:gd name="connsiteY7" fmla="*/ 42512 h 382835"/>
                <a:gd name="connsiteX8" fmla="*/ 42594 w 539907"/>
                <a:gd name="connsiteY8" fmla="*/ 28379 h 382835"/>
                <a:gd name="connsiteX9" fmla="*/ 42707 w 539907"/>
                <a:gd name="connsiteY9" fmla="*/ 28379 h 382835"/>
                <a:gd name="connsiteX10" fmla="*/ 42707 w 539907"/>
                <a:gd name="connsiteY10" fmla="*/ 0 h 382835"/>
                <a:gd name="connsiteX11" fmla="*/ 0 w 539907"/>
                <a:gd name="connsiteY11" fmla="*/ 42512 h 382835"/>
                <a:gd name="connsiteX12" fmla="*/ 0 w 539907"/>
                <a:gd name="connsiteY12" fmla="*/ 340323 h 382835"/>
                <a:gd name="connsiteX13" fmla="*/ 42707 w 539907"/>
                <a:gd name="connsiteY13" fmla="*/ 382835 h 382835"/>
                <a:gd name="connsiteX14" fmla="*/ 497313 w 539907"/>
                <a:gd name="connsiteY14" fmla="*/ 382835 h 382835"/>
                <a:gd name="connsiteX15" fmla="*/ 539907 w 539907"/>
                <a:gd name="connsiteY15" fmla="*/ 340323 h 382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39907" h="382835">
                  <a:moveTo>
                    <a:pt x="539907" y="340323"/>
                  </a:moveTo>
                  <a:lnTo>
                    <a:pt x="511473" y="340323"/>
                  </a:lnTo>
                  <a:cubicBezTo>
                    <a:pt x="511541" y="348063"/>
                    <a:pt x="505292" y="354389"/>
                    <a:pt x="497537" y="354456"/>
                  </a:cubicBezTo>
                  <a:cubicBezTo>
                    <a:pt x="497459" y="354456"/>
                    <a:pt x="497391" y="354456"/>
                    <a:pt x="497313" y="354456"/>
                  </a:cubicBezTo>
                  <a:lnTo>
                    <a:pt x="42707" y="354456"/>
                  </a:lnTo>
                  <a:cubicBezTo>
                    <a:pt x="34884" y="354523"/>
                    <a:pt x="28501" y="348242"/>
                    <a:pt x="28434" y="340435"/>
                  </a:cubicBezTo>
                  <a:cubicBezTo>
                    <a:pt x="28434" y="340401"/>
                    <a:pt x="28434" y="340356"/>
                    <a:pt x="28434" y="340323"/>
                  </a:cubicBezTo>
                  <a:lnTo>
                    <a:pt x="28434" y="42512"/>
                  </a:lnTo>
                  <a:cubicBezTo>
                    <a:pt x="28434" y="34705"/>
                    <a:pt x="34772" y="28379"/>
                    <a:pt x="42594" y="28379"/>
                  </a:cubicBezTo>
                  <a:cubicBezTo>
                    <a:pt x="42628" y="28379"/>
                    <a:pt x="42673" y="28379"/>
                    <a:pt x="42707" y="28379"/>
                  </a:cubicBezTo>
                  <a:lnTo>
                    <a:pt x="42707" y="0"/>
                  </a:lnTo>
                  <a:cubicBezTo>
                    <a:pt x="19162" y="0"/>
                    <a:pt x="67" y="19013"/>
                    <a:pt x="0" y="42512"/>
                  </a:cubicBezTo>
                  <a:lnTo>
                    <a:pt x="0" y="340323"/>
                  </a:lnTo>
                  <a:cubicBezTo>
                    <a:pt x="67" y="363822"/>
                    <a:pt x="19162" y="382835"/>
                    <a:pt x="42707" y="382835"/>
                  </a:cubicBezTo>
                  <a:lnTo>
                    <a:pt x="497313" y="382835"/>
                  </a:lnTo>
                  <a:cubicBezTo>
                    <a:pt x="520835" y="382835"/>
                    <a:pt x="539907" y="363800"/>
                    <a:pt x="539907" y="340323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4" name="Freeform 313">
              <a:extLst>
                <a:ext uri="{FF2B5EF4-FFF2-40B4-BE49-F238E27FC236}">
                  <a16:creationId xmlns:a16="http://schemas.microsoft.com/office/drawing/2014/main" id="{4DFFC3BC-D0DA-3A40-8047-0816F8B6340E}"/>
                </a:ext>
              </a:extLst>
            </p:cNvPr>
            <p:cNvSpPr/>
            <p:nvPr/>
          </p:nvSpPr>
          <p:spPr>
            <a:xfrm>
              <a:off x="9868324" y="2372059"/>
              <a:ext cx="539682" cy="382835"/>
            </a:xfrm>
            <a:custGeom>
              <a:avLst/>
              <a:gdLst>
                <a:gd name="connsiteX0" fmla="*/ 539683 w 539682"/>
                <a:gd name="connsiteY0" fmla="*/ 340323 h 382835"/>
                <a:gd name="connsiteX1" fmla="*/ 511249 w 539682"/>
                <a:gd name="connsiteY1" fmla="*/ 340323 h 382835"/>
                <a:gd name="connsiteX2" fmla="*/ 496976 w 539682"/>
                <a:gd name="connsiteY2" fmla="*/ 354456 h 382835"/>
                <a:gd name="connsiteX3" fmla="*/ 42595 w 539682"/>
                <a:gd name="connsiteY3" fmla="*/ 354456 h 382835"/>
                <a:gd name="connsiteX4" fmla="*/ 28434 w 539682"/>
                <a:gd name="connsiteY4" fmla="*/ 340323 h 382835"/>
                <a:gd name="connsiteX5" fmla="*/ 28434 w 539682"/>
                <a:gd name="connsiteY5" fmla="*/ 42512 h 382835"/>
                <a:gd name="connsiteX6" fmla="*/ 42483 w 539682"/>
                <a:gd name="connsiteY6" fmla="*/ 28267 h 382835"/>
                <a:gd name="connsiteX7" fmla="*/ 42595 w 539682"/>
                <a:gd name="connsiteY7" fmla="*/ 28267 h 382835"/>
                <a:gd name="connsiteX8" fmla="*/ 42595 w 539682"/>
                <a:gd name="connsiteY8" fmla="*/ 0 h 382835"/>
                <a:gd name="connsiteX9" fmla="*/ 0 w 539682"/>
                <a:gd name="connsiteY9" fmla="*/ 42512 h 382835"/>
                <a:gd name="connsiteX10" fmla="*/ 0 w 539682"/>
                <a:gd name="connsiteY10" fmla="*/ 340323 h 382835"/>
                <a:gd name="connsiteX11" fmla="*/ 42595 w 539682"/>
                <a:gd name="connsiteY11" fmla="*/ 382835 h 382835"/>
                <a:gd name="connsiteX12" fmla="*/ 497200 w 539682"/>
                <a:gd name="connsiteY12" fmla="*/ 382835 h 382835"/>
                <a:gd name="connsiteX13" fmla="*/ 539683 w 539682"/>
                <a:gd name="connsiteY13" fmla="*/ 340323 h 382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39682" h="382835">
                  <a:moveTo>
                    <a:pt x="539683" y="340323"/>
                  </a:moveTo>
                  <a:lnTo>
                    <a:pt x="511249" y="340323"/>
                  </a:lnTo>
                  <a:cubicBezTo>
                    <a:pt x="511181" y="348141"/>
                    <a:pt x="504809" y="354456"/>
                    <a:pt x="496976" y="354456"/>
                  </a:cubicBezTo>
                  <a:lnTo>
                    <a:pt x="42595" y="354456"/>
                  </a:lnTo>
                  <a:cubicBezTo>
                    <a:pt x="34772" y="354456"/>
                    <a:pt x="28434" y="348130"/>
                    <a:pt x="28434" y="340323"/>
                  </a:cubicBezTo>
                  <a:lnTo>
                    <a:pt x="28434" y="42512"/>
                  </a:lnTo>
                  <a:cubicBezTo>
                    <a:pt x="28378" y="34705"/>
                    <a:pt x="34661" y="28334"/>
                    <a:pt x="42483" y="28267"/>
                  </a:cubicBezTo>
                  <a:cubicBezTo>
                    <a:pt x="42516" y="28267"/>
                    <a:pt x="42562" y="28267"/>
                    <a:pt x="42595" y="28267"/>
                  </a:cubicBezTo>
                  <a:lnTo>
                    <a:pt x="42595" y="0"/>
                  </a:lnTo>
                  <a:cubicBezTo>
                    <a:pt x="19072" y="0"/>
                    <a:pt x="0" y="19035"/>
                    <a:pt x="0" y="42512"/>
                  </a:cubicBezTo>
                  <a:lnTo>
                    <a:pt x="0" y="340323"/>
                  </a:lnTo>
                  <a:cubicBezTo>
                    <a:pt x="0" y="363800"/>
                    <a:pt x="19072" y="382835"/>
                    <a:pt x="42595" y="382835"/>
                  </a:cubicBezTo>
                  <a:lnTo>
                    <a:pt x="497200" y="382835"/>
                  </a:lnTo>
                  <a:cubicBezTo>
                    <a:pt x="520656" y="382712"/>
                    <a:pt x="539627" y="363733"/>
                    <a:pt x="539683" y="340323"/>
                  </a:cubicBez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5" name="Freeform 314">
              <a:extLst>
                <a:ext uri="{FF2B5EF4-FFF2-40B4-BE49-F238E27FC236}">
                  <a16:creationId xmlns:a16="http://schemas.microsoft.com/office/drawing/2014/main" id="{1BE7E5B2-E9F8-6B4F-ADD4-C4DF6C581CC2}"/>
                </a:ext>
              </a:extLst>
            </p:cNvPr>
            <p:cNvSpPr/>
            <p:nvPr/>
          </p:nvSpPr>
          <p:spPr>
            <a:xfrm>
              <a:off x="9710125" y="3334471"/>
              <a:ext cx="668442" cy="709819"/>
            </a:xfrm>
            <a:custGeom>
              <a:avLst/>
              <a:gdLst>
                <a:gd name="connsiteX0" fmla="*/ 2977 w 668442"/>
                <a:gd name="connsiteY0" fmla="*/ 151990 h 709819"/>
                <a:gd name="connsiteX1" fmla="*/ 54788 w 668442"/>
                <a:gd name="connsiteY1" fmla="*/ 276947 h 709819"/>
                <a:gd name="connsiteX2" fmla="*/ 14440 w 668442"/>
                <a:gd name="connsiteY2" fmla="*/ 349969 h 709819"/>
                <a:gd name="connsiteX3" fmla="*/ 12530 w 668442"/>
                <a:gd name="connsiteY3" fmla="*/ 353671 h 709819"/>
                <a:gd name="connsiteX4" fmla="*/ 3988 w 668442"/>
                <a:gd name="connsiteY4" fmla="*/ 413009 h 709819"/>
                <a:gd name="connsiteX5" fmla="*/ 111992 w 668442"/>
                <a:gd name="connsiteY5" fmla="*/ 674028 h 709819"/>
                <a:gd name="connsiteX6" fmla="*/ 188079 w 668442"/>
                <a:gd name="connsiteY6" fmla="*/ 705435 h 709819"/>
                <a:gd name="connsiteX7" fmla="*/ 632457 w 668442"/>
                <a:gd name="connsiteY7" fmla="*/ 522150 h 709819"/>
                <a:gd name="connsiteX8" fmla="*/ 664038 w 668442"/>
                <a:gd name="connsiteY8" fmla="*/ 446323 h 709819"/>
                <a:gd name="connsiteX9" fmla="*/ 555921 w 668442"/>
                <a:gd name="connsiteY9" fmla="*/ 185641 h 709819"/>
                <a:gd name="connsiteX10" fmla="*/ 507932 w 668442"/>
                <a:gd name="connsiteY10" fmla="*/ 149522 h 709819"/>
                <a:gd name="connsiteX11" fmla="*/ 507370 w 668442"/>
                <a:gd name="connsiteY11" fmla="*/ 151093 h 709819"/>
                <a:gd name="connsiteX12" fmla="*/ 507932 w 668442"/>
                <a:gd name="connsiteY12" fmla="*/ 149522 h 709819"/>
                <a:gd name="connsiteX13" fmla="*/ 503998 w 668442"/>
                <a:gd name="connsiteY13" fmla="*/ 148288 h 709819"/>
                <a:gd name="connsiteX14" fmla="*/ 423754 w 668442"/>
                <a:gd name="connsiteY14" fmla="*/ 124957 h 709819"/>
                <a:gd name="connsiteX15" fmla="*/ 371944 w 668442"/>
                <a:gd name="connsiteY15" fmla="*/ 0 h 709819"/>
                <a:gd name="connsiteX16" fmla="*/ 494108 w 668442"/>
                <a:gd name="connsiteY16" fmla="*/ 177901 h 709819"/>
                <a:gd name="connsiteX17" fmla="*/ 498379 w 668442"/>
                <a:gd name="connsiteY17" fmla="*/ 179247 h 709819"/>
                <a:gd name="connsiteX18" fmla="*/ 526813 w 668442"/>
                <a:gd name="connsiteY18" fmla="*/ 197419 h 709819"/>
                <a:gd name="connsiteX19" fmla="*/ 634930 w 668442"/>
                <a:gd name="connsiteY19" fmla="*/ 458325 h 709819"/>
                <a:gd name="connsiteX20" fmla="*/ 620431 w 668442"/>
                <a:gd name="connsiteY20" fmla="*/ 493098 h 709819"/>
                <a:gd name="connsiteX21" fmla="*/ 175941 w 668442"/>
                <a:gd name="connsiteY21" fmla="*/ 676383 h 709819"/>
                <a:gd name="connsiteX22" fmla="*/ 141101 w 668442"/>
                <a:gd name="connsiteY22" fmla="*/ 661913 h 709819"/>
                <a:gd name="connsiteX23" fmla="*/ 33097 w 668442"/>
                <a:gd name="connsiteY23" fmla="*/ 401007 h 709819"/>
                <a:gd name="connsiteX24" fmla="*/ 40514 w 668442"/>
                <a:gd name="connsiteY24" fmla="*/ 368141 h 709819"/>
                <a:gd name="connsiteX25" fmla="*/ 42537 w 668442"/>
                <a:gd name="connsiteY25" fmla="*/ 364215 h 709819"/>
                <a:gd name="connsiteX26" fmla="*/ 70072 w 668442"/>
                <a:gd name="connsiteY26" fmla="*/ 313963 h 709819"/>
                <a:gd name="connsiteX27" fmla="*/ 107946 w 668442"/>
                <a:gd name="connsiteY27" fmla="*/ 405494 h 709819"/>
                <a:gd name="connsiteX28" fmla="*/ 67712 w 668442"/>
                <a:gd name="connsiteY28" fmla="*/ 388780 h 709819"/>
                <a:gd name="connsiteX29" fmla="*/ 55686 w 668442"/>
                <a:gd name="connsiteY29" fmla="*/ 417832 h 709819"/>
                <a:gd name="connsiteX30" fmla="*/ 208870 w 668442"/>
                <a:gd name="connsiteY30" fmla="*/ 481208 h 709819"/>
                <a:gd name="connsiteX31" fmla="*/ 145821 w 668442"/>
                <a:gd name="connsiteY31" fmla="*/ 632749 h 709819"/>
                <a:gd name="connsiteX32" fmla="*/ 145821 w 668442"/>
                <a:gd name="connsiteY32" fmla="*/ 634207 h 709819"/>
                <a:gd name="connsiteX33" fmla="*/ 174929 w 668442"/>
                <a:gd name="connsiteY33" fmla="*/ 646210 h 709819"/>
                <a:gd name="connsiteX34" fmla="*/ 238540 w 668442"/>
                <a:gd name="connsiteY34" fmla="*/ 493322 h 709819"/>
                <a:gd name="connsiteX35" fmla="*/ 243598 w 668442"/>
                <a:gd name="connsiteY35" fmla="*/ 495454 h 709819"/>
                <a:gd name="connsiteX36" fmla="*/ 330585 w 668442"/>
                <a:gd name="connsiteY36" fmla="*/ 494108 h 709819"/>
                <a:gd name="connsiteX37" fmla="*/ 382958 w 668442"/>
                <a:gd name="connsiteY37" fmla="*/ 472571 h 709819"/>
                <a:gd name="connsiteX38" fmla="*/ 446007 w 668442"/>
                <a:gd name="connsiteY38" fmla="*/ 410990 h 709819"/>
                <a:gd name="connsiteX39" fmla="*/ 447581 w 668442"/>
                <a:gd name="connsiteY39" fmla="*/ 407064 h 709819"/>
                <a:gd name="connsiteX40" fmla="*/ 599415 w 668442"/>
                <a:gd name="connsiteY40" fmla="*/ 469991 h 709819"/>
                <a:gd name="connsiteX41" fmla="*/ 600876 w 668442"/>
                <a:gd name="connsiteY41" fmla="*/ 470552 h 709819"/>
                <a:gd name="connsiteX42" fmla="*/ 612902 w 668442"/>
                <a:gd name="connsiteY42" fmla="*/ 441500 h 709819"/>
                <a:gd name="connsiteX43" fmla="*/ 459718 w 668442"/>
                <a:gd name="connsiteY43" fmla="*/ 378012 h 709819"/>
                <a:gd name="connsiteX44" fmla="*/ 522655 w 668442"/>
                <a:gd name="connsiteY44" fmla="*/ 226583 h 709819"/>
                <a:gd name="connsiteX45" fmla="*/ 523329 w 668442"/>
                <a:gd name="connsiteY45" fmla="*/ 225125 h 709819"/>
                <a:gd name="connsiteX46" fmla="*/ 494221 w 668442"/>
                <a:gd name="connsiteY46" fmla="*/ 213122 h 709819"/>
                <a:gd name="connsiteX47" fmla="*/ 477475 w 668442"/>
                <a:gd name="connsiteY47" fmla="*/ 253279 h 709819"/>
                <a:gd name="connsiteX48" fmla="*/ 439601 w 668442"/>
                <a:gd name="connsiteY48" fmla="*/ 161749 h 709819"/>
                <a:gd name="connsiteX49" fmla="*/ 494108 w 668442"/>
                <a:gd name="connsiteY49" fmla="*/ 178126 h 709819"/>
                <a:gd name="connsiteX50" fmla="*/ 459830 w 668442"/>
                <a:gd name="connsiteY50" fmla="*/ 294333 h 709819"/>
                <a:gd name="connsiteX51" fmla="*/ 416898 w 668442"/>
                <a:gd name="connsiteY51" fmla="*/ 397866 h 709819"/>
                <a:gd name="connsiteX52" fmla="*/ 370370 w 668442"/>
                <a:gd name="connsiteY52" fmla="*/ 443519 h 709819"/>
                <a:gd name="connsiteX53" fmla="*/ 317998 w 668442"/>
                <a:gd name="connsiteY53" fmla="*/ 465056 h 709819"/>
                <a:gd name="connsiteX54" fmla="*/ 253937 w 668442"/>
                <a:gd name="connsiteY54" fmla="*/ 465953 h 709819"/>
                <a:gd name="connsiteX55" fmla="*/ 149081 w 668442"/>
                <a:gd name="connsiteY55" fmla="*/ 422543 h 709819"/>
                <a:gd name="connsiteX56" fmla="*/ 44223 w 668442"/>
                <a:gd name="connsiteY56" fmla="*/ 169040 h 709819"/>
                <a:gd name="connsiteX57" fmla="*/ 354973 w 668442"/>
                <a:gd name="connsiteY57" fmla="*/ 40942 h 709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668442" h="709819">
                  <a:moveTo>
                    <a:pt x="2977" y="151990"/>
                  </a:moveTo>
                  <a:lnTo>
                    <a:pt x="54788" y="276947"/>
                  </a:lnTo>
                  <a:cubicBezTo>
                    <a:pt x="44336" y="295455"/>
                    <a:pt x="21071" y="338192"/>
                    <a:pt x="14440" y="349969"/>
                  </a:cubicBezTo>
                  <a:lnTo>
                    <a:pt x="12530" y="353671"/>
                  </a:lnTo>
                  <a:cubicBezTo>
                    <a:pt x="4775" y="368702"/>
                    <a:pt x="-5902" y="389117"/>
                    <a:pt x="3988" y="413009"/>
                  </a:cubicBezTo>
                  <a:lnTo>
                    <a:pt x="111992" y="674028"/>
                  </a:lnTo>
                  <a:cubicBezTo>
                    <a:pt x="124400" y="703573"/>
                    <a:pt x="158375" y="717606"/>
                    <a:pt x="188079" y="705435"/>
                  </a:cubicBezTo>
                  <a:lnTo>
                    <a:pt x="632457" y="522150"/>
                  </a:lnTo>
                  <a:cubicBezTo>
                    <a:pt x="662139" y="509901"/>
                    <a:pt x="676277" y="475970"/>
                    <a:pt x="664038" y="446323"/>
                  </a:cubicBezTo>
                  <a:lnTo>
                    <a:pt x="555921" y="185641"/>
                  </a:lnTo>
                  <a:cubicBezTo>
                    <a:pt x="546031" y="161749"/>
                    <a:pt x="524004" y="154682"/>
                    <a:pt x="507932" y="149522"/>
                  </a:cubicBezTo>
                  <a:lnTo>
                    <a:pt x="507370" y="151093"/>
                  </a:lnTo>
                  <a:lnTo>
                    <a:pt x="507932" y="149522"/>
                  </a:lnTo>
                  <a:lnTo>
                    <a:pt x="503998" y="148288"/>
                  </a:lnTo>
                  <a:cubicBezTo>
                    <a:pt x="491299" y="144138"/>
                    <a:pt x="444208" y="130790"/>
                    <a:pt x="423754" y="124957"/>
                  </a:cubicBezTo>
                  <a:lnTo>
                    <a:pt x="371944" y="0"/>
                  </a:lnTo>
                  <a:close/>
                  <a:moveTo>
                    <a:pt x="494108" y="177901"/>
                  </a:moveTo>
                  <a:lnTo>
                    <a:pt x="498379" y="179247"/>
                  </a:lnTo>
                  <a:cubicBezTo>
                    <a:pt x="513439" y="184071"/>
                    <a:pt x="522879" y="187660"/>
                    <a:pt x="526813" y="197419"/>
                  </a:cubicBezTo>
                  <a:lnTo>
                    <a:pt x="634930" y="458325"/>
                  </a:lnTo>
                  <a:cubicBezTo>
                    <a:pt x="640504" y="471920"/>
                    <a:pt x="634030" y="487467"/>
                    <a:pt x="620431" y="493098"/>
                  </a:cubicBezTo>
                  <a:lnTo>
                    <a:pt x="175941" y="676383"/>
                  </a:lnTo>
                  <a:cubicBezTo>
                    <a:pt x="162319" y="681947"/>
                    <a:pt x="146743" y="675486"/>
                    <a:pt x="141101" y="661913"/>
                  </a:cubicBezTo>
                  <a:lnTo>
                    <a:pt x="33097" y="401007"/>
                  </a:lnTo>
                  <a:cubicBezTo>
                    <a:pt x="29051" y="391360"/>
                    <a:pt x="33097" y="382162"/>
                    <a:pt x="40514" y="368141"/>
                  </a:cubicBezTo>
                  <a:lnTo>
                    <a:pt x="42537" y="364215"/>
                  </a:lnTo>
                  <a:cubicBezTo>
                    <a:pt x="46808" y="355802"/>
                    <a:pt x="60969" y="330564"/>
                    <a:pt x="70072" y="313963"/>
                  </a:cubicBezTo>
                  <a:lnTo>
                    <a:pt x="107946" y="405494"/>
                  </a:lnTo>
                  <a:lnTo>
                    <a:pt x="67712" y="388780"/>
                  </a:lnTo>
                  <a:lnTo>
                    <a:pt x="55686" y="417832"/>
                  </a:lnTo>
                  <a:lnTo>
                    <a:pt x="208870" y="481208"/>
                  </a:lnTo>
                  <a:lnTo>
                    <a:pt x="145821" y="632749"/>
                  </a:lnTo>
                  <a:lnTo>
                    <a:pt x="145821" y="634207"/>
                  </a:lnTo>
                  <a:lnTo>
                    <a:pt x="174929" y="646210"/>
                  </a:lnTo>
                  <a:lnTo>
                    <a:pt x="238540" y="493322"/>
                  </a:lnTo>
                  <a:lnTo>
                    <a:pt x="243598" y="495454"/>
                  </a:lnTo>
                  <a:cubicBezTo>
                    <a:pt x="271605" y="506682"/>
                    <a:pt x="302949" y="506188"/>
                    <a:pt x="330585" y="494108"/>
                  </a:cubicBezTo>
                  <a:lnTo>
                    <a:pt x="382958" y="472571"/>
                  </a:lnTo>
                  <a:cubicBezTo>
                    <a:pt x="407008" y="462588"/>
                    <a:pt x="426901" y="448342"/>
                    <a:pt x="446007" y="410990"/>
                  </a:cubicBezTo>
                  <a:lnTo>
                    <a:pt x="447581" y="407064"/>
                  </a:lnTo>
                  <a:lnTo>
                    <a:pt x="599415" y="469991"/>
                  </a:lnTo>
                  <a:lnTo>
                    <a:pt x="600876" y="470552"/>
                  </a:lnTo>
                  <a:lnTo>
                    <a:pt x="612902" y="441500"/>
                  </a:lnTo>
                  <a:lnTo>
                    <a:pt x="459718" y="378012"/>
                  </a:lnTo>
                  <a:lnTo>
                    <a:pt x="522655" y="226583"/>
                  </a:lnTo>
                  <a:lnTo>
                    <a:pt x="523329" y="225125"/>
                  </a:lnTo>
                  <a:lnTo>
                    <a:pt x="494221" y="213122"/>
                  </a:lnTo>
                  <a:lnTo>
                    <a:pt x="477475" y="253279"/>
                  </a:lnTo>
                  <a:lnTo>
                    <a:pt x="439601" y="161749"/>
                  </a:lnTo>
                  <a:cubicBezTo>
                    <a:pt x="469046" y="170610"/>
                    <a:pt x="487478" y="175994"/>
                    <a:pt x="494108" y="178126"/>
                  </a:cubicBezTo>
                  <a:close/>
                  <a:moveTo>
                    <a:pt x="459830" y="294333"/>
                  </a:moveTo>
                  <a:lnTo>
                    <a:pt x="416898" y="397866"/>
                  </a:lnTo>
                  <a:cubicBezTo>
                    <a:pt x="402401" y="426020"/>
                    <a:pt x="389363" y="435667"/>
                    <a:pt x="370370" y="443519"/>
                  </a:cubicBezTo>
                  <a:lnTo>
                    <a:pt x="317998" y="465056"/>
                  </a:lnTo>
                  <a:cubicBezTo>
                    <a:pt x="297679" y="474164"/>
                    <a:pt x="274504" y="474489"/>
                    <a:pt x="253937" y="465953"/>
                  </a:cubicBezTo>
                  <a:lnTo>
                    <a:pt x="149081" y="422543"/>
                  </a:lnTo>
                  <a:lnTo>
                    <a:pt x="44223" y="169040"/>
                  </a:lnTo>
                  <a:lnTo>
                    <a:pt x="354973" y="40942"/>
                  </a:lnTo>
                  <a:close/>
                </a:path>
              </a:pathLst>
            </a:custGeom>
            <a:solidFill>
              <a:srgbClr val="040407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6" name="Freeform 315">
              <a:extLst>
                <a:ext uri="{FF2B5EF4-FFF2-40B4-BE49-F238E27FC236}">
                  <a16:creationId xmlns:a16="http://schemas.microsoft.com/office/drawing/2014/main" id="{C55AEBF7-3DBC-A843-8B3D-DFBBB52B2E3E}"/>
                </a:ext>
              </a:extLst>
            </p:cNvPr>
            <p:cNvSpPr/>
            <p:nvPr/>
          </p:nvSpPr>
          <p:spPr>
            <a:xfrm>
              <a:off x="6744170" y="5327389"/>
              <a:ext cx="25191" cy="40172"/>
            </a:xfrm>
            <a:custGeom>
              <a:avLst/>
              <a:gdLst>
                <a:gd name="connsiteX0" fmla="*/ 25065 w 25191"/>
                <a:gd name="connsiteY0" fmla="*/ 1460 h 40172"/>
                <a:gd name="connsiteX1" fmla="*/ 25065 w 25191"/>
                <a:gd name="connsiteY1" fmla="*/ 2581 h 40172"/>
                <a:gd name="connsiteX2" fmla="*/ 25065 w 25191"/>
                <a:gd name="connsiteY2" fmla="*/ 38924 h 40172"/>
                <a:gd name="connsiteX3" fmla="*/ 25065 w 25191"/>
                <a:gd name="connsiteY3" fmla="*/ 40046 h 40172"/>
                <a:gd name="connsiteX4" fmla="*/ 23941 w 25191"/>
                <a:gd name="connsiteY4" fmla="*/ 40046 h 40172"/>
                <a:gd name="connsiteX5" fmla="*/ 22368 w 25191"/>
                <a:gd name="connsiteY5" fmla="*/ 38475 h 40172"/>
                <a:gd name="connsiteX6" fmla="*/ 22368 w 25191"/>
                <a:gd name="connsiteY6" fmla="*/ 22435 h 40172"/>
                <a:gd name="connsiteX7" fmla="*/ 18434 w 25191"/>
                <a:gd name="connsiteY7" fmla="*/ 26585 h 40172"/>
                <a:gd name="connsiteX8" fmla="*/ 12590 w 25191"/>
                <a:gd name="connsiteY8" fmla="*/ 28380 h 40172"/>
                <a:gd name="connsiteX9" fmla="*/ 6184 w 25191"/>
                <a:gd name="connsiteY9" fmla="*/ 26474 h 40172"/>
                <a:gd name="connsiteX10" fmla="*/ 1688 w 25191"/>
                <a:gd name="connsiteY10" fmla="*/ 21426 h 40172"/>
                <a:gd name="connsiteX11" fmla="*/ 2 w 25191"/>
                <a:gd name="connsiteY11" fmla="*/ 14135 h 40172"/>
                <a:gd name="connsiteX12" fmla="*/ 1688 w 25191"/>
                <a:gd name="connsiteY12" fmla="*/ 6844 h 40172"/>
                <a:gd name="connsiteX13" fmla="*/ 6184 w 25191"/>
                <a:gd name="connsiteY13" fmla="*/ 1796 h 40172"/>
                <a:gd name="connsiteX14" fmla="*/ 12478 w 25191"/>
                <a:gd name="connsiteY14" fmla="*/ 1 h 40172"/>
                <a:gd name="connsiteX15" fmla="*/ 18322 w 25191"/>
                <a:gd name="connsiteY15" fmla="*/ 1572 h 40172"/>
                <a:gd name="connsiteX16" fmla="*/ 22368 w 25191"/>
                <a:gd name="connsiteY16" fmla="*/ 5610 h 40172"/>
                <a:gd name="connsiteX17" fmla="*/ 22368 w 25191"/>
                <a:gd name="connsiteY17" fmla="*/ 2133 h 40172"/>
                <a:gd name="connsiteX18" fmla="*/ 22368 w 25191"/>
                <a:gd name="connsiteY18" fmla="*/ 1011 h 40172"/>
                <a:gd name="connsiteX19" fmla="*/ 23492 w 25191"/>
                <a:gd name="connsiteY19" fmla="*/ 450 h 40172"/>
                <a:gd name="connsiteX20" fmla="*/ 25065 w 25191"/>
                <a:gd name="connsiteY20" fmla="*/ 1460 h 40172"/>
                <a:gd name="connsiteX21" fmla="*/ 17872 w 25191"/>
                <a:gd name="connsiteY21" fmla="*/ 23893 h 40172"/>
                <a:gd name="connsiteX22" fmla="*/ 21356 w 25191"/>
                <a:gd name="connsiteY22" fmla="*/ 19856 h 40172"/>
                <a:gd name="connsiteX23" fmla="*/ 21356 w 25191"/>
                <a:gd name="connsiteY23" fmla="*/ 8639 h 40172"/>
                <a:gd name="connsiteX24" fmla="*/ 17872 w 25191"/>
                <a:gd name="connsiteY24" fmla="*/ 4600 h 40172"/>
                <a:gd name="connsiteX25" fmla="*/ 12927 w 25191"/>
                <a:gd name="connsiteY25" fmla="*/ 3142 h 40172"/>
                <a:gd name="connsiteX26" fmla="*/ 7870 w 25191"/>
                <a:gd name="connsiteY26" fmla="*/ 4600 h 40172"/>
                <a:gd name="connsiteX27" fmla="*/ 4386 w 25191"/>
                <a:gd name="connsiteY27" fmla="*/ 8639 h 40172"/>
                <a:gd name="connsiteX28" fmla="*/ 4386 w 25191"/>
                <a:gd name="connsiteY28" fmla="*/ 19856 h 40172"/>
                <a:gd name="connsiteX29" fmla="*/ 7870 w 25191"/>
                <a:gd name="connsiteY29" fmla="*/ 23893 h 40172"/>
                <a:gd name="connsiteX30" fmla="*/ 12927 w 25191"/>
                <a:gd name="connsiteY30" fmla="*/ 25352 h 40172"/>
                <a:gd name="connsiteX31" fmla="*/ 18434 w 25191"/>
                <a:gd name="connsiteY31" fmla="*/ 24342 h 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5191" h="40172">
                  <a:moveTo>
                    <a:pt x="25065" y="1460"/>
                  </a:moveTo>
                  <a:cubicBezTo>
                    <a:pt x="25234" y="1819"/>
                    <a:pt x="25234" y="2222"/>
                    <a:pt x="25065" y="2581"/>
                  </a:cubicBezTo>
                  <a:lnTo>
                    <a:pt x="25065" y="38924"/>
                  </a:lnTo>
                  <a:cubicBezTo>
                    <a:pt x="25211" y="39283"/>
                    <a:pt x="25211" y="39687"/>
                    <a:pt x="25065" y="40046"/>
                  </a:cubicBezTo>
                  <a:cubicBezTo>
                    <a:pt x="24705" y="40214"/>
                    <a:pt x="24301" y="40214"/>
                    <a:pt x="23941" y="40046"/>
                  </a:cubicBezTo>
                  <a:cubicBezTo>
                    <a:pt x="23076" y="40046"/>
                    <a:pt x="22368" y="39339"/>
                    <a:pt x="22368" y="38475"/>
                  </a:cubicBezTo>
                  <a:lnTo>
                    <a:pt x="22368" y="22435"/>
                  </a:lnTo>
                  <a:cubicBezTo>
                    <a:pt x="21435" y="24129"/>
                    <a:pt x="20086" y="25565"/>
                    <a:pt x="18434" y="26585"/>
                  </a:cubicBezTo>
                  <a:cubicBezTo>
                    <a:pt x="16692" y="27707"/>
                    <a:pt x="14669" y="28335"/>
                    <a:pt x="12590" y="28380"/>
                  </a:cubicBezTo>
                  <a:cubicBezTo>
                    <a:pt x="10309" y="28403"/>
                    <a:pt x="8072" y="27741"/>
                    <a:pt x="6184" y="26474"/>
                  </a:cubicBezTo>
                  <a:cubicBezTo>
                    <a:pt x="4273" y="25206"/>
                    <a:pt x="2722" y="23467"/>
                    <a:pt x="1688" y="21426"/>
                  </a:cubicBezTo>
                  <a:cubicBezTo>
                    <a:pt x="542" y="19171"/>
                    <a:pt x="-43" y="16670"/>
                    <a:pt x="2" y="14135"/>
                  </a:cubicBezTo>
                  <a:cubicBezTo>
                    <a:pt x="-31" y="11600"/>
                    <a:pt x="553" y="9110"/>
                    <a:pt x="1688" y="6844"/>
                  </a:cubicBezTo>
                  <a:cubicBezTo>
                    <a:pt x="2722" y="4802"/>
                    <a:pt x="4273" y="3064"/>
                    <a:pt x="6184" y="1796"/>
                  </a:cubicBezTo>
                  <a:cubicBezTo>
                    <a:pt x="8061" y="585"/>
                    <a:pt x="10252" y="-32"/>
                    <a:pt x="12478" y="1"/>
                  </a:cubicBezTo>
                  <a:cubicBezTo>
                    <a:pt x="14534" y="-21"/>
                    <a:pt x="16557" y="528"/>
                    <a:pt x="18322" y="1572"/>
                  </a:cubicBezTo>
                  <a:cubicBezTo>
                    <a:pt x="20030" y="2492"/>
                    <a:pt x="21446" y="3894"/>
                    <a:pt x="22368" y="5610"/>
                  </a:cubicBezTo>
                  <a:lnTo>
                    <a:pt x="22368" y="2133"/>
                  </a:lnTo>
                  <a:cubicBezTo>
                    <a:pt x="22199" y="1774"/>
                    <a:pt x="22199" y="1370"/>
                    <a:pt x="22368" y="1011"/>
                  </a:cubicBezTo>
                  <a:cubicBezTo>
                    <a:pt x="22649" y="674"/>
                    <a:pt x="23053" y="472"/>
                    <a:pt x="23492" y="450"/>
                  </a:cubicBezTo>
                  <a:cubicBezTo>
                    <a:pt x="24200" y="316"/>
                    <a:pt x="24896" y="753"/>
                    <a:pt x="25065" y="1460"/>
                  </a:cubicBezTo>
                  <a:close/>
                  <a:moveTo>
                    <a:pt x="17872" y="23893"/>
                  </a:moveTo>
                  <a:cubicBezTo>
                    <a:pt x="19389" y="22906"/>
                    <a:pt x="20603" y="21504"/>
                    <a:pt x="21356" y="19856"/>
                  </a:cubicBezTo>
                  <a:cubicBezTo>
                    <a:pt x="22929" y="16277"/>
                    <a:pt x="22929" y="12217"/>
                    <a:pt x="21356" y="8639"/>
                  </a:cubicBezTo>
                  <a:cubicBezTo>
                    <a:pt x="20536" y="7034"/>
                    <a:pt x="19344" y="5643"/>
                    <a:pt x="17872" y="4600"/>
                  </a:cubicBezTo>
                  <a:cubicBezTo>
                    <a:pt x="16411" y="3613"/>
                    <a:pt x="14691" y="3108"/>
                    <a:pt x="12927" y="3142"/>
                  </a:cubicBezTo>
                  <a:cubicBezTo>
                    <a:pt x="11129" y="3097"/>
                    <a:pt x="9364" y="3602"/>
                    <a:pt x="7870" y="4600"/>
                  </a:cubicBezTo>
                  <a:cubicBezTo>
                    <a:pt x="6397" y="5643"/>
                    <a:pt x="5206" y="7034"/>
                    <a:pt x="4386" y="8639"/>
                  </a:cubicBezTo>
                  <a:cubicBezTo>
                    <a:pt x="2812" y="12217"/>
                    <a:pt x="2812" y="16277"/>
                    <a:pt x="4386" y="19856"/>
                  </a:cubicBezTo>
                  <a:cubicBezTo>
                    <a:pt x="5206" y="21459"/>
                    <a:pt x="6397" y="22850"/>
                    <a:pt x="7870" y="23893"/>
                  </a:cubicBezTo>
                  <a:cubicBezTo>
                    <a:pt x="9364" y="24892"/>
                    <a:pt x="11129" y="25397"/>
                    <a:pt x="12927" y="25352"/>
                  </a:cubicBezTo>
                  <a:cubicBezTo>
                    <a:pt x="14826" y="25643"/>
                    <a:pt x="16760" y="25284"/>
                    <a:pt x="18434" y="24342"/>
                  </a:cubicBezTo>
                  <a:close/>
                </a:path>
              </a:pathLst>
            </a:custGeom>
            <a:solidFill>
              <a:srgbClr val="000000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7" name="Freeform 316">
              <a:extLst>
                <a:ext uri="{FF2B5EF4-FFF2-40B4-BE49-F238E27FC236}">
                  <a16:creationId xmlns:a16="http://schemas.microsoft.com/office/drawing/2014/main" id="{3AFB6BCD-8A5E-8E43-BC43-8AE35CCB2B44}"/>
                </a:ext>
              </a:extLst>
            </p:cNvPr>
            <p:cNvSpPr/>
            <p:nvPr/>
          </p:nvSpPr>
          <p:spPr>
            <a:xfrm>
              <a:off x="6777538" y="5328655"/>
              <a:ext cx="22246" cy="27327"/>
            </a:xfrm>
            <a:custGeom>
              <a:avLst/>
              <a:gdLst>
                <a:gd name="connsiteX0" fmla="*/ 22154 w 22246"/>
                <a:gd name="connsiteY0" fmla="*/ 417 h 27327"/>
                <a:gd name="connsiteX1" fmla="*/ 22154 w 22246"/>
                <a:gd name="connsiteY1" fmla="*/ 1539 h 27327"/>
                <a:gd name="connsiteX2" fmla="*/ 22154 w 22246"/>
                <a:gd name="connsiteY2" fmla="*/ 16570 h 27327"/>
                <a:gd name="connsiteX3" fmla="*/ 19120 w 22246"/>
                <a:gd name="connsiteY3" fmla="*/ 24534 h 27327"/>
                <a:gd name="connsiteX4" fmla="*/ 3048 w 22246"/>
                <a:gd name="connsiteY4" fmla="*/ 24534 h 27327"/>
                <a:gd name="connsiteX5" fmla="*/ 126 w 22246"/>
                <a:gd name="connsiteY5" fmla="*/ 16570 h 27327"/>
                <a:gd name="connsiteX6" fmla="*/ 126 w 22246"/>
                <a:gd name="connsiteY6" fmla="*/ 1539 h 27327"/>
                <a:gd name="connsiteX7" fmla="*/ 126 w 22246"/>
                <a:gd name="connsiteY7" fmla="*/ 417 h 27327"/>
                <a:gd name="connsiteX8" fmla="*/ 1250 w 22246"/>
                <a:gd name="connsiteY8" fmla="*/ 417 h 27327"/>
                <a:gd name="connsiteX9" fmla="*/ 2823 w 22246"/>
                <a:gd name="connsiteY9" fmla="*/ 1988 h 27327"/>
                <a:gd name="connsiteX10" fmla="*/ 2823 w 22246"/>
                <a:gd name="connsiteY10" fmla="*/ 17019 h 27327"/>
                <a:gd name="connsiteX11" fmla="*/ 4959 w 22246"/>
                <a:gd name="connsiteY11" fmla="*/ 22851 h 27327"/>
                <a:gd name="connsiteX12" fmla="*/ 10578 w 22246"/>
                <a:gd name="connsiteY12" fmla="*/ 24871 h 27327"/>
                <a:gd name="connsiteX13" fmla="*/ 16423 w 22246"/>
                <a:gd name="connsiteY13" fmla="*/ 22851 h 27327"/>
                <a:gd name="connsiteX14" fmla="*/ 18445 w 22246"/>
                <a:gd name="connsiteY14" fmla="*/ 17019 h 27327"/>
                <a:gd name="connsiteX15" fmla="*/ 18445 w 22246"/>
                <a:gd name="connsiteY15" fmla="*/ 1988 h 27327"/>
                <a:gd name="connsiteX16" fmla="*/ 18445 w 22246"/>
                <a:gd name="connsiteY16" fmla="*/ 866 h 27327"/>
                <a:gd name="connsiteX17" fmla="*/ 19569 w 22246"/>
                <a:gd name="connsiteY17" fmla="*/ 866 h 27327"/>
                <a:gd name="connsiteX18" fmla="*/ 21862 w 22246"/>
                <a:gd name="connsiteY18" fmla="*/ 216 h 27327"/>
                <a:gd name="connsiteX19" fmla="*/ 22154 w 22246"/>
                <a:gd name="connsiteY19" fmla="*/ 417 h 27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2246" h="27327">
                  <a:moveTo>
                    <a:pt x="22154" y="417"/>
                  </a:moveTo>
                  <a:cubicBezTo>
                    <a:pt x="22278" y="776"/>
                    <a:pt x="22278" y="1180"/>
                    <a:pt x="22154" y="1539"/>
                  </a:cubicBezTo>
                  <a:lnTo>
                    <a:pt x="22154" y="16570"/>
                  </a:lnTo>
                  <a:cubicBezTo>
                    <a:pt x="22356" y="19542"/>
                    <a:pt x="21244" y="22448"/>
                    <a:pt x="19120" y="24534"/>
                  </a:cubicBezTo>
                  <a:cubicBezTo>
                    <a:pt x="14411" y="28258"/>
                    <a:pt x="7758" y="28258"/>
                    <a:pt x="3048" y="24534"/>
                  </a:cubicBezTo>
                  <a:cubicBezTo>
                    <a:pt x="1003" y="22403"/>
                    <a:pt x="-65" y="19520"/>
                    <a:pt x="126" y="16570"/>
                  </a:cubicBezTo>
                  <a:lnTo>
                    <a:pt x="126" y="1539"/>
                  </a:lnTo>
                  <a:cubicBezTo>
                    <a:pt x="-42" y="1180"/>
                    <a:pt x="-42" y="776"/>
                    <a:pt x="126" y="417"/>
                  </a:cubicBezTo>
                  <a:cubicBezTo>
                    <a:pt x="486" y="272"/>
                    <a:pt x="890" y="272"/>
                    <a:pt x="1250" y="417"/>
                  </a:cubicBezTo>
                  <a:cubicBezTo>
                    <a:pt x="2116" y="417"/>
                    <a:pt x="2823" y="1124"/>
                    <a:pt x="2823" y="1988"/>
                  </a:cubicBezTo>
                  <a:lnTo>
                    <a:pt x="2823" y="17019"/>
                  </a:lnTo>
                  <a:cubicBezTo>
                    <a:pt x="2700" y="19172"/>
                    <a:pt x="3475" y="21281"/>
                    <a:pt x="4959" y="22851"/>
                  </a:cubicBezTo>
                  <a:cubicBezTo>
                    <a:pt x="6476" y="24265"/>
                    <a:pt x="8510" y="24994"/>
                    <a:pt x="10578" y="24871"/>
                  </a:cubicBezTo>
                  <a:cubicBezTo>
                    <a:pt x="12714" y="25005"/>
                    <a:pt x="14827" y="24276"/>
                    <a:pt x="16423" y="22851"/>
                  </a:cubicBezTo>
                  <a:cubicBezTo>
                    <a:pt x="17861" y="21270"/>
                    <a:pt x="18592" y="19161"/>
                    <a:pt x="18445" y="17019"/>
                  </a:cubicBezTo>
                  <a:lnTo>
                    <a:pt x="18445" y="1988"/>
                  </a:lnTo>
                  <a:cubicBezTo>
                    <a:pt x="18277" y="1629"/>
                    <a:pt x="18277" y="1225"/>
                    <a:pt x="18445" y="866"/>
                  </a:cubicBezTo>
                  <a:cubicBezTo>
                    <a:pt x="18805" y="720"/>
                    <a:pt x="19210" y="720"/>
                    <a:pt x="19569" y="866"/>
                  </a:cubicBezTo>
                  <a:cubicBezTo>
                    <a:pt x="20019" y="59"/>
                    <a:pt x="21053" y="-244"/>
                    <a:pt x="21862" y="216"/>
                  </a:cubicBezTo>
                  <a:cubicBezTo>
                    <a:pt x="21963" y="272"/>
                    <a:pt x="22064" y="339"/>
                    <a:pt x="22154" y="417"/>
                  </a:cubicBezTo>
                  <a:close/>
                </a:path>
              </a:pathLst>
            </a:custGeom>
            <a:solidFill>
              <a:srgbClr val="000000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8" name="Freeform 317">
              <a:extLst>
                <a:ext uri="{FF2B5EF4-FFF2-40B4-BE49-F238E27FC236}">
                  <a16:creationId xmlns:a16="http://schemas.microsoft.com/office/drawing/2014/main" id="{4545BF17-B5EB-504A-807E-B3D32905E729}"/>
                </a:ext>
              </a:extLst>
            </p:cNvPr>
            <p:cNvSpPr/>
            <p:nvPr/>
          </p:nvSpPr>
          <p:spPr>
            <a:xfrm>
              <a:off x="6807107" y="5327834"/>
              <a:ext cx="24733" cy="28385"/>
            </a:xfrm>
            <a:custGeom>
              <a:avLst/>
              <a:gdLst>
                <a:gd name="connsiteX0" fmla="*/ 24615 w 24733"/>
                <a:gd name="connsiteY0" fmla="*/ 1014 h 28385"/>
                <a:gd name="connsiteX1" fmla="*/ 24615 w 24733"/>
                <a:gd name="connsiteY1" fmla="*/ 2247 h 28385"/>
                <a:gd name="connsiteX2" fmla="*/ 24615 w 24733"/>
                <a:gd name="connsiteY2" fmla="*/ 26252 h 28385"/>
                <a:gd name="connsiteX3" fmla="*/ 24615 w 24733"/>
                <a:gd name="connsiteY3" fmla="*/ 27374 h 28385"/>
                <a:gd name="connsiteX4" fmla="*/ 23491 w 24733"/>
                <a:gd name="connsiteY4" fmla="*/ 27374 h 28385"/>
                <a:gd name="connsiteX5" fmla="*/ 22368 w 24733"/>
                <a:gd name="connsiteY5" fmla="*/ 27374 h 28385"/>
                <a:gd name="connsiteX6" fmla="*/ 22368 w 24733"/>
                <a:gd name="connsiteY6" fmla="*/ 26252 h 28385"/>
                <a:gd name="connsiteX7" fmla="*/ 22368 w 24733"/>
                <a:gd name="connsiteY7" fmla="*/ 22662 h 28385"/>
                <a:gd name="connsiteX8" fmla="*/ 18322 w 24733"/>
                <a:gd name="connsiteY8" fmla="*/ 26701 h 28385"/>
                <a:gd name="connsiteX9" fmla="*/ 12590 w 24733"/>
                <a:gd name="connsiteY9" fmla="*/ 28383 h 28385"/>
                <a:gd name="connsiteX10" fmla="*/ 6071 w 24733"/>
                <a:gd name="connsiteY10" fmla="*/ 26476 h 28385"/>
                <a:gd name="connsiteX11" fmla="*/ 1576 w 24733"/>
                <a:gd name="connsiteY11" fmla="*/ 21316 h 28385"/>
                <a:gd name="connsiteX12" fmla="*/ 2 w 24733"/>
                <a:gd name="connsiteY12" fmla="*/ 14025 h 28385"/>
                <a:gd name="connsiteX13" fmla="*/ 1688 w 24733"/>
                <a:gd name="connsiteY13" fmla="*/ 6846 h 28385"/>
                <a:gd name="connsiteX14" fmla="*/ 6184 w 24733"/>
                <a:gd name="connsiteY14" fmla="*/ 1799 h 28385"/>
                <a:gd name="connsiteX15" fmla="*/ 12478 w 24733"/>
                <a:gd name="connsiteY15" fmla="*/ 4 h 28385"/>
                <a:gd name="connsiteX16" fmla="*/ 18322 w 24733"/>
                <a:gd name="connsiteY16" fmla="*/ 1462 h 28385"/>
                <a:gd name="connsiteX17" fmla="*/ 22368 w 24733"/>
                <a:gd name="connsiteY17" fmla="*/ 5500 h 28385"/>
                <a:gd name="connsiteX18" fmla="*/ 22368 w 24733"/>
                <a:gd name="connsiteY18" fmla="*/ 2247 h 28385"/>
                <a:gd name="connsiteX19" fmla="*/ 22368 w 24733"/>
                <a:gd name="connsiteY19" fmla="*/ 1014 h 28385"/>
                <a:gd name="connsiteX20" fmla="*/ 23491 w 24733"/>
                <a:gd name="connsiteY20" fmla="*/ 1014 h 28385"/>
                <a:gd name="connsiteX21" fmla="*/ 24615 w 24733"/>
                <a:gd name="connsiteY21" fmla="*/ 1014 h 28385"/>
                <a:gd name="connsiteX22" fmla="*/ 17423 w 24733"/>
                <a:gd name="connsiteY22" fmla="*/ 23448 h 28385"/>
                <a:gd name="connsiteX23" fmla="*/ 20907 w 24733"/>
                <a:gd name="connsiteY23" fmla="*/ 19410 h 28385"/>
                <a:gd name="connsiteX24" fmla="*/ 22143 w 24733"/>
                <a:gd name="connsiteY24" fmla="*/ 13577 h 28385"/>
                <a:gd name="connsiteX25" fmla="*/ 20907 w 24733"/>
                <a:gd name="connsiteY25" fmla="*/ 7968 h 28385"/>
                <a:gd name="connsiteX26" fmla="*/ 17423 w 24733"/>
                <a:gd name="connsiteY26" fmla="*/ 3930 h 28385"/>
                <a:gd name="connsiteX27" fmla="*/ 12365 w 24733"/>
                <a:gd name="connsiteY27" fmla="*/ 2472 h 28385"/>
                <a:gd name="connsiteX28" fmla="*/ 7420 w 24733"/>
                <a:gd name="connsiteY28" fmla="*/ 3930 h 28385"/>
                <a:gd name="connsiteX29" fmla="*/ 3936 w 24733"/>
                <a:gd name="connsiteY29" fmla="*/ 7856 h 28385"/>
                <a:gd name="connsiteX30" fmla="*/ 2700 w 24733"/>
                <a:gd name="connsiteY30" fmla="*/ 13577 h 28385"/>
                <a:gd name="connsiteX31" fmla="*/ 3936 w 24733"/>
                <a:gd name="connsiteY31" fmla="*/ 19410 h 28385"/>
                <a:gd name="connsiteX32" fmla="*/ 7308 w 24733"/>
                <a:gd name="connsiteY32" fmla="*/ 23448 h 28385"/>
                <a:gd name="connsiteX33" fmla="*/ 12365 w 24733"/>
                <a:gd name="connsiteY33" fmla="*/ 24906 h 28385"/>
                <a:gd name="connsiteX34" fmla="*/ 17423 w 24733"/>
                <a:gd name="connsiteY34" fmla="*/ 23896 h 28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4733" h="28385">
                  <a:moveTo>
                    <a:pt x="24615" y="1014"/>
                  </a:moveTo>
                  <a:cubicBezTo>
                    <a:pt x="24773" y="1406"/>
                    <a:pt x="24773" y="1855"/>
                    <a:pt x="24615" y="2247"/>
                  </a:cubicBezTo>
                  <a:lnTo>
                    <a:pt x="24615" y="26252"/>
                  </a:lnTo>
                  <a:cubicBezTo>
                    <a:pt x="24761" y="26611"/>
                    <a:pt x="24761" y="27015"/>
                    <a:pt x="24615" y="27374"/>
                  </a:cubicBezTo>
                  <a:cubicBezTo>
                    <a:pt x="24256" y="27497"/>
                    <a:pt x="23851" y="27497"/>
                    <a:pt x="23491" y="27374"/>
                  </a:cubicBezTo>
                  <a:cubicBezTo>
                    <a:pt x="23121" y="27475"/>
                    <a:pt x="22738" y="27475"/>
                    <a:pt x="22368" y="27374"/>
                  </a:cubicBezTo>
                  <a:cubicBezTo>
                    <a:pt x="22222" y="27015"/>
                    <a:pt x="22222" y="26611"/>
                    <a:pt x="22368" y="26252"/>
                  </a:cubicBezTo>
                  <a:lnTo>
                    <a:pt x="22368" y="22662"/>
                  </a:lnTo>
                  <a:cubicBezTo>
                    <a:pt x="21390" y="24334"/>
                    <a:pt x="19996" y="25725"/>
                    <a:pt x="18322" y="26701"/>
                  </a:cubicBezTo>
                  <a:cubicBezTo>
                    <a:pt x="16602" y="27766"/>
                    <a:pt x="14613" y="28350"/>
                    <a:pt x="12590" y="28383"/>
                  </a:cubicBezTo>
                  <a:cubicBezTo>
                    <a:pt x="10275" y="28428"/>
                    <a:pt x="7993" y="27766"/>
                    <a:pt x="6071" y="26476"/>
                  </a:cubicBezTo>
                  <a:cubicBezTo>
                    <a:pt x="4127" y="25198"/>
                    <a:pt x="2576" y="23414"/>
                    <a:pt x="1576" y="21316"/>
                  </a:cubicBezTo>
                  <a:cubicBezTo>
                    <a:pt x="520" y="19028"/>
                    <a:pt x="-20" y="16538"/>
                    <a:pt x="2" y="14025"/>
                  </a:cubicBezTo>
                  <a:cubicBezTo>
                    <a:pt x="-43" y="11535"/>
                    <a:pt x="542" y="9067"/>
                    <a:pt x="1688" y="6846"/>
                  </a:cubicBezTo>
                  <a:cubicBezTo>
                    <a:pt x="2632" y="4738"/>
                    <a:pt x="4206" y="2977"/>
                    <a:pt x="6184" y="1799"/>
                  </a:cubicBezTo>
                  <a:cubicBezTo>
                    <a:pt x="8061" y="588"/>
                    <a:pt x="10252" y="-29"/>
                    <a:pt x="12478" y="4"/>
                  </a:cubicBezTo>
                  <a:cubicBezTo>
                    <a:pt x="14523" y="-52"/>
                    <a:pt x="16546" y="453"/>
                    <a:pt x="18322" y="1462"/>
                  </a:cubicBezTo>
                  <a:cubicBezTo>
                    <a:pt x="20030" y="2382"/>
                    <a:pt x="21446" y="3784"/>
                    <a:pt x="22368" y="5500"/>
                  </a:cubicBezTo>
                  <a:lnTo>
                    <a:pt x="22368" y="2247"/>
                  </a:lnTo>
                  <a:cubicBezTo>
                    <a:pt x="22210" y="1855"/>
                    <a:pt x="22210" y="1406"/>
                    <a:pt x="22368" y="1014"/>
                  </a:cubicBezTo>
                  <a:cubicBezTo>
                    <a:pt x="22738" y="913"/>
                    <a:pt x="23121" y="913"/>
                    <a:pt x="23491" y="1014"/>
                  </a:cubicBezTo>
                  <a:cubicBezTo>
                    <a:pt x="23851" y="890"/>
                    <a:pt x="24256" y="890"/>
                    <a:pt x="24615" y="1014"/>
                  </a:cubicBezTo>
                  <a:close/>
                  <a:moveTo>
                    <a:pt x="17423" y="23448"/>
                  </a:moveTo>
                  <a:cubicBezTo>
                    <a:pt x="18895" y="22405"/>
                    <a:pt x="20086" y="21013"/>
                    <a:pt x="20907" y="19410"/>
                  </a:cubicBezTo>
                  <a:cubicBezTo>
                    <a:pt x="21727" y="17570"/>
                    <a:pt x="22143" y="15585"/>
                    <a:pt x="22143" y="13577"/>
                  </a:cubicBezTo>
                  <a:cubicBezTo>
                    <a:pt x="22143" y="11636"/>
                    <a:pt x="21727" y="9729"/>
                    <a:pt x="20907" y="7968"/>
                  </a:cubicBezTo>
                  <a:cubicBezTo>
                    <a:pt x="20086" y="6364"/>
                    <a:pt x="18895" y="4973"/>
                    <a:pt x="17423" y="3930"/>
                  </a:cubicBezTo>
                  <a:cubicBezTo>
                    <a:pt x="15928" y="2932"/>
                    <a:pt x="14163" y="2427"/>
                    <a:pt x="12365" y="2472"/>
                  </a:cubicBezTo>
                  <a:cubicBezTo>
                    <a:pt x="10601" y="2438"/>
                    <a:pt x="8881" y="2943"/>
                    <a:pt x="7420" y="3930"/>
                  </a:cubicBezTo>
                  <a:cubicBezTo>
                    <a:pt x="5925" y="4906"/>
                    <a:pt x="4723" y="6263"/>
                    <a:pt x="3936" y="7856"/>
                  </a:cubicBezTo>
                  <a:cubicBezTo>
                    <a:pt x="3104" y="9651"/>
                    <a:pt x="2677" y="11603"/>
                    <a:pt x="2700" y="13577"/>
                  </a:cubicBezTo>
                  <a:cubicBezTo>
                    <a:pt x="2700" y="15585"/>
                    <a:pt x="3116" y="17570"/>
                    <a:pt x="3936" y="19410"/>
                  </a:cubicBezTo>
                  <a:cubicBezTo>
                    <a:pt x="4678" y="21036"/>
                    <a:pt x="5835" y="22427"/>
                    <a:pt x="7308" y="23448"/>
                  </a:cubicBezTo>
                  <a:cubicBezTo>
                    <a:pt x="8814" y="24424"/>
                    <a:pt x="10567" y="24928"/>
                    <a:pt x="12365" y="24906"/>
                  </a:cubicBezTo>
                  <a:cubicBezTo>
                    <a:pt x="14118" y="25085"/>
                    <a:pt x="15883" y="24737"/>
                    <a:pt x="17423" y="23896"/>
                  </a:cubicBezTo>
                  <a:close/>
                </a:path>
              </a:pathLst>
            </a:custGeom>
            <a:solidFill>
              <a:srgbClr val="000000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9" name="Freeform 318">
              <a:extLst>
                <a:ext uri="{FF2B5EF4-FFF2-40B4-BE49-F238E27FC236}">
                  <a16:creationId xmlns:a16="http://schemas.microsoft.com/office/drawing/2014/main" id="{BD2CE8D4-E167-2F49-BEC6-05AF568AB03C}"/>
                </a:ext>
              </a:extLst>
            </p:cNvPr>
            <p:cNvSpPr/>
            <p:nvPr/>
          </p:nvSpPr>
          <p:spPr>
            <a:xfrm>
              <a:off x="6839139" y="5314485"/>
              <a:ext cx="24740" cy="41284"/>
            </a:xfrm>
            <a:custGeom>
              <a:avLst/>
              <a:gdLst>
                <a:gd name="connsiteX0" fmla="*/ 24613 w 24740"/>
                <a:gd name="connsiteY0" fmla="*/ 342 h 41284"/>
                <a:gd name="connsiteX1" fmla="*/ 24613 w 24740"/>
                <a:gd name="connsiteY1" fmla="*/ 1464 h 41284"/>
                <a:gd name="connsiteX2" fmla="*/ 24613 w 24740"/>
                <a:gd name="connsiteY2" fmla="*/ 39153 h 41284"/>
                <a:gd name="connsiteX3" fmla="*/ 24613 w 24740"/>
                <a:gd name="connsiteY3" fmla="*/ 40275 h 41284"/>
                <a:gd name="connsiteX4" fmla="*/ 23490 w 24740"/>
                <a:gd name="connsiteY4" fmla="*/ 40275 h 41284"/>
                <a:gd name="connsiteX5" fmla="*/ 22366 w 24740"/>
                <a:gd name="connsiteY5" fmla="*/ 40275 h 41284"/>
                <a:gd name="connsiteX6" fmla="*/ 22366 w 24740"/>
                <a:gd name="connsiteY6" fmla="*/ 39153 h 41284"/>
                <a:gd name="connsiteX7" fmla="*/ 22366 w 24740"/>
                <a:gd name="connsiteY7" fmla="*/ 35339 h 41284"/>
                <a:gd name="connsiteX8" fmla="*/ 18320 w 24740"/>
                <a:gd name="connsiteY8" fmla="*/ 39489 h 41284"/>
                <a:gd name="connsiteX9" fmla="*/ 12476 w 24740"/>
                <a:gd name="connsiteY9" fmla="*/ 41284 h 41284"/>
                <a:gd name="connsiteX10" fmla="*/ 6182 w 24740"/>
                <a:gd name="connsiteY10" fmla="*/ 39377 h 41284"/>
                <a:gd name="connsiteX11" fmla="*/ 1574 w 24740"/>
                <a:gd name="connsiteY11" fmla="*/ 34330 h 41284"/>
                <a:gd name="connsiteX12" fmla="*/ 1 w 24740"/>
                <a:gd name="connsiteY12" fmla="*/ 27039 h 41284"/>
                <a:gd name="connsiteX13" fmla="*/ 1574 w 24740"/>
                <a:gd name="connsiteY13" fmla="*/ 19748 h 41284"/>
                <a:gd name="connsiteX14" fmla="*/ 6182 w 24740"/>
                <a:gd name="connsiteY14" fmla="*/ 14700 h 41284"/>
                <a:gd name="connsiteX15" fmla="*/ 18320 w 24740"/>
                <a:gd name="connsiteY15" fmla="*/ 14700 h 41284"/>
                <a:gd name="connsiteX16" fmla="*/ 22366 w 24740"/>
                <a:gd name="connsiteY16" fmla="*/ 18738 h 41284"/>
                <a:gd name="connsiteX17" fmla="*/ 22366 w 24740"/>
                <a:gd name="connsiteY17" fmla="*/ 1688 h 41284"/>
                <a:gd name="connsiteX18" fmla="*/ 22366 w 24740"/>
                <a:gd name="connsiteY18" fmla="*/ 567 h 41284"/>
                <a:gd name="connsiteX19" fmla="*/ 23490 w 24740"/>
                <a:gd name="connsiteY19" fmla="*/ 6 h 41284"/>
                <a:gd name="connsiteX20" fmla="*/ 24613 w 24740"/>
                <a:gd name="connsiteY20" fmla="*/ 342 h 41284"/>
                <a:gd name="connsiteX21" fmla="*/ 17308 w 24740"/>
                <a:gd name="connsiteY21" fmla="*/ 36797 h 41284"/>
                <a:gd name="connsiteX22" fmla="*/ 20792 w 24740"/>
                <a:gd name="connsiteY22" fmla="*/ 32760 h 41284"/>
                <a:gd name="connsiteX23" fmla="*/ 20792 w 24740"/>
                <a:gd name="connsiteY23" fmla="*/ 21543 h 41284"/>
                <a:gd name="connsiteX24" fmla="*/ 17308 w 24740"/>
                <a:gd name="connsiteY24" fmla="*/ 17504 h 41284"/>
                <a:gd name="connsiteX25" fmla="*/ 12363 w 24740"/>
                <a:gd name="connsiteY25" fmla="*/ 16046 h 41284"/>
                <a:gd name="connsiteX26" fmla="*/ 7418 w 24740"/>
                <a:gd name="connsiteY26" fmla="*/ 17504 h 41284"/>
                <a:gd name="connsiteX27" fmla="*/ 3934 w 24740"/>
                <a:gd name="connsiteY27" fmla="*/ 21543 h 41284"/>
                <a:gd name="connsiteX28" fmla="*/ 3934 w 24740"/>
                <a:gd name="connsiteY28" fmla="*/ 32760 h 41284"/>
                <a:gd name="connsiteX29" fmla="*/ 7418 w 24740"/>
                <a:gd name="connsiteY29" fmla="*/ 36797 h 41284"/>
                <a:gd name="connsiteX30" fmla="*/ 12363 w 24740"/>
                <a:gd name="connsiteY30" fmla="*/ 38256 h 41284"/>
                <a:gd name="connsiteX31" fmla="*/ 17421 w 24740"/>
                <a:gd name="connsiteY31" fmla="*/ 37246 h 41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4740" h="41284">
                  <a:moveTo>
                    <a:pt x="24613" y="342"/>
                  </a:moveTo>
                  <a:cubicBezTo>
                    <a:pt x="24782" y="701"/>
                    <a:pt x="24782" y="1105"/>
                    <a:pt x="24613" y="1464"/>
                  </a:cubicBezTo>
                  <a:lnTo>
                    <a:pt x="24613" y="39153"/>
                  </a:lnTo>
                  <a:cubicBezTo>
                    <a:pt x="24760" y="39512"/>
                    <a:pt x="24760" y="39916"/>
                    <a:pt x="24613" y="40275"/>
                  </a:cubicBezTo>
                  <a:cubicBezTo>
                    <a:pt x="24243" y="40376"/>
                    <a:pt x="23861" y="40376"/>
                    <a:pt x="23490" y="40275"/>
                  </a:cubicBezTo>
                  <a:cubicBezTo>
                    <a:pt x="23130" y="40398"/>
                    <a:pt x="22725" y="40398"/>
                    <a:pt x="22366" y="40275"/>
                  </a:cubicBezTo>
                  <a:cubicBezTo>
                    <a:pt x="22219" y="39916"/>
                    <a:pt x="22219" y="39512"/>
                    <a:pt x="22366" y="39153"/>
                  </a:cubicBezTo>
                  <a:lnTo>
                    <a:pt x="22366" y="35339"/>
                  </a:lnTo>
                  <a:cubicBezTo>
                    <a:pt x="21399" y="37056"/>
                    <a:pt x="20006" y="38480"/>
                    <a:pt x="18320" y="39489"/>
                  </a:cubicBezTo>
                  <a:cubicBezTo>
                    <a:pt x="16589" y="40645"/>
                    <a:pt x="14555" y="41273"/>
                    <a:pt x="12476" y="41284"/>
                  </a:cubicBezTo>
                  <a:cubicBezTo>
                    <a:pt x="10239" y="41284"/>
                    <a:pt x="8048" y="40622"/>
                    <a:pt x="6182" y="39377"/>
                  </a:cubicBezTo>
                  <a:cubicBezTo>
                    <a:pt x="4238" y="38121"/>
                    <a:pt x="2642" y="36383"/>
                    <a:pt x="1574" y="34330"/>
                  </a:cubicBezTo>
                  <a:cubicBezTo>
                    <a:pt x="518" y="32041"/>
                    <a:pt x="-22" y="29551"/>
                    <a:pt x="1" y="27039"/>
                  </a:cubicBezTo>
                  <a:cubicBezTo>
                    <a:pt x="-11" y="24526"/>
                    <a:pt x="529" y="22036"/>
                    <a:pt x="1574" y="19748"/>
                  </a:cubicBezTo>
                  <a:cubicBezTo>
                    <a:pt x="2642" y="17695"/>
                    <a:pt x="4238" y="15956"/>
                    <a:pt x="6182" y="14700"/>
                  </a:cubicBezTo>
                  <a:cubicBezTo>
                    <a:pt x="9879" y="12333"/>
                    <a:pt x="14622" y="12333"/>
                    <a:pt x="18320" y="14700"/>
                  </a:cubicBezTo>
                  <a:cubicBezTo>
                    <a:pt x="19994" y="15676"/>
                    <a:pt x="21388" y="17067"/>
                    <a:pt x="22366" y="18738"/>
                  </a:cubicBezTo>
                  <a:lnTo>
                    <a:pt x="22366" y="1688"/>
                  </a:lnTo>
                  <a:cubicBezTo>
                    <a:pt x="22197" y="1330"/>
                    <a:pt x="22197" y="926"/>
                    <a:pt x="22366" y="567"/>
                  </a:cubicBezTo>
                  <a:cubicBezTo>
                    <a:pt x="22624" y="208"/>
                    <a:pt x="23040" y="-5"/>
                    <a:pt x="23490" y="6"/>
                  </a:cubicBezTo>
                  <a:cubicBezTo>
                    <a:pt x="23894" y="-28"/>
                    <a:pt x="24299" y="84"/>
                    <a:pt x="24613" y="342"/>
                  </a:cubicBezTo>
                  <a:close/>
                  <a:moveTo>
                    <a:pt x="17308" y="36797"/>
                  </a:moveTo>
                  <a:cubicBezTo>
                    <a:pt x="18893" y="35878"/>
                    <a:pt x="20118" y="34453"/>
                    <a:pt x="20792" y="32760"/>
                  </a:cubicBezTo>
                  <a:cubicBezTo>
                    <a:pt x="22366" y="29181"/>
                    <a:pt x="22366" y="25121"/>
                    <a:pt x="20792" y="21543"/>
                  </a:cubicBezTo>
                  <a:cubicBezTo>
                    <a:pt x="20050" y="19882"/>
                    <a:pt x="18837" y="18480"/>
                    <a:pt x="17308" y="17504"/>
                  </a:cubicBezTo>
                  <a:cubicBezTo>
                    <a:pt x="15859" y="16506"/>
                    <a:pt x="14128" y="16001"/>
                    <a:pt x="12363" y="16046"/>
                  </a:cubicBezTo>
                  <a:cubicBezTo>
                    <a:pt x="10599" y="16012"/>
                    <a:pt x="8879" y="16517"/>
                    <a:pt x="7418" y="17504"/>
                  </a:cubicBezTo>
                  <a:cubicBezTo>
                    <a:pt x="5912" y="18514"/>
                    <a:pt x="4710" y="19905"/>
                    <a:pt x="3934" y="21543"/>
                  </a:cubicBezTo>
                  <a:cubicBezTo>
                    <a:pt x="2361" y="25121"/>
                    <a:pt x="2361" y="29181"/>
                    <a:pt x="3934" y="32760"/>
                  </a:cubicBezTo>
                  <a:cubicBezTo>
                    <a:pt x="4710" y="34397"/>
                    <a:pt x="5912" y="35788"/>
                    <a:pt x="7418" y="36797"/>
                  </a:cubicBezTo>
                  <a:cubicBezTo>
                    <a:pt x="8879" y="37785"/>
                    <a:pt x="10599" y="38289"/>
                    <a:pt x="12363" y="38256"/>
                  </a:cubicBezTo>
                  <a:cubicBezTo>
                    <a:pt x="14117" y="38458"/>
                    <a:pt x="15881" y="38110"/>
                    <a:pt x="17421" y="37246"/>
                  </a:cubicBezTo>
                  <a:close/>
                </a:path>
              </a:pathLst>
            </a:custGeom>
            <a:solidFill>
              <a:srgbClr val="000000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0" name="Freeform 319">
              <a:extLst>
                <a:ext uri="{FF2B5EF4-FFF2-40B4-BE49-F238E27FC236}">
                  <a16:creationId xmlns:a16="http://schemas.microsoft.com/office/drawing/2014/main" id="{4E4F7DC8-46D3-604D-86C9-76F1C0BB2E41}"/>
                </a:ext>
              </a:extLst>
            </p:cNvPr>
            <p:cNvSpPr/>
            <p:nvPr/>
          </p:nvSpPr>
          <p:spPr>
            <a:xfrm>
              <a:off x="6872634" y="5328273"/>
              <a:ext cx="2807" cy="27027"/>
            </a:xfrm>
            <a:custGeom>
              <a:avLst/>
              <a:gdLst>
                <a:gd name="connsiteX0" fmla="*/ 2357 w 2807"/>
                <a:gd name="connsiteY0" fmla="*/ 26935 h 27027"/>
                <a:gd name="connsiteX1" fmla="*/ 1234 w 2807"/>
                <a:gd name="connsiteY1" fmla="*/ 26935 h 27027"/>
                <a:gd name="connsiteX2" fmla="*/ 110 w 2807"/>
                <a:gd name="connsiteY2" fmla="*/ 26935 h 27027"/>
                <a:gd name="connsiteX3" fmla="*/ 110 w 2807"/>
                <a:gd name="connsiteY3" fmla="*/ 25813 h 27027"/>
                <a:gd name="connsiteX4" fmla="*/ 110 w 2807"/>
                <a:gd name="connsiteY4" fmla="*/ 1248 h 27027"/>
                <a:gd name="connsiteX5" fmla="*/ 110 w 2807"/>
                <a:gd name="connsiteY5" fmla="*/ 126 h 27027"/>
                <a:gd name="connsiteX6" fmla="*/ 1234 w 2807"/>
                <a:gd name="connsiteY6" fmla="*/ 126 h 27027"/>
                <a:gd name="connsiteX7" fmla="*/ 2807 w 2807"/>
                <a:gd name="connsiteY7" fmla="*/ 1697 h 27027"/>
                <a:gd name="connsiteX8" fmla="*/ 2807 w 2807"/>
                <a:gd name="connsiteY8" fmla="*/ 26262 h 27027"/>
                <a:gd name="connsiteX9" fmla="*/ 2357 w 2807"/>
                <a:gd name="connsiteY9" fmla="*/ 26935 h 27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07" h="27027">
                  <a:moveTo>
                    <a:pt x="2357" y="26935"/>
                  </a:moveTo>
                  <a:cubicBezTo>
                    <a:pt x="1987" y="27036"/>
                    <a:pt x="1605" y="27036"/>
                    <a:pt x="1234" y="26935"/>
                  </a:cubicBezTo>
                  <a:cubicBezTo>
                    <a:pt x="874" y="27058"/>
                    <a:pt x="469" y="27058"/>
                    <a:pt x="110" y="26935"/>
                  </a:cubicBezTo>
                  <a:cubicBezTo>
                    <a:pt x="-37" y="26576"/>
                    <a:pt x="-37" y="26172"/>
                    <a:pt x="110" y="25813"/>
                  </a:cubicBezTo>
                  <a:lnTo>
                    <a:pt x="110" y="1248"/>
                  </a:lnTo>
                  <a:cubicBezTo>
                    <a:pt x="-37" y="889"/>
                    <a:pt x="-37" y="485"/>
                    <a:pt x="110" y="126"/>
                  </a:cubicBezTo>
                  <a:cubicBezTo>
                    <a:pt x="469" y="-42"/>
                    <a:pt x="874" y="-42"/>
                    <a:pt x="1234" y="126"/>
                  </a:cubicBezTo>
                  <a:cubicBezTo>
                    <a:pt x="2099" y="126"/>
                    <a:pt x="2807" y="833"/>
                    <a:pt x="2807" y="1697"/>
                  </a:cubicBezTo>
                  <a:lnTo>
                    <a:pt x="2807" y="26262"/>
                  </a:lnTo>
                  <a:cubicBezTo>
                    <a:pt x="2728" y="26520"/>
                    <a:pt x="2571" y="26755"/>
                    <a:pt x="2357" y="26935"/>
                  </a:cubicBezTo>
                  <a:close/>
                </a:path>
              </a:pathLst>
            </a:custGeom>
            <a:solidFill>
              <a:srgbClr val="FF4200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1" name="Freeform 320">
              <a:extLst>
                <a:ext uri="{FF2B5EF4-FFF2-40B4-BE49-F238E27FC236}">
                  <a16:creationId xmlns:a16="http://schemas.microsoft.com/office/drawing/2014/main" id="{BC5F3EFA-235E-D146-B225-E0B0EA548444}"/>
                </a:ext>
              </a:extLst>
            </p:cNvPr>
            <p:cNvSpPr/>
            <p:nvPr/>
          </p:nvSpPr>
          <p:spPr>
            <a:xfrm>
              <a:off x="6872617" y="5315071"/>
              <a:ext cx="13705" cy="12781"/>
            </a:xfrm>
            <a:custGeom>
              <a:avLst/>
              <a:gdLst>
                <a:gd name="connsiteX0" fmla="*/ 13613 w 13705"/>
                <a:gd name="connsiteY0" fmla="*/ 1326 h 12781"/>
                <a:gd name="connsiteX1" fmla="*/ 13613 w 13705"/>
                <a:gd name="connsiteY1" fmla="*/ 92 h 12781"/>
                <a:gd name="connsiteX2" fmla="*/ 12489 w 13705"/>
                <a:gd name="connsiteY2" fmla="*/ 92 h 12781"/>
                <a:gd name="connsiteX3" fmla="*/ 1250 w 13705"/>
                <a:gd name="connsiteY3" fmla="*/ 92 h 12781"/>
                <a:gd name="connsiteX4" fmla="*/ 126 w 13705"/>
                <a:gd name="connsiteY4" fmla="*/ 92 h 12781"/>
                <a:gd name="connsiteX5" fmla="*/ 126 w 13705"/>
                <a:gd name="connsiteY5" fmla="*/ 1326 h 12781"/>
                <a:gd name="connsiteX6" fmla="*/ 126 w 13705"/>
                <a:gd name="connsiteY6" fmla="*/ 2448 h 12781"/>
                <a:gd name="connsiteX7" fmla="*/ 1250 w 13705"/>
                <a:gd name="connsiteY7" fmla="*/ 2448 h 12781"/>
                <a:gd name="connsiteX8" fmla="*/ 10691 w 13705"/>
                <a:gd name="connsiteY8" fmla="*/ 2448 h 12781"/>
                <a:gd name="connsiteX9" fmla="*/ 10691 w 13705"/>
                <a:gd name="connsiteY9" fmla="*/ 11534 h 12781"/>
                <a:gd name="connsiteX10" fmla="*/ 10691 w 13705"/>
                <a:gd name="connsiteY10" fmla="*/ 12655 h 12781"/>
                <a:gd name="connsiteX11" fmla="*/ 11927 w 13705"/>
                <a:gd name="connsiteY11" fmla="*/ 12655 h 12781"/>
                <a:gd name="connsiteX12" fmla="*/ 13051 w 13705"/>
                <a:gd name="connsiteY12" fmla="*/ 12655 h 12781"/>
                <a:gd name="connsiteX13" fmla="*/ 13051 w 13705"/>
                <a:gd name="connsiteY13" fmla="*/ 11534 h 12781"/>
                <a:gd name="connsiteX14" fmla="*/ 13051 w 13705"/>
                <a:gd name="connsiteY14" fmla="*/ 878 h 12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3705" h="12781">
                  <a:moveTo>
                    <a:pt x="13613" y="1326"/>
                  </a:moveTo>
                  <a:cubicBezTo>
                    <a:pt x="13736" y="923"/>
                    <a:pt x="13736" y="496"/>
                    <a:pt x="13613" y="92"/>
                  </a:cubicBezTo>
                  <a:cubicBezTo>
                    <a:pt x="13242" y="-9"/>
                    <a:pt x="12860" y="-9"/>
                    <a:pt x="12489" y="92"/>
                  </a:cubicBezTo>
                  <a:lnTo>
                    <a:pt x="1250" y="92"/>
                  </a:lnTo>
                  <a:cubicBezTo>
                    <a:pt x="891" y="-31"/>
                    <a:pt x="486" y="-31"/>
                    <a:pt x="126" y="92"/>
                  </a:cubicBezTo>
                  <a:cubicBezTo>
                    <a:pt x="-42" y="485"/>
                    <a:pt x="-42" y="934"/>
                    <a:pt x="126" y="1326"/>
                  </a:cubicBezTo>
                  <a:cubicBezTo>
                    <a:pt x="-8" y="1685"/>
                    <a:pt x="-8" y="2089"/>
                    <a:pt x="126" y="2448"/>
                  </a:cubicBezTo>
                  <a:cubicBezTo>
                    <a:pt x="486" y="2571"/>
                    <a:pt x="891" y="2571"/>
                    <a:pt x="1250" y="2448"/>
                  </a:cubicBezTo>
                  <a:lnTo>
                    <a:pt x="10691" y="2448"/>
                  </a:lnTo>
                  <a:lnTo>
                    <a:pt x="10691" y="11534"/>
                  </a:lnTo>
                  <a:cubicBezTo>
                    <a:pt x="10590" y="11904"/>
                    <a:pt x="10590" y="12285"/>
                    <a:pt x="10691" y="12655"/>
                  </a:cubicBezTo>
                  <a:cubicBezTo>
                    <a:pt x="11084" y="12824"/>
                    <a:pt x="11534" y="12824"/>
                    <a:pt x="11927" y="12655"/>
                  </a:cubicBezTo>
                  <a:cubicBezTo>
                    <a:pt x="12287" y="12801"/>
                    <a:pt x="12691" y="12801"/>
                    <a:pt x="13051" y="12655"/>
                  </a:cubicBezTo>
                  <a:cubicBezTo>
                    <a:pt x="13152" y="12285"/>
                    <a:pt x="13152" y="11904"/>
                    <a:pt x="13051" y="11534"/>
                  </a:cubicBezTo>
                  <a:lnTo>
                    <a:pt x="13051" y="878"/>
                  </a:lnTo>
                  <a:close/>
                </a:path>
              </a:pathLst>
            </a:custGeom>
            <a:solidFill>
              <a:srgbClr val="FF4200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2" name="Freeform 321">
              <a:extLst>
                <a:ext uri="{FF2B5EF4-FFF2-40B4-BE49-F238E27FC236}">
                  <a16:creationId xmlns:a16="http://schemas.microsoft.com/office/drawing/2014/main" id="{6C7A9B35-A964-D944-AC6C-8D4B94F9506F}"/>
                </a:ext>
              </a:extLst>
            </p:cNvPr>
            <p:cNvSpPr/>
            <p:nvPr/>
          </p:nvSpPr>
          <p:spPr>
            <a:xfrm>
              <a:off x="6884423" y="5327379"/>
              <a:ext cx="25414" cy="28390"/>
            </a:xfrm>
            <a:custGeom>
              <a:avLst/>
              <a:gdLst>
                <a:gd name="connsiteX0" fmla="*/ 24284 w 25414"/>
                <a:gd name="connsiteY0" fmla="*/ 14144 h 28390"/>
                <a:gd name="connsiteX1" fmla="*/ 23160 w 25414"/>
                <a:gd name="connsiteY1" fmla="*/ 14144 h 28390"/>
                <a:gd name="connsiteX2" fmla="*/ 3043 w 25414"/>
                <a:gd name="connsiteY2" fmla="*/ 14144 h 28390"/>
                <a:gd name="connsiteX3" fmla="*/ 4279 w 25414"/>
                <a:gd name="connsiteY3" fmla="*/ 19865 h 28390"/>
                <a:gd name="connsiteX4" fmla="*/ 8100 w 25414"/>
                <a:gd name="connsiteY4" fmla="*/ 23903 h 28390"/>
                <a:gd name="connsiteX5" fmla="*/ 13832 w 25414"/>
                <a:gd name="connsiteY5" fmla="*/ 25361 h 28390"/>
                <a:gd name="connsiteX6" fmla="*/ 18440 w 25414"/>
                <a:gd name="connsiteY6" fmla="*/ 24239 h 28390"/>
                <a:gd name="connsiteX7" fmla="*/ 21587 w 25414"/>
                <a:gd name="connsiteY7" fmla="*/ 21548 h 28390"/>
                <a:gd name="connsiteX8" fmla="*/ 22711 w 25414"/>
                <a:gd name="connsiteY8" fmla="*/ 21548 h 28390"/>
                <a:gd name="connsiteX9" fmla="*/ 23722 w 25414"/>
                <a:gd name="connsiteY9" fmla="*/ 21548 h 28390"/>
                <a:gd name="connsiteX10" fmla="*/ 23722 w 25414"/>
                <a:gd name="connsiteY10" fmla="*/ 22445 h 28390"/>
                <a:gd name="connsiteX11" fmla="*/ 23722 w 25414"/>
                <a:gd name="connsiteY11" fmla="*/ 23566 h 28390"/>
                <a:gd name="connsiteX12" fmla="*/ 19452 w 25414"/>
                <a:gd name="connsiteY12" fmla="*/ 27044 h 28390"/>
                <a:gd name="connsiteX13" fmla="*/ 13944 w 25414"/>
                <a:gd name="connsiteY13" fmla="*/ 28390 h 28390"/>
                <a:gd name="connsiteX14" fmla="*/ 6752 w 25414"/>
                <a:gd name="connsiteY14" fmla="*/ 26595 h 28390"/>
                <a:gd name="connsiteX15" fmla="*/ 1807 w 25414"/>
                <a:gd name="connsiteY15" fmla="*/ 21659 h 28390"/>
                <a:gd name="connsiteX16" fmla="*/ 9 w 25414"/>
                <a:gd name="connsiteY16" fmla="*/ 14368 h 28390"/>
                <a:gd name="connsiteX17" fmla="*/ 1807 w 25414"/>
                <a:gd name="connsiteY17" fmla="*/ 6741 h 28390"/>
                <a:gd name="connsiteX18" fmla="*/ 13046 w 25414"/>
                <a:gd name="connsiteY18" fmla="*/ 11 h 28390"/>
                <a:gd name="connsiteX19" fmla="*/ 19115 w 25414"/>
                <a:gd name="connsiteY19" fmla="*/ 1469 h 28390"/>
                <a:gd name="connsiteX20" fmla="*/ 25408 w 25414"/>
                <a:gd name="connsiteY20" fmla="*/ 12686 h 28390"/>
                <a:gd name="connsiteX21" fmla="*/ 24284 w 25414"/>
                <a:gd name="connsiteY21" fmla="*/ 14144 h 28390"/>
                <a:gd name="connsiteX22" fmla="*/ 6639 w 25414"/>
                <a:gd name="connsiteY22" fmla="*/ 5619 h 28390"/>
                <a:gd name="connsiteX23" fmla="*/ 3268 w 25414"/>
                <a:gd name="connsiteY23" fmla="*/ 11789 h 28390"/>
                <a:gd name="connsiteX24" fmla="*/ 21475 w 25414"/>
                <a:gd name="connsiteY24" fmla="*/ 11789 h 28390"/>
                <a:gd name="connsiteX25" fmla="*/ 21475 w 25414"/>
                <a:gd name="connsiteY25" fmla="*/ 11789 h 28390"/>
                <a:gd name="connsiteX26" fmla="*/ 19901 w 25414"/>
                <a:gd name="connsiteY26" fmla="*/ 7638 h 28390"/>
                <a:gd name="connsiteX27" fmla="*/ 16529 w 25414"/>
                <a:gd name="connsiteY27" fmla="*/ 4834 h 28390"/>
                <a:gd name="connsiteX28" fmla="*/ 12371 w 25414"/>
                <a:gd name="connsiteY28" fmla="*/ 3937 h 28390"/>
                <a:gd name="connsiteX29" fmla="*/ 6977 w 25414"/>
                <a:gd name="connsiteY29" fmla="*/ 5619 h 28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5414" h="28390">
                  <a:moveTo>
                    <a:pt x="24284" y="14144"/>
                  </a:moveTo>
                  <a:cubicBezTo>
                    <a:pt x="23924" y="14290"/>
                    <a:pt x="23520" y="14290"/>
                    <a:pt x="23160" y="14144"/>
                  </a:cubicBezTo>
                  <a:lnTo>
                    <a:pt x="3043" y="14144"/>
                  </a:lnTo>
                  <a:cubicBezTo>
                    <a:pt x="3021" y="16118"/>
                    <a:pt x="3448" y="18070"/>
                    <a:pt x="4279" y="19865"/>
                  </a:cubicBezTo>
                  <a:cubicBezTo>
                    <a:pt x="5145" y="21536"/>
                    <a:pt x="6471" y="22938"/>
                    <a:pt x="8100" y="23903"/>
                  </a:cubicBezTo>
                  <a:cubicBezTo>
                    <a:pt x="9831" y="24935"/>
                    <a:pt x="11820" y="25440"/>
                    <a:pt x="13832" y="25361"/>
                  </a:cubicBezTo>
                  <a:cubicBezTo>
                    <a:pt x="15439" y="25395"/>
                    <a:pt x="17024" y="25002"/>
                    <a:pt x="18440" y="24239"/>
                  </a:cubicBezTo>
                  <a:cubicBezTo>
                    <a:pt x="19699" y="23623"/>
                    <a:pt x="20789" y="22703"/>
                    <a:pt x="21587" y="21548"/>
                  </a:cubicBezTo>
                  <a:cubicBezTo>
                    <a:pt x="21946" y="21424"/>
                    <a:pt x="22351" y="21424"/>
                    <a:pt x="22711" y="21548"/>
                  </a:cubicBezTo>
                  <a:cubicBezTo>
                    <a:pt x="23037" y="21402"/>
                    <a:pt x="23396" y="21402"/>
                    <a:pt x="23722" y="21548"/>
                  </a:cubicBezTo>
                  <a:cubicBezTo>
                    <a:pt x="23857" y="21828"/>
                    <a:pt x="23857" y="22164"/>
                    <a:pt x="23722" y="22445"/>
                  </a:cubicBezTo>
                  <a:cubicBezTo>
                    <a:pt x="23857" y="22804"/>
                    <a:pt x="23857" y="23207"/>
                    <a:pt x="23722" y="23566"/>
                  </a:cubicBezTo>
                  <a:cubicBezTo>
                    <a:pt x="22565" y="25013"/>
                    <a:pt x="21104" y="26202"/>
                    <a:pt x="19452" y="27044"/>
                  </a:cubicBezTo>
                  <a:cubicBezTo>
                    <a:pt x="17755" y="27919"/>
                    <a:pt x="15867" y="28390"/>
                    <a:pt x="13944" y="28390"/>
                  </a:cubicBezTo>
                  <a:cubicBezTo>
                    <a:pt x="11438" y="28412"/>
                    <a:pt x="8954" y="27795"/>
                    <a:pt x="6752" y="26595"/>
                  </a:cubicBezTo>
                  <a:cubicBezTo>
                    <a:pt x="4661" y="25462"/>
                    <a:pt x="2942" y="23746"/>
                    <a:pt x="1807" y="21659"/>
                  </a:cubicBezTo>
                  <a:cubicBezTo>
                    <a:pt x="571" y="19428"/>
                    <a:pt x="-48" y="16915"/>
                    <a:pt x="9" y="14368"/>
                  </a:cubicBezTo>
                  <a:cubicBezTo>
                    <a:pt x="-81" y="11710"/>
                    <a:pt x="537" y="9085"/>
                    <a:pt x="1807" y="6741"/>
                  </a:cubicBezTo>
                  <a:cubicBezTo>
                    <a:pt x="3864" y="2456"/>
                    <a:pt x="8291" y="-191"/>
                    <a:pt x="13046" y="11"/>
                  </a:cubicBezTo>
                  <a:cubicBezTo>
                    <a:pt x="15158" y="-11"/>
                    <a:pt x="17249" y="482"/>
                    <a:pt x="19115" y="1469"/>
                  </a:cubicBezTo>
                  <a:cubicBezTo>
                    <a:pt x="23138" y="3757"/>
                    <a:pt x="25554" y="8076"/>
                    <a:pt x="25408" y="12686"/>
                  </a:cubicBezTo>
                  <a:cubicBezTo>
                    <a:pt x="25475" y="13393"/>
                    <a:pt x="24981" y="14032"/>
                    <a:pt x="24284" y="14144"/>
                  </a:cubicBezTo>
                  <a:close/>
                  <a:moveTo>
                    <a:pt x="6639" y="5619"/>
                  </a:moveTo>
                  <a:cubicBezTo>
                    <a:pt x="4886" y="7257"/>
                    <a:pt x="3695" y="9422"/>
                    <a:pt x="3268" y="11789"/>
                  </a:cubicBezTo>
                  <a:lnTo>
                    <a:pt x="21475" y="11789"/>
                  </a:lnTo>
                  <a:lnTo>
                    <a:pt x="21475" y="11789"/>
                  </a:lnTo>
                  <a:cubicBezTo>
                    <a:pt x="21328" y="10286"/>
                    <a:pt x="20789" y="8861"/>
                    <a:pt x="19901" y="7638"/>
                  </a:cubicBezTo>
                  <a:cubicBezTo>
                    <a:pt x="19025" y="6438"/>
                    <a:pt x="17867" y="5485"/>
                    <a:pt x="16529" y="4834"/>
                  </a:cubicBezTo>
                  <a:cubicBezTo>
                    <a:pt x="15215" y="4273"/>
                    <a:pt x="13798" y="3970"/>
                    <a:pt x="12371" y="3937"/>
                  </a:cubicBezTo>
                  <a:cubicBezTo>
                    <a:pt x="10438" y="3892"/>
                    <a:pt x="8539" y="4487"/>
                    <a:pt x="6977" y="5619"/>
                  </a:cubicBezTo>
                  <a:close/>
                </a:path>
              </a:pathLst>
            </a:custGeom>
            <a:solidFill>
              <a:srgbClr val="000000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3" name="Freeform 322">
              <a:extLst>
                <a:ext uri="{FF2B5EF4-FFF2-40B4-BE49-F238E27FC236}">
                  <a16:creationId xmlns:a16="http://schemas.microsoft.com/office/drawing/2014/main" id="{4402E98B-B10F-2A46-A6AE-42DDCEE87A28}"/>
                </a:ext>
              </a:extLst>
            </p:cNvPr>
            <p:cNvSpPr/>
            <p:nvPr/>
          </p:nvSpPr>
          <p:spPr>
            <a:xfrm>
              <a:off x="6917381" y="5328249"/>
              <a:ext cx="21331" cy="27500"/>
            </a:xfrm>
            <a:custGeom>
              <a:avLst/>
              <a:gdLst>
                <a:gd name="connsiteX0" fmla="*/ 18861 w 21331"/>
                <a:gd name="connsiteY0" fmla="*/ 2394 h 27500"/>
                <a:gd name="connsiteX1" fmla="*/ 21221 w 21331"/>
                <a:gd name="connsiteY1" fmla="*/ 10133 h 27500"/>
                <a:gd name="connsiteX2" fmla="*/ 21221 w 21331"/>
                <a:gd name="connsiteY2" fmla="*/ 25837 h 27500"/>
                <a:gd name="connsiteX3" fmla="*/ 21221 w 21331"/>
                <a:gd name="connsiteY3" fmla="*/ 26959 h 27500"/>
                <a:gd name="connsiteX4" fmla="*/ 20097 w 21331"/>
                <a:gd name="connsiteY4" fmla="*/ 26959 h 27500"/>
                <a:gd name="connsiteX5" fmla="*/ 18974 w 21331"/>
                <a:gd name="connsiteY5" fmla="*/ 26959 h 27500"/>
                <a:gd name="connsiteX6" fmla="*/ 18974 w 21331"/>
                <a:gd name="connsiteY6" fmla="*/ 25837 h 27500"/>
                <a:gd name="connsiteX7" fmla="*/ 18974 w 21331"/>
                <a:gd name="connsiteY7" fmla="*/ 10245 h 27500"/>
                <a:gd name="connsiteX8" fmla="*/ 17175 w 21331"/>
                <a:gd name="connsiteY8" fmla="*/ 4637 h 27500"/>
                <a:gd name="connsiteX9" fmla="*/ 11893 w 21331"/>
                <a:gd name="connsiteY9" fmla="*/ 2506 h 27500"/>
                <a:gd name="connsiteX10" fmla="*/ 7510 w 21331"/>
                <a:gd name="connsiteY10" fmla="*/ 3627 h 27500"/>
                <a:gd name="connsiteX11" fmla="*/ 4139 w 21331"/>
                <a:gd name="connsiteY11" fmla="*/ 6432 h 27500"/>
                <a:gd name="connsiteX12" fmla="*/ 2902 w 21331"/>
                <a:gd name="connsiteY12" fmla="*/ 10245 h 27500"/>
                <a:gd name="connsiteX13" fmla="*/ 2902 w 21331"/>
                <a:gd name="connsiteY13" fmla="*/ 25837 h 27500"/>
                <a:gd name="connsiteX14" fmla="*/ 1329 w 21331"/>
                <a:gd name="connsiteY14" fmla="*/ 27408 h 27500"/>
                <a:gd name="connsiteX15" fmla="*/ 93 w 21331"/>
                <a:gd name="connsiteY15" fmla="*/ 27408 h 27500"/>
                <a:gd name="connsiteX16" fmla="*/ 93 w 21331"/>
                <a:gd name="connsiteY16" fmla="*/ 26286 h 27500"/>
                <a:gd name="connsiteX17" fmla="*/ 93 w 21331"/>
                <a:gd name="connsiteY17" fmla="*/ 2394 h 27500"/>
                <a:gd name="connsiteX18" fmla="*/ 93 w 21331"/>
                <a:gd name="connsiteY18" fmla="*/ 1272 h 27500"/>
                <a:gd name="connsiteX19" fmla="*/ 1329 w 21331"/>
                <a:gd name="connsiteY19" fmla="*/ 1272 h 27500"/>
                <a:gd name="connsiteX20" fmla="*/ 2453 w 21331"/>
                <a:gd name="connsiteY20" fmla="*/ 1272 h 27500"/>
                <a:gd name="connsiteX21" fmla="*/ 2453 w 21331"/>
                <a:gd name="connsiteY21" fmla="*/ 2394 h 27500"/>
                <a:gd name="connsiteX22" fmla="*/ 2453 w 21331"/>
                <a:gd name="connsiteY22" fmla="*/ 5310 h 27500"/>
                <a:gd name="connsiteX23" fmla="*/ 6611 w 21331"/>
                <a:gd name="connsiteY23" fmla="*/ 1496 h 27500"/>
                <a:gd name="connsiteX24" fmla="*/ 12118 w 21331"/>
                <a:gd name="connsiteY24" fmla="*/ 38 h 27500"/>
                <a:gd name="connsiteX25" fmla="*/ 18861 w 21331"/>
                <a:gd name="connsiteY25" fmla="*/ 2394 h 2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31" h="27500">
                  <a:moveTo>
                    <a:pt x="18861" y="2394"/>
                  </a:moveTo>
                  <a:cubicBezTo>
                    <a:pt x="20502" y="4626"/>
                    <a:pt x="21334" y="7363"/>
                    <a:pt x="21221" y="10133"/>
                  </a:cubicBezTo>
                  <a:lnTo>
                    <a:pt x="21221" y="25837"/>
                  </a:lnTo>
                  <a:cubicBezTo>
                    <a:pt x="21368" y="26196"/>
                    <a:pt x="21368" y="26600"/>
                    <a:pt x="21221" y="26959"/>
                  </a:cubicBezTo>
                  <a:cubicBezTo>
                    <a:pt x="20851" y="27060"/>
                    <a:pt x="20468" y="27060"/>
                    <a:pt x="20097" y="26959"/>
                  </a:cubicBezTo>
                  <a:cubicBezTo>
                    <a:pt x="19738" y="27082"/>
                    <a:pt x="19333" y="27082"/>
                    <a:pt x="18974" y="26959"/>
                  </a:cubicBezTo>
                  <a:cubicBezTo>
                    <a:pt x="18827" y="26600"/>
                    <a:pt x="18827" y="26196"/>
                    <a:pt x="18974" y="25837"/>
                  </a:cubicBezTo>
                  <a:lnTo>
                    <a:pt x="18974" y="10245"/>
                  </a:lnTo>
                  <a:cubicBezTo>
                    <a:pt x="19075" y="8215"/>
                    <a:pt x="18434" y="6230"/>
                    <a:pt x="17175" y="4637"/>
                  </a:cubicBezTo>
                  <a:cubicBezTo>
                    <a:pt x="15827" y="3168"/>
                    <a:pt x="13882" y="2382"/>
                    <a:pt x="11893" y="2506"/>
                  </a:cubicBezTo>
                  <a:cubicBezTo>
                    <a:pt x="10353" y="2483"/>
                    <a:pt x="8847" y="2865"/>
                    <a:pt x="7510" y="3627"/>
                  </a:cubicBezTo>
                  <a:cubicBezTo>
                    <a:pt x="6173" y="4278"/>
                    <a:pt x="5015" y="5231"/>
                    <a:pt x="4139" y="6432"/>
                  </a:cubicBezTo>
                  <a:cubicBezTo>
                    <a:pt x="3363" y="7553"/>
                    <a:pt x="2936" y="8877"/>
                    <a:pt x="2902" y="10245"/>
                  </a:cubicBezTo>
                  <a:lnTo>
                    <a:pt x="2902" y="25837"/>
                  </a:lnTo>
                  <a:cubicBezTo>
                    <a:pt x="2902" y="26701"/>
                    <a:pt x="2194" y="27408"/>
                    <a:pt x="1329" y="27408"/>
                  </a:cubicBezTo>
                  <a:cubicBezTo>
                    <a:pt x="924" y="27531"/>
                    <a:pt x="497" y="27531"/>
                    <a:pt x="93" y="27408"/>
                  </a:cubicBezTo>
                  <a:cubicBezTo>
                    <a:pt x="-9" y="27037"/>
                    <a:pt x="-9" y="26656"/>
                    <a:pt x="93" y="26286"/>
                  </a:cubicBezTo>
                  <a:lnTo>
                    <a:pt x="93" y="2394"/>
                  </a:lnTo>
                  <a:cubicBezTo>
                    <a:pt x="-31" y="2035"/>
                    <a:pt x="-31" y="1631"/>
                    <a:pt x="93" y="1272"/>
                  </a:cubicBezTo>
                  <a:cubicBezTo>
                    <a:pt x="486" y="1104"/>
                    <a:pt x="936" y="1104"/>
                    <a:pt x="1329" y="1272"/>
                  </a:cubicBezTo>
                  <a:cubicBezTo>
                    <a:pt x="1688" y="1126"/>
                    <a:pt x="2093" y="1126"/>
                    <a:pt x="2453" y="1272"/>
                  </a:cubicBezTo>
                  <a:cubicBezTo>
                    <a:pt x="2576" y="1631"/>
                    <a:pt x="2576" y="2035"/>
                    <a:pt x="2453" y="2394"/>
                  </a:cubicBezTo>
                  <a:lnTo>
                    <a:pt x="2453" y="5310"/>
                  </a:lnTo>
                  <a:cubicBezTo>
                    <a:pt x="3464" y="3684"/>
                    <a:pt x="4903" y="2371"/>
                    <a:pt x="6611" y="1496"/>
                  </a:cubicBezTo>
                  <a:cubicBezTo>
                    <a:pt x="8286" y="543"/>
                    <a:pt x="10185" y="49"/>
                    <a:pt x="12118" y="38"/>
                  </a:cubicBezTo>
                  <a:cubicBezTo>
                    <a:pt x="14602" y="-198"/>
                    <a:pt x="17063" y="666"/>
                    <a:pt x="18861" y="2394"/>
                  </a:cubicBezTo>
                  <a:close/>
                </a:path>
              </a:pathLst>
            </a:custGeom>
            <a:solidFill>
              <a:srgbClr val="000000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4" name="Freeform 323">
              <a:extLst>
                <a:ext uri="{FF2B5EF4-FFF2-40B4-BE49-F238E27FC236}">
                  <a16:creationId xmlns:a16="http://schemas.microsoft.com/office/drawing/2014/main" id="{88D892F7-D9B5-D149-8554-42AD2465FA3B}"/>
                </a:ext>
              </a:extLst>
            </p:cNvPr>
            <p:cNvSpPr/>
            <p:nvPr/>
          </p:nvSpPr>
          <p:spPr>
            <a:xfrm>
              <a:off x="6943255" y="5322026"/>
              <a:ext cx="13975" cy="33603"/>
            </a:xfrm>
            <a:custGeom>
              <a:avLst/>
              <a:gdLst>
                <a:gd name="connsiteX0" fmla="*/ 9059 w 13975"/>
                <a:gd name="connsiteY0" fmla="*/ 9515 h 33603"/>
                <a:gd name="connsiteX1" fmla="*/ 9059 w 13975"/>
                <a:gd name="connsiteY1" fmla="*/ 27350 h 33603"/>
                <a:gd name="connsiteX2" fmla="*/ 9845 w 13975"/>
                <a:gd name="connsiteY2" fmla="*/ 30042 h 33603"/>
                <a:gd name="connsiteX3" fmla="*/ 11419 w 13975"/>
                <a:gd name="connsiteY3" fmla="*/ 30827 h 33603"/>
                <a:gd name="connsiteX4" fmla="*/ 12318 w 13975"/>
                <a:gd name="connsiteY4" fmla="*/ 30827 h 33603"/>
                <a:gd name="connsiteX5" fmla="*/ 12992 w 13975"/>
                <a:gd name="connsiteY5" fmla="*/ 30827 h 33603"/>
                <a:gd name="connsiteX6" fmla="*/ 13891 w 13975"/>
                <a:gd name="connsiteY6" fmla="*/ 30827 h 33603"/>
                <a:gd name="connsiteX7" fmla="*/ 13891 w 13975"/>
                <a:gd name="connsiteY7" fmla="*/ 31724 h 33603"/>
                <a:gd name="connsiteX8" fmla="*/ 12992 w 13975"/>
                <a:gd name="connsiteY8" fmla="*/ 32958 h 33603"/>
                <a:gd name="connsiteX9" fmla="*/ 10969 w 13975"/>
                <a:gd name="connsiteY9" fmla="*/ 33519 h 33603"/>
                <a:gd name="connsiteX10" fmla="*/ 8721 w 13975"/>
                <a:gd name="connsiteY10" fmla="*/ 33519 h 33603"/>
                <a:gd name="connsiteX11" fmla="*/ 6586 w 13975"/>
                <a:gd name="connsiteY11" fmla="*/ 31949 h 33603"/>
                <a:gd name="connsiteX12" fmla="*/ 5575 w 13975"/>
                <a:gd name="connsiteY12" fmla="*/ 27686 h 33603"/>
                <a:gd name="connsiteX13" fmla="*/ 5575 w 13975"/>
                <a:gd name="connsiteY13" fmla="*/ 9739 h 33603"/>
                <a:gd name="connsiteX14" fmla="*/ 1641 w 13975"/>
                <a:gd name="connsiteY14" fmla="*/ 9739 h 33603"/>
                <a:gd name="connsiteX15" fmla="*/ 67 w 13975"/>
                <a:gd name="connsiteY15" fmla="*/ 8169 h 33603"/>
                <a:gd name="connsiteX16" fmla="*/ 67 w 13975"/>
                <a:gd name="connsiteY16" fmla="*/ 7159 h 33603"/>
                <a:gd name="connsiteX17" fmla="*/ 1191 w 13975"/>
                <a:gd name="connsiteY17" fmla="*/ 7159 h 33603"/>
                <a:gd name="connsiteX18" fmla="*/ 5125 w 13975"/>
                <a:gd name="connsiteY18" fmla="*/ 7159 h 33603"/>
                <a:gd name="connsiteX19" fmla="*/ 5125 w 13975"/>
                <a:gd name="connsiteY19" fmla="*/ 1214 h 33603"/>
                <a:gd name="connsiteX20" fmla="*/ 5125 w 13975"/>
                <a:gd name="connsiteY20" fmla="*/ 92 h 33603"/>
                <a:gd name="connsiteX21" fmla="*/ 6249 w 13975"/>
                <a:gd name="connsiteY21" fmla="*/ 92 h 33603"/>
                <a:gd name="connsiteX22" fmla="*/ 7373 w 13975"/>
                <a:gd name="connsiteY22" fmla="*/ 92 h 33603"/>
                <a:gd name="connsiteX23" fmla="*/ 7373 w 13975"/>
                <a:gd name="connsiteY23" fmla="*/ 1214 h 33603"/>
                <a:gd name="connsiteX24" fmla="*/ 7373 w 13975"/>
                <a:gd name="connsiteY24" fmla="*/ 7159 h 33603"/>
                <a:gd name="connsiteX25" fmla="*/ 11081 w 13975"/>
                <a:gd name="connsiteY25" fmla="*/ 7159 h 33603"/>
                <a:gd name="connsiteX26" fmla="*/ 12093 w 13975"/>
                <a:gd name="connsiteY26" fmla="*/ 7159 h 33603"/>
                <a:gd name="connsiteX27" fmla="*/ 12093 w 13975"/>
                <a:gd name="connsiteY27" fmla="*/ 8281 h 33603"/>
                <a:gd name="connsiteX28" fmla="*/ 12093 w 13975"/>
                <a:gd name="connsiteY28" fmla="*/ 9290 h 33603"/>
                <a:gd name="connsiteX29" fmla="*/ 11081 w 13975"/>
                <a:gd name="connsiteY29" fmla="*/ 9290 h 33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3975" h="33603">
                  <a:moveTo>
                    <a:pt x="9059" y="9515"/>
                  </a:moveTo>
                  <a:lnTo>
                    <a:pt x="9059" y="27350"/>
                  </a:lnTo>
                  <a:cubicBezTo>
                    <a:pt x="8912" y="28314"/>
                    <a:pt x="9205" y="29301"/>
                    <a:pt x="9845" y="30042"/>
                  </a:cubicBezTo>
                  <a:cubicBezTo>
                    <a:pt x="10216" y="30546"/>
                    <a:pt x="10801" y="30838"/>
                    <a:pt x="11419" y="30827"/>
                  </a:cubicBezTo>
                  <a:lnTo>
                    <a:pt x="12318" y="30827"/>
                  </a:lnTo>
                  <a:lnTo>
                    <a:pt x="12992" y="30827"/>
                  </a:lnTo>
                  <a:cubicBezTo>
                    <a:pt x="13273" y="30692"/>
                    <a:pt x="13610" y="30692"/>
                    <a:pt x="13891" y="30827"/>
                  </a:cubicBezTo>
                  <a:cubicBezTo>
                    <a:pt x="14004" y="31118"/>
                    <a:pt x="14004" y="31433"/>
                    <a:pt x="13891" y="31724"/>
                  </a:cubicBezTo>
                  <a:cubicBezTo>
                    <a:pt x="13891" y="31724"/>
                    <a:pt x="13891" y="32622"/>
                    <a:pt x="12992" y="32958"/>
                  </a:cubicBezTo>
                  <a:cubicBezTo>
                    <a:pt x="12385" y="33328"/>
                    <a:pt x="11677" y="33519"/>
                    <a:pt x="10969" y="33519"/>
                  </a:cubicBezTo>
                  <a:cubicBezTo>
                    <a:pt x="10227" y="33631"/>
                    <a:pt x="9463" y="33631"/>
                    <a:pt x="8721" y="33519"/>
                  </a:cubicBezTo>
                  <a:cubicBezTo>
                    <a:pt x="7845" y="33272"/>
                    <a:pt x="7081" y="32712"/>
                    <a:pt x="6586" y="31949"/>
                  </a:cubicBezTo>
                  <a:cubicBezTo>
                    <a:pt x="5799" y="30670"/>
                    <a:pt x="5440" y="29178"/>
                    <a:pt x="5575" y="27686"/>
                  </a:cubicBezTo>
                  <a:lnTo>
                    <a:pt x="5575" y="9739"/>
                  </a:lnTo>
                  <a:lnTo>
                    <a:pt x="1641" y="9739"/>
                  </a:lnTo>
                  <a:cubicBezTo>
                    <a:pt x="776" y="9739"/>
                    <a:pt x="67" y="9032"/>
                    <a:pt x="67" y="8169"/>
                  </a:cubicBezTo>
                  <a:cubicBezTo>
                    <a:pt x="-22" y="7832"/>
                    <a:pt x="-22" y="7496"/>
                    <a:pt x="67" y="7159"/>
                  </a:cubicBezTo>
                  <a:cubicBezTo>
                    <a:pt x="427" y="7013"/>
                    <a:pt x="832" y="7013"/>
                    <a:pt x="1191" y="7159"/>
                  </a:cubicBezTo>
                  <a:lnTo>
                    <a:pt x="5125" y="7159"/>
                  </a:lnTo>
                  <a:lnTo>
                    <a:pt x="5125" y="1214"/>
                  </a:lnTo>
                  <a:cubicBezTo>
                    <a:pt x="4979" y="855"/>
                    <a:pt x="4979" y="452"/>
                    <a:pt x="5125" y="92"/>
                  </a:cubicBezTo>
                  <a:cubicBezTo>
                    <a:pt x="5485" y="-31"/>
                    <a:pt x="5889" y="-31"/>
                    <a:pt x="6249" y="92"/>
                  </a:cubicBezTo>
                  <a:cubicBezTo>
                    <a:pt x="6620" y="-9"/>
                    <a:pt x="7002" y="-9"/>
                    <a:pt x="7373" y="92"/>
                  </a:cubicBezTo>
                  <a:cubicBezTo>
                    <a:pt x="7519" y="452"/>
                    <a:pt x="7519" y="855"/>
                    <a:pt x="7373" y="1214"/>
                  </a:cubicBezTo>
                  <a:lnTo>
                    <a:pt x="7373" y="7159"/>
                  </a:lnTo>
                  <a:lnTo>
                    <a:pt x="11081" y="7159"/>
                  </a:lnTo>
                  <a:cubicBezTo>
                    <a:pt x="11419" y="7069"/>
                    <a:pt x="11756" y="7069"/>
                    <a:pt x="12093" y="7159"/>
                  </a:cubicBezTo>
                  <a:cubicBezTo>
                    <a:pt x="12239" y="7518"/>
                    <a:pt x="12239" y="7922"/>
                    <a:pt x="12093" y="8281"/>
                  </a:cubicBezTo>
                  <a:cubicBezTo>
                    <a:pt x="12250" y="8595"/>
                    <a:pt x="12250" y="8976"/>
                    <a:pt x="12093" y="9290"/>
                  </a:cubicBezTo>
                  <a:cubicBezTo>
                    <a:pt x="11767" y="9436"/>
                    <a:pt x="11407" y="9436"/>
                    <a:pt x="11081" y="9290"/>
                  </a:cubicBezTo>
                  <a:close/>
                </a:path>
              </a:pathLst>
            </a:custGeom>
            <a:solidFill>
              <a:srgbClr val="000000"/>
            </a:solidFill>
            <a:ln w="112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327" name="Graphic 92">
            <a:extLst>
              <a:ext uri="{FF2B5EF4-FFF2-40B4-BE49-F238E27FC236}">
                <a16:creationId xmlns:a16="http://schemas.microsoft.com/office/drawing/2014/main" id="{D06C8B31-E96A-5B44-8C3C-FC8669E504E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22778" y="5131147"/>
            <a:ext cx="1389370" cy="1389370"/>
          </a:xfrm>
          <a:prstGeom prst="rect">
            <a:avLst/>
          </a:prstGeom>
        </p:spPr>
      </p:pic>
      <p:sp>
        <p:nvSpPr>
          <p:cNvPr id="49" name="Rectangle 48">
            <a:extLst>
              <a:ext uri="{FF2B5EF4-FFF2-40B4-BE49-F238E27FC236}">
                <a16:creationId xmlns:a16="http://schemas.microsoft.com/office/drawing/2014/main" id="{C2FE171C-E8B9-024E-B6F6-8EDD0522E450}"/>
              </a:ext>
            </a:extLst>
          </p:cNvPr>
          <p:cNvSpPr/>
          <p:nvPr/>
        </p:nvSpPr>
        <p:spPr>
          <a:xfrm>
            <a:off x="9372600" y="5300143"/>
            <a:ext cx="901700" cy="69425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6ED8BC5E-147E-5C40-9D3E-34700124D27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033540" y="5027320"/>
            <a:ext cx="2967959" cy="1493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8524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idpa8kQeW7lGjiq1vMOw"/>
</p:tagLst>
</file>

<file path=ppt/theme/theme1.xml><?xml version="1.0" encoding="utf-8"?>
<a:theme xmlns:a="http://schemas.openxmlformats.org/drawingml/2006/main" name="1_qn3">
  <a:themeElements>
    <a:clrScheme name="Custom 2 1">
      <a:dk1>
        <a:srgbClr val="FFFFFF"/>
      </a:dk1>
      <a:lt1>
        <a:srgbClr val="000000"/>
      </a:lt1>
      <a:dk2>
        <a:srgbClr val="FFFFFF"/>
      </a:dk2>
      <a:lt2>
        <a:srgbClr val="000000"/>
      </a:lt2>
      <a:accent1>
        <a:srgbClr val="FF4100"/>
      </a:accent1>
      <a:accent2>
        <a:srgbClr val="7536F0"/>
      </a:accent2>
      <a:accent3>
        <a:srgbClr val="71BF44"/>
      </a:accent3>
      <a:accent4>
        <a:srgbClr val="05B9F0"/>
      </a:accent4>
      <a:accent5>
        <a:srgbClr val="1ACFBF"/>
      </a:accent5>
      <a:accent6>
        <a:srgbClr val="D9FA4F"/>
      </a:accent6>
      <a:hlink>
        <a:srgbClr val="7536F0"/>
      </a:hlink>
      <a:folHlink>
        <a:srgbClr val="D6084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FC4BDA0B-C998-1546-9B70-3E6AD67EE280}" vid="{B9E57E54-8C89-2C4A-B090-F96E5A0DC08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7E614DB5C33854C857B714264FAF87F" ma:contentTypeVersion="7" ma:contentTypeDescription="Create a new document." ma:contentTypeScope="" ma:versionID="35f8abe9de87148f62293986a118c4a2">
  <xsd:schema xmlns:xsd="http://www.w3.org/2001/XMLSchema" xmlns:xs="http://www.w3.org/2001/XMLSchema" xmlns:p="http://schemas.microsoft.com/office/2006/metadata/properties" xmlns:ns2="b7cf5ea5-dbd4-4264-9cbd-1657fe4f88b3" targetNamespace="http://schemas.microsoft.com/office/2006/metadata/properties" ma:root="true" ma:fieldsID="3d210ce03611296f1bb1aa0d41b306e5" ns2:_="">
    <xsd:import namespace="b7cf5ea5-dbd4-4264-9cbd-1657fe4f88b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7cf5ea5-dbd4-4264-9cbd-1657fe4f88b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482C44C-A80D-4577-ACF3-68366839A07A}">
  <ds:schemaRefs>
    <ds:schemaRef ds:uri="http://purl.org/dc/terms/"/>
    <ds:schemaRef ds:uri="http://schemas.openxmlformats.org/package/2006/metadata/core-properties"/>
    <ds:schemaRef ds:uri="08d6cad4-b922-4601-b3e8-51a0c0150455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042f5929-5940-4e0d-a5f0-fc1606770665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81F9BE2F-D356-4DF1-BECC-5A78EF952D7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7cf5ea5-dbd4-4264-9cbd-1657fe4f88b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1F5EAB3-8807-4C45-B064-2A4F9EB2E2D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nterprise-grade-deployment-2019</Template>
  <TotalTime>2</TotalTime>
  <Words>116</Words>
  <Application>Microsoft Office PowerPoint</Application>
  <PresentationFormat>Widescreen</PresentationFormat>
  <Paragraphs>80</Paragraphs>
  <Slides>22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1" baseType="lpstr">
      <vt:lpstr>Arial</vt:lpstr>
      <vt:lpstr>Arial Unicode MS</vt:lpstr>
      <vt:lpstr>Calibri</vt:lpstr>
      <vt:lpstr>Franklin Gothic Book</vt:lpstr>
      <vt:lpstr>Quicksand</vt:lpstr>
      <vt:lpstr>Verdana</vt:lpstr>
      <vt:lpstr>Wingdings</vt:lpstr>
      <vt:lpstr>1_qn3</vt:lpstr>
      <vt:lpstr>Diapositive think-cell</vt:lpstr>
      <vt:lpstr>Enterprise  Grade Deployment</vt:lpstr>
      <vt:lpstr>Put your title here</vt:lpstr>
      <vt:lpstr>Agenda</vt:lpstr>
      <vt:lpstr>Agenda</vt:lpstr>
      <vt:lpstr>PowerPoint Presentation</vt:lpstr>
      <vt:lpstr>CXM</vt:lpstr>
      <vt:lpstr>PowerPoint Presentation</vt:lpstr>
      <vt:lpstr>BPA</vt:lpstr>
      <vt:lpstr>PowerPoint Presentation</vt:lpstr>
      <vt:lpstr>MRS</vt:lpstr>
      <vt:lpstr>PowerPoint Presentation</vt:lpstr>
      <vt:lpstr>PLS</vt:lpstr>
      <vt:lpstr>PowerPoint Presentation</vt:lpstr>
      <vt:lpstr>PowerPoint Presentation</vt:lpstr>
      <vt:lpstr>PowerPoint Presentation</vt:lpstr>
      <vt:lpstr>PowerPoint Presentation</vt:lpstr>
      <vt:lpstr>Project Dashboard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terprise  Grade Deployment</dc:title>
  <dc:creator>Martin Novák</dc:creator>
  <cp:lastModifiedBy>Martin Novák</cp:lastModifiedBy>
  <cp:revision>1</cp:revision>
  <cp:lastPrinted>2019-09-08T06:20:56Z</cp:lastPrinted>
  <dcterms:created xsi:type="dcterms:W3CDTF">2019-10-09T06:01:13Z</dcterms:created>
  <dcterms:modified xsi:type="dcterms:W3CDTF">2019-10-09T06:04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7E614DB5C33854C857B714264FAF87F</vt:lpwstr>
  </property>
</Properties>
</file>